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charts/chart6.xml" ContentType="application/vnd.openxmlformats-officedocument.drawingml.chart+xml"/>
  <Override PartName="/ppt/charts/chart7.xml" ContentType="application/vnd.openxmlformats-officedocument.drawingml.chart+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notesSlides/notesSlide5.xml" ContentType="application/vnd.openxmlformats-officedocument.presentationml.notesSlide+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notesSlides/notesSlide6.xml" ContentType="application/vnd.openxmlformats-officedocument.presentationml.notesSlide+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charts/chart12.xml" ContentType="application/vnd.openxmlformats-officedocument.drawingml.chart+xml"/>
  <Override PartName="/ppt/charts/chart13.xml" ContentType="application/vnd.openxmlformats-officedocument.drawingml.chart+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notesSlides/notesSlide7.xml" ContentType="application/vnd.openxmlformats-officedocument.presentationml.notesSlide+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48" r:id="rId1"/>
    <p:sldMasterId id="2147483864" r:id="rId2"/>
  </p:sldMasterIdLst>
  <p:notesMasterIdLst>
    <p:notesMasterId r:id="rId43"/>
  </p:notesMasterIdLst>
  <p:handoutMasterIdLst>
    <p:handoutMasterId r:id="rId44"/>
  </p:handoutMasterIdLst>
  <p:sldIdLst>
    <p:sldId id="268" r:id="rId3"/>
    <p:sldId id="303" r:id="rId4"/>
    <p:sldId id="258" r:id="rId5"/>
    <p:sldId id="764" r:id="rId6"/>
    <p:sldId id="2145707220" r:id="rId7"/>
    <p:sldId id="2145707210" r:id="rId8"/>
    <p:sldId id="3854" r:id="rId9"/>
    <p:sldId id="2145707209" r:id="rId10"/>
    <p:sldId id="3822" r:id="rId11"/>
    <p:sldId id="3823" r:id="rId12"/>
    <p:sldId id="3855" r:id="rId13"/>
    <p:sldId id="2145707214" r:id="rId14"/>
    <p:sldId id="2145707215" r:id="rId15"/>
    <p:sldId id="3856" r:id="rId16"/>
    <p:sldId id="3824" r:id="rId17"/>
    <p:sldId id="2145707211" r:id="rId18"/>
    <p:sldId id="3836" r:id="rId19"/>
    <p:sldId id="3831" r:id="rId20"/>
    <p:sldId id="3849" r:id="rId21"/>
    <p:sldId id="2145707212" r:id="rId22"/>
    <p:sldId id="3835" r:id="rId23"/>
    <p:sldId id="3847" r:id="rId24"/>
    <p:sldId id="3848" r:id="rId25"/>
    <p:sldId id="2145707203" r:id="rId26"/>
    <p:sldId id="2145707207" r:id="rId27"/>
    <p:sldId id="2145707213" r:id="rId28"/>
    <p:sldId id="2145707217" r:id="rId29"/>
    <p:sldId id="2145707208" r:id="rId30"/>
    <p:sldId id="2145707204" r:id="rId31"/>
    <p:sldId id="3853" r:id="rId32"/>
    <p:sldId id="3825" r:id="rId33"/>
    <p:sldId id="3841" r:id="rId34"/>
    <p:sldId id="3842" r:id="rId35"/>
    <p:sldId id="2145707218" r:id="rId36"/>
    <p:sldId id="2145707221" r:id="rId37"/>
    <p:sldId id="2145707222" r:id="rId38"/>
    <p:sldId id="2145707226" r:id="rId39"/>
    <p:sldId id="2145707223" r:id="rId40"/>
    <p:sldId id="2145707224" r:id="rId41"/>
    <p:sldId id="2145707225" r:id="rId42"/>
  </p:sldIdLst>
  <p:sldSz cx="12192000" cy="6858000"/>
  <p:notesSz cx="6797675" cy="9926638"/>
  <p:embeddedFontLst>
    <p:embeddedFont>
      <p:font typeface="Calibri" panose="020F0502020204030204" pitchFamily="34" charset="0"/>
      <p:regular r:id="rId45"/>
      <p:bold r:id="rId46"/>
      <p:italic r:id="rId47"/>
      <p:boldItalic r:id="rId48"/>
    </p:embeddedFont>
    <p:embeddedFont>
      <p:font typeface="Georgia" panose="02040502050405020303" pitchFamily="18" charset="0"/>
      <p:regular r:id="rId49"/>
      <p:bold r:id="rId50"/>
      <p:italic r:id="rId51"/>
      <p:boldItalic r:id="rId52"/>
    </p:embeddedFont>
    <p:embeddedFont>
      <p:font typeface="Segoe UI" panose="020B0502040204020203" pitchFamily="34" charset="0"/>
      <p:regular r:id="rId53"/>
      <p:bold r:id="rId54"/>
      <p:italic r:id="rId55"/>
      <p:boldItalic r:id="rId56"/>
    </p:embeddedFont>
  </p:embeddedFontLst>
  <p:custDataLst>
    <p:tags r:id="rId5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aley Rich" initials="HR" lastIdx="1" clrIdx="0">
    <p:extLst>
      <p:ext uri="{19B8F6BF-5375-455C-9EA6-DF929625EA0E}">
        <p15:presenceInfo xmlns:p15="http://schemas.microsoft.com/office/powerpoint/2012/main" userId="S-1-5-21-1801674531-1788223648-725345543-1185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FC3FF"/>
    <a:srgbClr val="BDE2B0"/>
    <a:srgbClr val="0E436C"/>
    <a:srgbClr val="1974A6"/>
    <a:srgbClr val="34A1DB"/>
    <a:srgbClr val="FFDF5E"/>
    <a:srgbClr val="EE9C96"/>
    <a:srgbClr val="9DC3E6"/>
    <a:srgbClr val="008097"/>
    <a:srgbClr val="00808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708" autoAdjust="0"/>
    <p:restoredTop sz="94621" autoAdjust="0"/>
  </p:normalViewPr>
  <p:slideViewPr>
    <p:cSldViewPr snapToGrid="0" snapToObjects="1">
      <p:cViewPr varScale="1">
        <p:scale>
          <a:sx n="76" d="100"/>
          <a:sy n="76" d="100"/>
        </p:scale>
        <p:origin x="216" y="384"/>
      </p:cViewPr>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snapToGrid="0" snapToObjects="1">
      <p:cViewPr>
        <p:scale>
          <a:sx n="75" d="100"/>
          <a:sy n="75" d="100"/>
        </p:scale>
        <p:origin x="3204" y="16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font" Target="fonts/font3.fntdata"/><Relationship Id="rId50" Type="http://schemas.openxmlformats.org/officeDocument/2006/relationships/font" Target="fonts/font6.fntdata"/><Relationship Id="rId55" Type="http://schemas.openxmlformats.org/officeDocument/2006/relationships/font" Target="fonts/font11.fntdata"/><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font" Target="fonts/font1.fntdata"/><Relationship Id="rId53" Type="http://schemas.openxmlformats.org/officeDocument/2006/relationships/font" Target="fonts/font9.fntdata"/><Relationship Id="rId58" Type="http://schemas.openxmlformats.org/officeDocument/2006/relationships/commentAuthors" Target="commentAuthors.xml"/><Relationship Id="rId5" Type="http://schemas.openxmlformats.org/officeDocument/2006/relationships/slide" Target="slides/slide3.xml"/><Relationship Id="rId61" Type="http://schemas.openxmlformats.org/officeDocument/2006/relationships/theme" Target="theme/theme1.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notesMaster" Target="notesMasters/notesMaster1.xml"/><Relationship Id="rId48" Type="http://schemas.openxmlformats.org/officeDocument/2006/relationships/font" Target="fonts/font4.fntdata"/><Relationship Id="rId56" Type="http://schemas.openxmlformats.org/officeDocument/2006/relationships/font" Target="fonts/font12.fntdata"/><Relationship Id="rId8" Type="http://schemas.openxmlformats.org/officeDocument/2006/relationships/slide" Target="slides/slide6.xml"/><Relationship Id="rId51" Type="http://schemas.openxmlformats.org/officeDocument/2006/relationships/font" Target="fonts/font7.fntdata"/><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font" Target="fonts/font2.fntdata"/><Relationship Id="rId59" Type="http://schemas.openxmlformats.org/officeDocument/2006/relationships/presProps" Target="presProps.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font" Target="fonts/font10.fntdata"/><Relationship Id="rId62"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font" Target="fonts/font5.fntdata"/><Relationship Id="rId57" Type="http://schemas.openxmlformats.org/officeDocument/2006/relationships/tags" Target="tags/tag1.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handoutMaster" Target="handoutMasters/handoutMaster1.xml"/><Relationship Id="rId52" Type="http://schemas.openxmlformats.org/officeDocument/2006/relationships/font" Target="fonts/font8.fntdata"/><Relationship Id="rId60"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werkblad.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werkblad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werkblad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werkblad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werkblad12.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werkblad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werkblad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werkblad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werkblad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werkblad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werkblad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werkblad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werkblad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5182679296346414E-2"/>
          <c:y val="1.8531717747683536E-2"/>
          <c:w val="0.92963464140730723"/>
          <c:h val="0.96293656450463294"/>
        </c:manualLayout>
      </c:layout>
      <c:barChart>
        <c:barDir val="bar"/>
        <c:grouping val="stacked"/>
        <c:varyColors val="0"/>
        <c:ser>
          <c:idx val="0"/>
          <c:order val="0"/>
          <c:spPr>
            <a:solidFill>
              <a:schemeClr val="accent1"/>
            </a:solidFill>
            <a:ln w="9525" algn="ctr">
              <a:solidFill>
                <a:schemeClr val="bg1"/>
              </a:solidFill>
              <a:prstDash val="solid"/>
            </a:ln>
          </c:spPr>
          <c:invertIfNegative val="0"/>
          <c:dPt>
            <c:idx val="3"/>
            <c:invertIfNegative val="0"/>
            <c:bubble3D val="0"/>
            <c:spPr>
              <a:solidFill>
                <a:schemeClr val="accent2"/>
              </a:solidFill>
              <a:ln w="9525" algn="ctr">
                <a:solidFill>
                  <a:schemeClr val="bg1"/>
                </a:solidFill>
                <a:prstDash val="solid"/>
              </a:ln>
            </c:spPr>
            <c:extLst>
              <c:ext xmlns:c16="http://schemas.microsoft.com/office/drawing/2014/chart" uri="{C3380CC4-5D6E-409C-BE32-E72D297353CC}">
                <c16:uniqueId val="{00000000-7D8A-46C9-81C6-DCF977F15C33}"/>
              </c:ext>
            </c:extLst>
          </c:dPt>
          <c:dPt>
            <c:idx val="22"/>
            <c:invertIfNegative val="0"/>
            <c:bubble3D val="0"/>
            <c:spPr>
              <a:solidFill>
                <a:schemeClr val="tx1"/>
              </a:solidFill>
              <a:ln w="9525" algn="ctr">
                <a:solidFill>
                  <a:schemeClr val="bg1"/>
                </a:solidFill>
                <a:prstDash val="solid"/>
              </a:ln>
            </c:spPr>
            <c:extLst>
              <c:ext xmlns:c16="http://schemas.microsoft.com/office/drawing/2014/chart" uri="{C3380CC4-5D6E-409C-BE32-E72D297353CC}">
                <c16:uniqueId val="{00000001-7D8A-46C9-81C6-DCF977F15C33}"/>
              </c:ext>
            </c:extLst>
          </c:dPt>
          <c:val>
            <c:numRef>
              <c:f>Sheet1!$A$1:$AI$1</c:f>
              <c:numCache>
                <c:formatCode>General</c:formatCode>
                <c:ptCount val="35"/>
                <c:pt idx="0">
                  <c:v>527</c:v>
                </c:pt>
                <c:pt idx="1">
                  <c:v>526</c:v>
                </c:pt>
                <c:pt idx="2">
                  <c:v>523</c:v>
                </c:pt>
                <c:pt idx="3">
                  <c:v>519</c:v>
                </c:pt>
                <c:pt idx="4">
                  <c:v>516</c:v>
                </c:pt>
                <c:pt idx="5">
                  <c:v>515</c:v>
                </c:pt>
                <c:pt idx="6">
                  <c:v>512</c:v>
                </c:pt>
                <c:pt idx="7">
                  <c:v>509</c:v>
                </c:pt>
                <c:pt idx="8">
                  <c:v>509</c:v>
                </c:pt>
                <c:pt idx="9">
                  <c:v>508</c:v>
                </c:pt>
                <c:pt idx="10">
                  <c:v>507</c:v>
                </c:pt>
                <c:pt idx="11">
                  <c:v>502</c:v>
                </c:pt>
                <c:pt idx="12">
                  <c:v>502</c:v>
                </c:pt>
                <c:pt idx="13">
                  <c:v>501</c:v>
                </c:pt>
                <c:pt idx="14">
                  <c:v>500</c:v>
                </c:pt>
                <c:pt idx="15">
                  <c:v>500</c:v>
                </c:pt>
                <c:pt idx="16">
                  <c:v>499</c:v>
                </c:pt>
                <c:pt idx="17">
                  <c:v>499</c:v>
                </c:pt>
                <c:pt idx="18">
                  <c:v>496</c:v>
                </c:pt>
                <c:pt idx="19">
                  <c:v>495</c:v>
                </c:pt>
                <c:pt idx="20">
                  <c:v>495</c:v>
                </c:pt>
                <c:pt idx="21">
                  <c:v>494</c:v>
                </c:pt>
                <c:pt idx="22">
                  <c:v>492</c:v>
                </c:pt>
                <c:pt idx="23">
                  <c:v>491</c:v>
                </c:pt>
                <c:pt idx="24">
                  <c:v>487</c:v>
                </c:pt>
                <c:pt idx="25">
                  <c:v>486</c:v>
                </c:pt>
                <c:pt idx="26">
                  <c:v>483</c:v>
                </c:pt>
                <c:pt idx="27">
                  <c:v>481</c:v>
                </c:pt>
                <c:pt idx="28">
                  <c:v>481</c:v>
                </c:pt>
                <c:pt idx="29">
                  <c:v>478</c:v>
                </c:pt>
                <c:pt idx="30">
                  <c:v>463</c:v>
                </c:pt>
                <c:pt idx="31">
                  <c:v>454</c:v>
                </c:pt>
                <c:pt idx="32">
                  <c:v>451</c:v>
                </c:pt>
                <c:pt idx="33">
                  <c:v>417</c:v>
                </c:pt>
                <c:pt idx="34">
                  <c:v>409</c:v>
                </c:pt>
              </c:numCache>
            </c:numRef>
          </c:val>
          <c:extLst>
            <c:ext xmlns:c16="http://schemas.microsoft.com/office/drawing/2014/chart" uri="{C3380CC4-5D6E-409C-BE32-E72D297353CC}">
              <c16:uniqueId val="{00000002-7D8A-46C9-81C6-DCF977F15C33}"/>
            </c:ext>
          </c:extLst>
        </c:ser>
        <c:dLbls>
          <c:showLegendKey val="0"/>
          <c:showVal val="0"/>
          <c:showCatName val="0"/>
          <c:showSerName val="0"/>
          <c:showPercent val="0"/>
          <c:showBubbleSize val="0"/>
        </c:dLbls>
        <c:gapWidth val="40"/>
        <c:overlap val="100"/>
        <c:axId val="328571456"/>
        <c:axId val="1"/>
      </c:barChart>
      <c:catAx>
        <c:axId val="328571456"/>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550"/>
          <c:min val="350"/>
        </c:scaling>
        <c:delete val="0"/>
        <c:axPos val="t"/>
        <c:majorGridlines>
          <c:spPr>
            <a:ln>
              <a:noFill/>
            </a:ln>
          </c:spPr>
        </c:majorGridlines>
        <c:numFmt formatCode="General" sourceLinked="1"/>
        <c:majorTickMark val="none"/>
        <c:minorTickMark val="none"/>
        <c:tickLblPos val="none"/>
        <c:spPr>
          <a:ln w="9525" algn="ctr">
            <a:solidFill>
              <a:schemeClr val="tx1"/>
            </a:solidFill>
            <a:prstDash val="solid"/>
          </a:ln>
        </c:spPr>
        <c:crossAx val="328571456"/>
        <c:crosses val="min"/>
        <c:crossBetween val="between"/>
        <c:majorUnit val="50"/>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6111111111111115E-2"/>
          <c:y val="4.9951969260326606E-2"/>
          <c:w val="0.92777777777777781"/>
          <c:h val="0.90009606147934673"/>
        </c:manualLayout>
      </c:layout>
      <c:barChart>
        <c:barDir val="bar"/>
        <c:grouping val="stacked"/>
        <c:varyColors val="0"/>
        <c:ser>
          <c:idx val="0"/>
          <c:order val="0"/>
          <c:spPr>
            <a:solidFill>
              <a:schemeClr val="accent3"/>
            </a:solidFill>
            <a:ln w="9525" algn="ctr">
              <a:solidFill>
                <a:schemeClr val="bg1"/>
              </a:solidFill>
              <a:prstDash val="solid"/>
            </a:ln>
          </c:spPr>
          <c:invertIfNegative val="0"/>
          <c:val>
            <c:numRef>
              <c:f>Sheet1!$A$1:$C$1</c:f>
              <c:numCache>
                <c:formatCode>General</c:formatCode>
                <c:ptCount val="3"/>
                <c:pt idx="0">
                  <c:v>23.166623876765083</c:v>
                </c:pt>
                <c:pt idx="1">
                  <c:v>45.966623876765084</c:v>
                </c:pt>
                <c:pt idx="2">
                  <c:v>55.566623876765078</c:v>
                </c:pt>
              </c:numCache>
            </c:numRef>
          </c:val>
          <c:extLst>
            <c:ext xmlns:c16="http://schemas.microsoft.com/office/drawing/2014/chart" uri="{C3380CC4-5D6E-409C-BE32-E72D297353CC}">
              <c16:uniqueId val="{00000000-80B8-4071-AEAF-55EA500DCC3E}"/>
            </c:ext>
          </c:extLst>
        </c:ser>
        <c:dLbls>
          <c:showLegendKey val="0"/>
          <c:showVal val="0"/>
          <c:showCatName val="0"/>
          <c:showSerName val="0"/>
          <c:showPercent val="0"/>
          <c:showBubbleSize val="0"/>
        </c:dLbls>
        <c:gapWidth val="40"/>
        <c:overlap val="100"/>
        <c:axId val="41072128"/>
        <c:axId val="1"/>
      </c:barChart>
      <c:catAx>
        <c:axId val="41072128"/>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55.566623876765078"/>
          <c:min val="0"/>
        </c:scaling>
        <c:delete val="1"/>
        <c:axPos val="t"/>
        <c:numFmt formatCode="General" sourceLinked="1"/>
        <c:majorTickMark val="out"/>
        <c:minorTickMark val="none"/>
        <c:tickLblPos val="nextTo"/>
        <c:crossAx val="41072128"/>
        <c:crosses val="min"/>
        <c:crossBetween val="between"/>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656957928802592E-2"/>
          <c:y val="4.9951969260326606E-2"/>
          <c:w val="0.86472491909385119"/>
          <c:h val="0.90009606147934673"/>
        </c:manualLayout>
      </c:layout>
      <c:barChart>
        <c:barDir val="bar"/>
        <c:grouping val="stacked"/>
        <c:varyColors val="0"/>
        <c:ser>
          <c:idx val="0"/>
          <c:order val="0"/>
          <c:spPr>
            <a:solidFill>
              <a:schemeClr val="accent3"/>
            </a:solidFill>
            <a:ln w="9525" algn="ctr">
              <a:solidFill>
                <a:schemeClr val="bg1"/>
              </a:solidFill>
              <a:prstDash val="solid"/>
            </a:ln>
          </c:spPr>
          <c:invertIfNegative val="0"/>
          <c:dLbls>
            <c:dLbl>
              <c:idx val="0"/>
              <c:layout>
                <c:manualLayout>
                  <c:x val="0.39482200647249188"/>
                  <c:y val="0"/>
                </c:manualLayout>
              </c:layout>
              <c:numFmt formatCode="#,##0;&quot;-&quot;#,##0;0" sourceLinked="0"/>
              <c:spPr>
                <a:noFill/>
                <a:ln>
                  <a:noFill/>
                </a:ln>
              </c:spPr>
              <c:txPr>
                <a:bodyPr wrap="none"/>
                <a:lstStyle/>
                <a:p>
                  <a:pPr>
                    <a:defRPr sz="1200">
                      <a:solidFill>
                        <a:schemeClr val="tx1"/>
                      </a:solidFill>
                      <a:latin typeface="+mn-lt"/>
                      <a:ea typeface="+mn-ea"/>
                      <a:cs typeface="Arial"/>
                      <a:sym typeface="+mn-lt"/>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467-4ADA-9A26-C1BEAA8BE452}"/>
                </c:ext>
              </c:extLst>
            </c:dLbl>
            <c:dLbl>
              <c:idx val="1"/>
              <c:layout>
                <c:manualLayout>
                  <c:x val="0.4414239482200647"/>
                  <c:y val="0"/>
                </c:manualLayout>
              </c:layout>
              <c:numFmt formatCode="#,##0;&quot;-&quot;#,##0;0" sourceLinked="0"/>
              <c:spPr>
                <a:noFill/>
                <a:ln>
                  <a:noFill/>
                </a:ln>
              </c:spPr>
              <c:txPr>
                <a:bodyPr wrap="none"/>
                <a:lstStyle/>
                <a:p>
                  <a:pPr>
                    <a:defRPr sz="1200">
                      <a:solidFill>
                        <a:schemeClr val="tx1"/>
                      </a:solidFill>
                      <a:latin typeface="+mn-lt"/>
                      <a:ea typeface="+mn-ea"/>
                      <a:cs typeface="Arial"/>
                      <a:sym typeface="+mn-lt"/>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467-4ADA-9A26-C1BEAA8BE452}"/>
                </c:ext>
              </c:extLst>
            </c:dLbl>
            <c:dLbl>
              <c:idx val="2"/>
              <c:layout>
                <c:manualLayout>
                  <c:x val="0.48349514563106794"/>
                  <c:y val="0"/>
                </c:manualLayout>
              </c:layout>
              <c:numFmt formatCode="#,##0;&quot;-&quot;#,##0;0" sourceLinked="0"/>
              <c:spPr>
                <a:noFill/>
                <a:ln>
                  <a:noFill/>
                </a:ln>
              </c:spPr>
              <c:txPr>
                <a:bodyPr wrap="none"/>
                <a:lstStyle/>
                <a:p>
                  <a:pPr>
                    <a:defRPr sz="1200">
                      <a:solidFill>
                        <a:schemeClr val="tx1"/>
                      </a:solidFill>
                      <a:latin typeface="+mn-lt"/>
                      <a:ea typeface="+mn-ea"/>
                      <a:cs typeface="Arial"/>
                      <a:sym typeface="+mn-lt"/>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467-4ADA-9A26-C1BEAA8BE45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56.9</c:v>
                </c:pt>
                <c:pt idx="1">
                  <c:v>64.7</c:v>
                </c:pt>
                <c:pt idx="2">
                  <c:v>71.599999999999994</c:v>
                </c:pt>
              </c:numCache>
            </c:numRef>
          </c:val>
          <c:extLst>
            <c:ext xmlns:c16="http://schemas.microsoft.com/office/drawing/2014/chart" uri="{C3380CC4-5D6E-409C-BE32-E72D297353CC}">
              <c16:uniqueId val="{00000003-2467-4ADA-9A26-C1BEAA8BE452}"/>
            </c:ext>
          </c:extLst>
        </c:ser>
        <c:dLbls>
          <c:showLegendKey val="0"/>
          <c:showVal val="0"/>
          <c:showCatName val="0"/>
          <c:showSerName val="0"/>
          <c:showPercent val="0"/>
          <c:showBubbleSize val="0"/>
        </c:dLbls>
        <c:gapWidth val="40"/>
        <c:overlap val="100"/>
        <c:axId val="41068528"/>
        <c:axId val="1"/>
      </c:barChart>
      <c:catAx>
        <c:axId val="41068528"/>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71.599999999999994"/>
          <c:min val="0"/>
        </c:scaling>
        <c:delete val="1"/>
        <c:axPos val="t"/>
        <c:numFmt formatCode="General" sourceLinked="1"/>
        <c:majorTickMark val="out"/>
        <c:minorTickMark val="none"/>
        <c:tickLblPos val="nextTo"/>
        <c:crossAx val="41068528"/>
        <c:crosses val="min"/>
        <c:crossBetween val="between"/>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4782608695652174E-2"/>
          <c:y val="2.1276595744680851E-2"/>
          <c:w val="0.93043478260869561"/>
          <c:h val="0.95744680851063835"/>
        </c:manualLayout>
      </c:layout>
      <c:barChart>
        <c:barDir val="bar"/>
        <c:grouping val="stacked"/>
        <c:varyColors val="0"/>
        <c:ser>
          <c:idx val="0"/>
          <c:order val="0"/>
          <c:spPr>
            <a:solidFill>
              <a:schemeClr val="accent1"/>
            </a:solidFill>
            <a:ln w="9525" algn="ctr">
              <a:solidFill>
                <a:schemeClr val="bg1"/>
              </a:solidFill>
              <a:prstDash val="solid"/>
            </a:ln>
          </c:spPr>
          <c:invertIfNegative val="0"/>
          <c:val>
            <c:numRef>
              <c:f>Sheet1!$A$1:$U$1</c:f>
              <c:numCache>
                <c:formatCode>General</c:formatCode>
                <c:ptCount val="21"/>
                <c:pt idx="0">
                  <c:v>27</c:v>
                </c:pt>
                <c:pt idx="1">
                  <c:v>25</c:v>
                </c:pt>
                <c:pt idx="2">
                  <c:v>23.5</c:v>
                </c:pt>
                <c:pt idx="3">
                  <c:v>23</c:v>
                </c:pt>
                <c:pt idx="4">
                  <c:v>20.5</c:v>
                </c:pt>
                <c:pt idx="5">
                  <c:v>20.5</c:v>
                </c:pt>
                <c:pt idx="6">
                  <c:v>20.2</c:v>
                </c:pt>
                <c:pt idx="7">
                  <c:v>20</c:v>
                </c:pt>
                <c:pt idx="8">
                  <c:v>20</c:v>
                </c:pt>
                <c:pt idx="9">
                  <c:v>19.5</c:v>
                </c:pt>
                <c:pt idx="10">
                  <c:v>19.3</c:v>
                </c:pt>
                <c:pt idx="11">
                  <c:v>19</c:v>
                </c:pt>
                <c:pt idx="12">
                  <c:v>19</c:v>
                </c:pt>
                <c:pt idx="13">
                  <c:v>18</c:v>
                </c:pt>
                <c:pt idx="14">
                  <c:v>17.8</c:v>
                </c:pt>
                <c:pt idx="15">
                  <c:v>17.5</c:v>
                </c:pt>
                <c:pt idx="16">
                  <c:v>17.5</c:v>
                </c:pt>
                <c:pt idx="17">
                  <c:v>17.5</c:v>
                </c:pt>
                <c:pt idx="18">
                  <c:v>17</c:v>
                </c:pt>
                <c:pt idx="19">
                  <c:v>17</c:v>
                </c:pt>
                <c:pt idx="20">
                  <c:v>17</c:v>
                </c:pt>
              </c:numCache>
            </c:numRef>
          </c:val>
          <c:extLst>
            <c:ext xmlns:c16="http://schemas.microsoft.com/office/drawing/2014/chart" uri="{C3380CC4-5D6E-409C-BE32-E72D297353CC}">
              <c16:uniqueId val="{00000000-23A4-42A5-AF7E-16D362A17D7E}"/>
            </c:ext>
          </c:extLst>
        </c:ser>
        <c:dLbls>
          <c:showLegendKey val="0"/>
          <c:showVal val="0"/>
          <c:showCatName val="0"/>
          <c:showSerName val="0"/>
          <c:showPercent val="0"/>
          <c:showBubbleSize val="0"/>
        </c:dLbls>
        <c:gapWidth val="40"/>
        <c:overlap val="100"/>
        <c:axId val="154395167"/>
        <c:axId val="1"/>
      </c:barChart>
      <c:catAx>
        <c:axId val="154395167"/>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30"/>
          <c:min val="0"/>
        </c:scaling>
        <c:delete val="0"/>
        <c:axPos val="t"/>
        <c:majorGridlines>
          <c:spPr>
            <a:ln>
              <a:noFill/>
            </a:ln>
          </c:spPr>
        </c:majorGridlines>
        <c:numFmt formatCode="General" sourceLinked="1"/>
        <c:majorTickMark val="none"/>
        <c:minorTickMark val="none"/>
        <c:tickLblPos val="none"/>
        <c:spPr>
          <a:ln w="9525" algn="ctr">
            <a:solidFill>
              <a:schemeClr val="tx1"/>
            </a:solidFill>
            <a:prstDash val="solid"/>
          </a:ln>
        </c:spPr>
        <c:crossAx val="154395167"/>
        <c:crosses val="min"/>
        <c:crossBetween val="between"/>
        <c:majorUnit val="5"/>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4782608695652174E-2"/>
          <c:y val="2.1276595744680851E-2"/>
          <c:w val="0.93043478260869561"/>
          <c:h val="0.95744680851063835"/>
        </c:manualLayout>
      </c:layout>
      <c:barChart>
        <c:barDir val="bar"/>
        <c:grouping val="stacked"/>
        <c:varyColors val="0"/>
        <c:ser>
          <c:idx val="0"/>
          <c:order val="0"/>
          <c:spPr>
            <a:solidFill>
              <a:schemeClr val="accent1"/>
            </a:solidFill>
            <a:ln w="9525" algn="ctr">
              <a:solidFill>
                <a:schemeClr val="bg1"/>
              </a:solidFill>
              <a:prstDash val="solid"/>
            </a:ln>
          </c:spPr>
          <c:invertIfNegative val="0"/>
          <c:dPt>
            <c:idx val="20"/>
            <c:invertIfNegative val="0"/>
            <c:bubble3D val="0"/>
            <c:spPr>
              <a:solidFill>
                <a:schemeClr val="accent2"/>
              </a:solidFill>
              <a:ln w="9525" algn="ctr">
                <a:solidFill>
                  <a:schemeClr val="bg1"/>
                </a:solidFill>
                <a:prstDash val="solid"/>
              </a:ln>
            </c:spPr>
            <c:extLst>
              <c:ext xmlns:c16="http://schemas.microsoft.com/office/drawing/2014/chart" uri="{C3380CC4-5D6E-409C-BE32-E72D297353CC}">
                <c16:uniqueId val="{00000000-80FF-442F-BC79-8147C546BB17}"/>
              </c:ext>
            </c:extLst>
          </c:dPt>
          <c:val>
            <c:numRef>
              <c:f>Sheet1!$A$1:$U$1</c:f>
              <c:numCache>
                <c:formatCode>General</c:formatCode>
                <c:ptCount val="21"/>
                <c:pt idx="0">
                  <c:v>17</c:v>
                </c:pt>
                <c:pt idx="1">
                  <c:v>17</c:v>
                </c:pt>
                <c:pt idx="2">
                  <c:v>17</c:v>
                </c:pt>
                <c:pt idx="3">
                  <c:v>16.5</c:v>
                </c:pt>
                <c:pt idx="4">
                  <c:v>16.5</c:v>
                </c:pt>
                <c:pt idx="5">
                  <c:v>16.5</c:v>
                </c:pt>
                <c:pt idx="6">
                  <c:v>16</c:v>
                </c:pt>
                <c:pt idx="7">
                  <c:v>16</c:v>
                </c:pt>
                <c:pt idx="8">
                  <c:v>15.5</c:v>
                </c:pt>
                <c:pt idx="9">
                  <c:v>15.5</c:v>
                </c:pt>
                <c:pt idx="10">
                  <c:v>15</c:v>
                </c:pt>
                <c:pt idx="11">
                  <c:v>15</c:v>
                </c:pt>
                <c:pt idx="12">
                  <c:v>15</c:v>
                </c:pt>
                <c:pt idx="13">
                  <c:v>14.3</c:v>
                </c:pt>
                <c:pt idx="14">
                  <c:v>14.3</c:v>
                </c:pt>
                <c:pt idx="15">
                  <c:v>13.5</c:v>
                </c:pt>
                <c:pt idx="16">
                  <c:v>13.5</c:v>
                </c:pt>
                <c:pt idx="17">
                  <c:v>12.8</c:v>
                </c:pt>
                <c:pt idx="18">
                  <c:v>12.5</c:v>
                </c:pt>
                <c:pt idx="19">
                  <c:v>11</c:v>
                </c:pt>
                <c:pt idx="20">
                  <c:v>10.199999999999999</c:v>
                </c:pt>
              </c:numCache>
            </c:numRef>
          </c:val>
          <c:extLst>
            <c:ext xmlns:c16="http://schemas.microsoft.com/office/drawing/2014/chart" uri="{C3380CC4-5D6E-409C-BE32-E72D297353CC}">
              <c16:uniqueId val="{00000001-80FF-442F-BC79-8147C546BB17}"/>
            </c:ext>
          </c:extLst>
        </c:ser>
        <c:dLbls>
          <c:showLegendKey val="0"/>
          <c:showVal val="0"/>
          <c:showCatName val="0"/>
          <c:showSerName val="0"/>
          <c:showPercent val="0"/>
          <c:showBubbleSize val="0"/>
        </c:dLbls>
        <c:gapWidth val="40"/>
        <c:overlap val="100"/>
        <c:axId val="136887136"/>
        <c:axId val="1"/>
      </c:barChart>
      <c:catAx>
        <c:axId val="136887136"/>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8"/>
          <c:min val="0"/>
        </c:scaling>
        <c:delete val="0"/>
        <c:axPos val="t"/>
        <c:majorGridlines>
          <c:spPr>
            <a:ln>
              <a:noFill/>
            </a:ln>
          </c:spPr>
        </c:majorGridlines>
        <c:numFmt formatCode="General" sourceLinked="1"/>
        <c:majorTickMark val="none"/>
        <c:minorTickMark val="none"/>
        <c:tickLblPos val="none"/>
        <c:spPr>
          <a:ln w="9525" algn="ctr">
            <a:solidFill>
              <a:schemeClr val="tx1"/>
            </a:solidFill>
            <a:prstDash val="solid"/>
          </a:ln>
        </c:spPr>
        <c:crossAx val="136887136"/>
        <c:crosses val="min"/>
        <c:crossBetween val="between"/>
        <c:majorUnit val="2"/>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5302104548540394E-2"/>
          <c:y val="1.8531717747683536E-2"/>
          <c:w val="0.92939579090291913"/>
          <c:h val="0.96293656450463294"/>
        </c:manualLayout>
      </c:layout>
      <c:barChart>
        <c:barDir val="bar"/>
        <c:grouping val="stacked"/>
        <c:varyColors val="0"/>
        <c:ser>
          <c:idx val="0"/>
          <c:order val="0"/>
          <c:spPr>
            <a:solidFill>
              <a:schemeClr val="accent1"/>
            </a:solidFill>
            <a:ln w="9525" algn="ctr">
              <a:solidFill>
                <a:schemeClr val="bg1"/>
              </a:solidFill>
              <a:prstDash val="solid"/>
            </a:ln>
          </c:spPr>
          <c:invertIfNegative val="0"/>
          <c:dPt>
            <c:idx val="9"/>
            <c:invertIfNegative val="0"/>
            <c:bubble3D val="0"/>
            <c:spPr>
              <a:solidFill>
                <a:schemeClr val="accent2"/>
              </a:solidFill>
              <a:ln w="9525" algn="ctr">
                <a:solidFill>
                  <a:schemeClr val="bg1"/>
                </a:solidFill>
                <a:prstDash val="solid"/>
              </a:ln>
            </c:spPr>
            <c:extLst>
              <c:ext xmlns:c16="http://schemas.microsoft.com/office/drawing/2014/chart" uri="{C3380CC4-5D6E-409C-BE32-E72D297353CC}">
                <c16:uniqueId val="{00000000-104B-429F-B532-4A9B41D22159}"/>
              </c:ext>
            </c:extLst>
          </c:dPt>
          <c:val>
            <c:numRef>
              <c:f>Sheet1!$A$1:$AI$1</c:f>
              <c:numCache>
                <c:formatCode>General</c:formatCode>
                <c:ptCount val="35"/>
                <c:pt idx="0">
                  <c:v>530</c:v>
                </c:pt>
                <c:pt idx="1">
                  <c:v>529</c:v>
                </c:pt>
                <c:pt idx="2">
                  <c:v>522</c:v>
                </c:pt>
                <c:pt idx="3">
                  <c:v>519</c:v>
                </c:pt>
                <c:pt idx="4">
                  <c:v>518</c:v>
                </c:pt>
                <c:pt idx="5">
                  <c:v>511</c:v>
                </c:pt>
                <c:pt idx="6">
                  <c:v>508</c:v>
                </c:pt>
                <c:pt idx="7">
                  <c:v>507</c:v>
                </c:pt>
                <c:pt idx="8">
                  <c:v>505</c:v>
                </c:pt>
                <c:pt idx="9">
                  <c:v>503</c:v>
                </c:pt>
                <c:pt idx="10">
                  <c:v>503</c:v>
                </c:pt>
                <c:pt idx="11">
                  <c:v>503</c:v>
                </c:pt>
                <c:pt idx="12">
                  <c:v>502</c:v>
                </c:pt>
                <c:pt idx="13">
                  <c:v>499</c:v>
                </c:pt>
                <c:pt idx="14">
                  <c:v>499</c:v>
                </c:pt>
                <c:pt idx="15">
                  <c:v>497</c:v>
                </c:pt>
                <c:pt idx="16">
                  <c:v>496</c:v>
                </c:pt>
                <c:pt idx="17">
                  <c:v>495</c:v>
                </c:pt>
                <c:pt idx="18">
                  <c:v>493</c:v>
                </c:pt>
                <c:pt idx="19">
                  <c:v>493</c:v>
                </c:pt>
                <c:pt idx="20">
                  <c:v>492</c:v>
                </c:pt>
                <c:pt idx="21">
                  <c:v>490</c:v>
                </c:pt>
                <c:pt idx="22">
                  <c:v>490</c:v>
                </c:pt>
                <c:pt idx="23">
                  <c:v>487</c:v>
                </c:pt>
                <c:pt idx="24">
                  <c:v>483</c:v>
                </c:pt>
                <c:pt idx="25">
                  <c:v>481</c:v>
                </c:pt>
                <c:pt idx="26">
                  <c:v>477</c:v>
                </c:pt>
                <c:pt idx="27">
                  <c:v>475</c:v>
                </c:pt>
                <c:pt idx="28">
                  <c:v>468</c:v>
                </c:pt>
                <c:pt idx="29">
                  <c:v>468</c:v>
                </c:pt>
                <c:pt idx="30">
                  <c:v>464</c:v>
                </c:pt>
                <c:pt idx="31">
                  <c:v>462</c:v>
                </c:pt>
                <c:pt idx="32">
                  <c:v>452</c:v>
                </c:pt>
                <c:pt idx="33">
                  <c:v>444</c:v>
                </c:pt>
                <c:pt idx="34">
                  <c:v>419</c:v>
                </c:pt>
              </c:numCache>
            </c:numRef>
          </c:val>
          <c:extLst>
            <c:ext xmlns:c16="http://schemas.microsoft.com/office/drawing/2014/chart" uri="{C3380CC4-5D6E-409C-BE32-E72D297353CC}">
              <c16:uniqueId val="{00000001-104B-429F-B532-4A9B41D22159}"/>
            </c:ext>
          </c:extLst>
        </c:ser>
        <c:dLbls>
          <c:showLegendKey val="0"/>
          <c:showVal val="0"/>
          <c:showCatName val="0"/>
          <c:showSerName val="0"/>
          <c:showPercent val="0"/>
          <c:showBubbleSize val="0"/>
        </c:dLbls>
        <c:gapWidth val="40"/>
        <c:overlap val="100"/>
        <c:axId val="328588256"/>
        <c:axId val="1"/>
      </c:barChart>
      <c:catAx>
        <c:axId val="328588256"/>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550"/>
          <c:min val="350"/>
        </c:scaling>
        <c:delete val="0"/>
        <c:axPos val="t"/>
        <c:majorGridlines>
          <c:spPr>
            <a:ln>
              <a:noFill/>
            </a:ln>
          </c:spPr>
        </c:majorGridlines>
        <c:numFmt formatCode="General" sourceLinked="1"/>
        <c:majorTickMark val="none"/>
        <c:minorTickMark val="none"/>
        <c:tickLblPos val="none"/>
        <c:spPr>
          <a:ln w="9525" algn="ctr">
            <a:solidFill>
              <a:schemeClr val="tx1"/>
            </a:solidFill>
            <a:prstDash val="solid"/>
          </a:ln>
        </c:spPr>
        <c:crossAx val="328588256"/>
        <c:crosses val="min"/>
        <c:crossBetween val="between"/>
        <c:majorUnit val="50"/>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730272596843616E-2"/>
          <c:y val="1.8531717747683536E-2"/>
          <c:w val="0.92539454806312771"/>
          <c:h val="0.96293656450463294"/>
        </c:manualLayout>
      </c:layout>
      <c:barChart>
        <c:barDir val="bar"/>
        <c:grouping val="stacked"/>
        <c:varyColors val="0"/>
        <c:ser>
          <c:idx val="0"/>
          <c:order val="0"/>
          <c:spPr>
            <a:solidFill>
              <a:schemeClr val="accent1"/>
            </a:solidFill>
            <a:ln w="9525" algn="ctr">
              <a:solidFill>
                <a:schemeClr val="bg1"/>
              </a:solidFill>
              <a:prstDash val="solid"/>
            </a:ln>
          </c:spPr>
          <c:invertIfNegative val="0"/>
          <c:dPt>
            <c:idx val="20"/>
            <c:invertIfNegative val="0"/>
            <c:bubble3D val="0"/>
            <c:spPr>
              <a:solidFill>
                <a:schemeClr val="accent2"/>
              </a:solidFill>
              <a:ln w="9525" algn="ctr">
                <a:solidFill>
                  <a:schemeClr val="bg1"/>
                </a:solidFill>
                <a:prstDash val="solid"/>
              </a:ln>
            </c:spPr>
            <c:extLst>
              <c:ext xmlns:c16="http://schemas.microsoft.com/office/drawing/2014/chart" uri="{C3380CC4-5D6E-409C-BE32-E72D297353CC}">
                <c16:uniqueId val="{00000000-E047-4EF7-9D80-08496C017303}"/>
              </c:ext>
            </c:extLst>
          </c:dPt>
          <c:val>
            <c:numRef>
              <c:f>Sheet1!$A$1:$AI$1</c:f>
              <c:numCache>
                <c:formatCode>General</c:formatCode>
                <c:ptCount val="35"/>
                <c:pt idx="0">
                  <c:v>523</c:v>
                </c:pt>
                <c:pt idx="1">
                  <c:v>520</c:v>
                </c:pt>
                <c:pt idx="2">
                  <c:v>520</c:v>
                </c:pt>
                <c:pt idx="3">
                  <c:v>518</c:v>
                </c:pt>
                <c:pt idx="4">
                  <c:v>514</c:v>
                </c:pt>
                <c:pt idx="5">
                  <c:v>512</c:v>
                </c:pt>
                <c:pt idx="6">
                  <c:v>506</c:v>
                </c:pt>
                <c:pt idx="7">
                  <c:v>506</c:v>
                </c:pt>
                <c:pt idx="8">
                  <c:v>505</c:v>
                </c:pt>
                <c:pt idx="9">
                  <c:v>505</c:v>
                </c:pt>
                <c:pt idx="10">
                  <c:v>504</c:v>
                </c:pt>
                <c:pt idx="11">
                  <c:v>503</c:v>
                </c:pt>
                <c:pt idx="12">
                  <c:v>501</c:v>
                </c:pt>
                <c:pt idx="13">
                  <c:v>499</c:v>
                </c:pt>
                <c:pt idx="14">
                  <c:v>498</c:v>
                </c:pt>
                <c:pt idx="15">
                  <c:v>495</c:v>
                </c:pt>
                <c:pt idx="16">
                  <c:v>493</c:v>
                </c:pt>
                <c:pt idx="17">
                  <c:v>493</c:v>
                </c:pt>
                <c:pt idx="18">
                  <c:v>492</c:v>
                </c:pt>
                <c:pt idx="19">
                  <c:v>490</c:v>
                </c:pt>
                <c:pt idx="20">
                  <c:v>485</c:v>
                </c:pt>
                <c:pt idx="21">
                  <c:v>484</c:v>
                </c:pt>
                <c:pt idx="22">
                  <c:v>484</c:v>
                </c:pt>
                <c:pt idx="23">
                  <c:v>479</c:v>
                </c:pt>
                <c:pt idx="24">
                  <c:v>477</c:v>
                </c:pt>
                <c:pt idx="25">
                  <c:v>476</c:v>
                </c:pt>
                <c:pt idx="26">
                  <c:v>476</c:v>
                </c:pt>
                <c:pt idx="27">
                  <c:v>474</c:v>
                </c:pt>
                <c:pt idx="28">
                  <c:v>470</c:v>
                </c:pt>
                <c:pt idx="29">
                  <c:v>470</c:v>
                </c:pt>
                <c:pt idx="30">
                  <c:v>466</c:v>
                </c:pt>
                <c:pt idx="31">
                  <c:v>458</c:v>
                </c:pt>
                <c:pt idx="32">
                  <c:v>457</c:v>
                </c:pt>
                <c:pt idx="33">
                  <c:v>452</c:v>
                </c:pt>
                <c:pt idx="34">
                  <c:v>420</c:v>
                </c:pt>
              </c:numCache>
            </c:numRef>
          </c:val>
          <c:extLst>
            <c:ext xmlns:c16="http://schemas.microsoft.com/office/drawing/2014/chart" uri="{C3380CC4-5D6E-409C-BE32-E72D297353CC}">
              <c16:uniqueId val="{00000001-E047-4EF7-9D80-08496C017303}"/>
            </c:ext>
          </c:extLst>
        </c:ser>
        <c:dLbls>
          <c:showLegendKey val="0"/>
          <c:showVal val="0"/>
          <c:showCatName val="0"/>
          <c:showSerName val="0"/>
          <c:showPercent val="0"/>
          <c:showBubbleSize val="0"/>
        </c:dLbls>
        <c:gapWidth val="40"/>
        <c:overlap val="100"/>
        <c:axId val="328579856"/>
        <c:axId val="1"/>
      </c:barChart>
      <c:catAx>
        <c:axId val="328579856"/>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550"/>
          <c:min val="350"/>
        </c:scaling>
        <c:delete val="0"/>
        <c:axPos val="t"/>
        <c:majorGridlines>
          <c:spPr>
            <a:ln>
              <a:noFill/>
            </a:ln>
          </c:spPr>
        </c:majorGridlines>
        <c:numFmt formatCode="General" sourceLinked="1"/>
        <c:majorTickMark val="none"/>
        <c:minorTickMark val="none"/>
        <c:tickLblPos val="none"/>
        <c:spPr>
          <a:ln w="9525" algn="ctr">
            <a:solidFill>
              <a:schemeClr val="tx1"/>
            </a:solidFill>
            <a:prstDash val="solid"/>
          </a:ln>
        </c:spPr>
        <c:crossAx val="328579856"/>
        <c:crosses val="min"/>
        <c:crossBetween val="between"/>
        <c:majorUnit val="50"/>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31628490743646E-2"/>
          <c:y val="2.1968736797634135E-2"/>
          <c:w val="0.96736743018512705"/>
          <c:h val="0.95606252640473166"/>
        </c:manualLayout>
      </c:layout>
      <c:lineChart>
        <c:grouping val="standard"/>
        <c:varyColors val="0"/>
        <c:ser>
          <c:idx val="0"/>
          <c:order val="0"/>
          <c:spPr>
            <a:ln w="25400" algn="ctr">
              <a:solidFill>
                <a:schemeClr val="accent1"/>
              </a:solidFill>
              <a:prstDash val="solid"/>
            </a:ln>
          </c:spPr>
          <c:marker>
            <c:symbol val="none"/>
          </c:marker>
          <c:dLbls>
            <c:dLbl>
              <c:idx val="0"/>
              <c:layout>
                <c:manualLayout>
                  <c:x val="0"/>
                  <c:y val="-3.9290240811153357E-2"/>
                </c:manualLayout>
              </c:layout>
              <c:numFmt formatCode="#,##0;&quot;-&quot;#,##0;0" sourceLinked="0"/>
              <c:spPr>
                <a:noFill/>
                <a:ln>
                  <a:noFill/>
                </a:ln>
              </c:spPr>
              <c:txPr>
                <a:bodyPr wrap="none"/>
                <a:lstStyle/>
                <a:p>
                  <a:pPr>
                    <a:defRPr sz="1200">
                      <a:solidFill>
                        <a:schemeClr val="tx1"/>
                      </a:solidFill>
                      <a:latin typeface="+mn-lt"/>
                      <a:ea typeface="+mn-ea"/>
                      <a:cs typeface="+mn-cs"/>
                      <a:sym typeface="+mn-lt"/>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F78-4CDF-B23E-FB2251DA6C1B}"/>
                </c:ext>
              </c:extLst>
            </c:dLbl>
            <c:dLbl>
              <c:idx val="1"/>
              <c:layout>
                <c:manualLayout>
                  <c:x val="0"/>
                  <c:y val="-3.9290240811153357E-2"/>
                </c:manualLayout>
              </c:layout>
              <c:numFmt formatCode="#,##0;&quot;-&quot;#,##0;0" sourceLinked="0"/>
              <c:spPr>
                <a:noFill/>
                <a:ln>
                  <a:noFill/>
                </a:ln>
              </c:spPr>
              <c:txPr>
                <a:bodyPr wrap="none"/>
                <a:lstStyle/>
                <a:p>
                  <a:pPr>
                    <a:defRPr sz="1200">
                      <a:solidFill>
                        <a:schemeClr val="tx1"/>
                      </a:solidFill>
                      <a:latin typeface="+mn-lt"/>
                      <a:ea typeface="+mn-ea"/>
                      <a:cs typeface="+mn-cs"/>
                      <a:sym typeface="+mn-lt"/>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F78-4CDF-B23E-FB2251DA6C1B}"/>
                </c:ext>
              </c:extLst>
            </c:dLbl>
            <c:dLbl>
              <c:idx val="2"/>
              <c:layout>
                <c:manualLayout>
                  <c:x val="0"/>
                  <c:y val="-3.9290240811153357E-2"/>
                </c:manualLayout>
              </c:layout>
              <c:numFmt formatCode="#,##0;&quot;-&quot;#,##0;0" sourceLinked="0"/>
              <c:spPr>
                <a:noFill/>
                <a:ln>
                  <a:noFill/>
                </a:ln>
              </c:spPr>
              <c:txPr>
                <a:bodyPr wrap="none"/>
                <a:lstStyle/>
                <a:p>
                  <a:pPr>
                    <a:defRPr sz="1200">
                      <a:solidFill>
                        <a:schemeClr val="tx1"/>
                      </a:solidFill>
                      <a:latin typeface="+mn-lt"/>
                      <a:ea typeface="+mn-ea"/>
                      <a:cs typeface="+mn-cs"/>
                      <a:sym typeface="+mn-lt"/>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F78-4CDF-B23E-FB2251DA6C1B}"/>
                </c:ext>
              </c:extLst>
            </c:dLbl>
            <c:dLbl>
              <c:idx val="3"/>
              <c:layout>
                <c:manualLayout>
                  <c:x val="0"/>
                  <c:y val="-3.9290240811153357E-2"/>
                </c:manualLayout>
              </c:layout>
              <c:numFmt formatCode="#,##0;&quot;-&quot;#,##0;0" sourceLinked="0"/>
              <c:spPr>
                <a:noFill/>
                <a:ln>
                  <a:noFill/>
                </a:ln>
              </c:spPr>
              <c:txPr>
                <a:bodyPr wrap="none"/>
                <a:lstStyle/>
                <a:p>
                  <a:pPr>
                    <a:defRPr sz="1200">
                      <a:solidFill>
                        <a:schemeClr val="tx1"/>
                      </a:solidFill>
                      <a:latin typeface="+mn-lt"/>
                      <a:ea typeface="+mn-ea"/>
                      <a:cs typeface="+mn-cs"/>
                      <a:sym typeface="+mn-lt"/>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F78-4CDF-B23E-FB2251DA6C1B}"/>
                </c:ext>
              </c:extLst>
            </c:dLbl>
            <c:dLbl>
              <c:idx val="4"/>
              <c:layout>
                <c:manualLayout>
                  <c:x val="0"/>
                  <c:y val="-3.9290240811153357E-2"/>
                </c:manualLayout>
              </c:layout>
              <c:numFmt formatCode="#,##0;&quot;-&quot;#,##0;0" sourceLinked="0"/>
              <c:spPr>
                <a:noFill/>
                <a:ln>
                  <a:noFill/>
                </a:ln>
              </c:spPr>
              <c:txPr>
                <a:bodyPr wrap="none"/>
                <a:lstStyle/>
                <a:p>
                  <a:pPr>
                    <a:defRPr sz="1200">
                      <a:solidFill>
                        <a:schemeClr val="tx1"/>
                      </a:solidFill>
                      <a:latin typeface="+mn-lt"/>
                      <a:ea typeface="+mn-ea"/>
                      <a:cs typeface="+mn-cs"/>
                      <a:sym typeface="+mn-lt"/>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F78-4CDF-B23E-FB2251DA6C1B}"/>
                </c:ext>
              </c:extLst>
            </c:dLbl>
            <c:dLbl>
              <c:idx val="5"/>
              <c:layout>
                <c:manualLayout>
                  <c:x val="0"/>
                  <c:y val="-3.9290240811153357E-2"/>
                </c:manualLayout>
              </c:layout>
              <c:numFmt formatCode="#,##0;&quot;-&quot;#,##0;0" sourceLinked="0"/>
              <c:spPr>
                <a:noFill/>
                <a:ln>
                  <a:noFill/>
                </a:ln>
              </c:spPr>
              <c:txPr>
                <a:bodyPr wrap="none"/>
                <a:lstStyle/>
                <a:p>
                  <a:pPr>
                    <a:defRPr sz="1200">
                      <a:solidFill>
                        <a:schemeClr val="tx1"/>
                      </a:solidFill>
                      <a:latin typeface="+mn-lt"/>
                      <a:ea typeface="+mn-ea"/>
                      <a:cs typeface="+mn-cs"/>
                      <a:sym typeface="+mn-lt"/>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F78-4CDF-B23E-FB2251DA6C1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537</c:v>
                </c:pt>
                <c:pt idx="1">
                  <c:v>524</c:v>
                </c:pt>
                <c:pt idx="2">
                  <c:v>524</c:v>
                </c:pt>
                <c:pt idx="3">
                  <c:v>526</c:v>
                </c:pt>
                <c:pt idx="4">
                  <c:v>516</c:v>
                </c:pt>
                <c:pt idx="5">
                  <c:v>499</c:v>
                </c:pt>
              </c:numCache>
            </c:numRef>
          </c:val>
          <c:smooth val="0"/>
          <c:extLst>
            <c:ext xmlns:c16="http://schemas.microsoft.com/office/drawing/2014/chart" uri="{C3380CC4-5D6E-409C-BE32-E72D297353CC}">
              <c16:uniqueId val="{00000006-3F78-4CDF-B23E-FB2251DA6C1B}"/>
            </c:ext>
          </c:extLst>
        </c:ser>
        <c:ser>
          <c:idx val="1"/>
          <c:order val="1"/>
          <c:spPr>
            <a:ln w="25400" algn="ctr">
              <a:solidFill>
                <a:schemeClr val="accent2"/>
              </a:solidFill>
              <a:prstDash val="solid"/>
            </a:ln>
          </c:spPr>
          <c:marker>
            <c:symbol val="none"/>
          </c:marker>
          <c:dLbls>
            <c:dLbl>
              <c:idx val="0"/>
              <c:layout>
                <c:manualLayout>
                  <c:x val="0"/>
                  <c:y val="-3.9290240811153357E-2"/>
                </c:manualLayout>
              </c:layout>
              <c:numFmt formatCode="#,##0;&quot;-&quot;#,##0;0" sourceLinked="0"/>
              <c:spPr>
                <a:noFill/>
                <a:ln>
                  <a:noFill/>
                </a:ln>
              </c:spPr>
              <c:txPr>
                <a:bodyPr wrap="none"/>
                <a:lstStyle/>
                <a:p>
                  <a:pPr>
                    <a:defRPr sz="1200">
                      <a:solidFill>
                        <a:schemeClr val="tx1"/>
                      </a:solidFill>
                      <a:latin typeface="+mn-lt"/>
                      <a:ea typeface="+mn-ea"/>
                      <a:cs typeface="+mn-cs"/>
                      <a:sym typeface="+mn-lt"/>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3F78-4CDF-B23E-FB2251DA6C1B}"/>
                </c:ext>
              </c:extLst>
            </c:dLbl>
            <c:dLbl>
              <c:idx val="1"/>
              <c:layout>
                <c:manualLayout>
                  <c:x val="0"/>
                  <c:y val="-3.9290240811153357E-2"/>
                </c:manualLayout>
              </c:layout>
              <c:numFmt formatCode="#,##0;&quot;-&quot;#,##0;0" sourceLinked="0"/>
              <c:spPr>
                <a:noFill/>
                <a:ln>
                  <a:noFill/>
                </a:ln>
              </c:spPr>
              <c:txPr>
                <a:bodyPr wrap="none"/>
                <a:lstStyle/>
                <a:p>
                  <a:pPr>
                    <a:defRPr sz="1200">
                      <a:solidFill>
                        <a:schemeClr val="tx1"/>
                      </a:solidFill>
                      <a:latin typeface="+mn-lt"/>
                      <a:ea typeface="+mn-ea"/>
                      <a:cs typeface="+mn-cs"/>
                      <a:sym typeface="+mn-lt"/>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3F78-4CDF-B23E-FB2251DA6C1B}"/>
                </c:ext>
              </c:extLst>
            </c:dLbl>
            <c:dLbl>
              <c:idx val="2"/>
              <c:layout>
                <c:manualLayout>
                  <c:x val="0"/>
                  <c:y val="-3.9290240811153357E-2"/>
                </c:manualLayout>
              </c:layout>
              <c:numFmt formatCode="#,##0;&quot;-&quot;#,##0;0" sourceLinked="0"/>
              <c:spPr>
                <a:noFill/>
                <a:ln>
                  <a:noFill/>
                </a:ln>
              </c:spPr>
              <c:txPr>
                <a:bodyPr wrap="none"/>
                <a:lstStyle/>
                <a:p>
                  <a:pPr>
                    <a:defRPr sz="1200">
                      <a:solidFill>
                        <a:schemeClr val="tx1"/>
                      </a:solidFill>
                      <a:latin typeface="+mn-lt"/>
                      <a:ea typeface="+mn-ea"/>
                      <a:cs typeface="+mn-cs"/>
                      <a:sym typeface="+mn-lt"/>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3F78-4CDF-B23E-FB2251DA6C1B}"/>
                </c:ext>
              </c:extLst>
            </c:dLbl>
            <c:dLbl>
              <c:idx val="3"/>
              <c:layout>
                <c:manualLayout>
                  <c:x val="0"/>
                  <c:y val="-3.9290240811153357E-2"/>
                </c:manualLayout>
              </c:layout>
              <c:numFmt formatCode="#,##0;&quot;-&quot;#,##0;0" sourceLinked="0"/>
              <c:spPr>
                <a:noFill/>
                <a:ln>
                  <a:noFill/>
                </a:ln>
              </c:spPr>
              <c:txPr>
                <a:bodyPr wrap="none"/>
                <a:lstStyle/>
                <a:p>
                  <a:pPr>
                    <a:defRPr sz="1200">
                      <a:solidFill>
                        <a:schemeClr val="tx1"/>
                      </a:solidFill>
                      <a:latin typeface="+mn-lt"/>
                      <a:ea typeface="+mn-ea"/>
                      <a:cs typeface="+mn-cs"/>
                      <a:sym typeface="+mn-lt"/>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3F78-4CDF-B23E-FB2251DA6C1B}"/>
                </c:ext>
              </c:extLst>
            </c:dLbl>
            <c:dLbl>
              <c:idx val="4"/>
              <c:layout>
                <c:manualLayout>
                  <c:x val="0"/>
                  <c:y val="-3.9290240811153357E-2"/>
                </c:manualLayout>
              </c:layout>
              <c:numFmt formatCode="#,##0;&quot;-&quot;#,##0;0" sourceLinked="0"/>
              <c:spPr>
                <a:noFill/>
                <a:ln>
                  <a:noFill/>
                </a:ln>
              </c:spPr>
              <c:txPr>
                <a:bodyPr wrap="none"/>
                <a:lstStyle/>
                <a:p>
                  <a:pPr>
                    <a:defRPr sz="1200">
                      <a:solidFill>
                        <a:schemeClr val="tx1"/>
                      </a:solidFill>
                      <a:latin typeface="+mn-lt"/>
                      <a:ea typeface="+mn-ea"/>
                      <a:cs typeface="+mn-cs"/>
                      <a:sym typeface="+mn-lt"/>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3F78-4CDF-B23E-FB2251DA6C1B}"/>
                </c:ext>
              </c:extLst>
            </c:dLbl>
            <c:dLbl>
              <c:idx val="5"/>
              <c:layout>
                <c:manualLayout>
                  <c:x val="0"/>
                  <c:y val="-3.9290240811153357E-2"/>
                </c:manualLayout>
              </c:layout>
              <c:numFmt formatCode="#,##0;&quot;-&quot;#,##0;0" sourceLinked="0"/>
              <c:spPr>
                <a:noFill/>
                <a:ln>
                  <a:noFill/>
                </a:ln>
              </c:spPr>
              <c:txPr>
                <a:bodyPr wrap="none"/>
                <a:lstStyle/>
                <a:p>
                  <a:pPr>
                    <a:defRPr sz="1200">
                      <a:solidFill>
                        <a:schemeClr val="tx1"/>
                      </a:solidFill>
                      <a:latin typeface="+mn-lt"/>
                      <a:ea typeface="+mn-ea"/>
                      <a:cs typeface="+mn-cs"/>
                      <a:sym typeface="+mn-lt"/>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3F78-4CDF-B23E-FB2251DA6C1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511</c:v>
                </c:pt>
                <c:pt idx="1">
                  <c:v>500</c:v>
                </c:pt>
                <c:pt idx="2">
                  <c:v>501</c:v>
                </c:pt>
                <c:pt idx="3">
                  <c:v>500</c:v>
                </c:pt>
                <c:pt idx="4">
                  <c:v>488</c:v>
                </c:pt>
                <c:pt idx="5">
                  <c:v>473</c:v>
                </c:pt>
              </c:numCache>
            </c:numRef>
          </c:val>
          <c:smooth val="0"/>
          <c:extLst>
            <c:ext xmlns:c16="http://schemas.microsoft.com/office/drawing/2014/chart" uri="{C3380CC4-5D6E-409C-BE32-E72D297353CC}">
              <c16:uniqueId val="{0000000D-3F78-4CDF-B23E-FB2251DA6C1B}"/>
            </c:ext>
          </c:extLst>
        </c:ser>
        <c:ser>
          <c:idx val="2"/>
          <c:order val="2"/>
          <c:spPr>
            <a:ln w="25400" algn="ctr">
              <a:solidFill>
                <a:schemeClr val="accent3"/>
              </a:solidFill>
              <a:prstDash val="solid"/>
            </a:ln>
          </c:spPr>
          <c:marker>
            <c:symbol val="none"/>
          </c:marker>
          <c:dLbls>
            <c:dLbl>
              <c:idx val="1"/>
              <c:layout>
                <c:manualLayout>
                  <c:x val="0"/>
                  <c:y val="-3.9290240811153357E-2"/>
                </c:manualLayout>
              </c:layout>
              <c:numFmt formatCode="#,##0;&quot;-&quot;#,##0;0" sourceLinked="0"/>
              <c:spPr>
                <a:noFill/>
                <a:ln>
                  <a:noFill/>
                </a:ln>
              </c:spPr>
              <c:txPr>
                <a:bodyPr wrap="none"/>
                <a:lstStyle/>
                <a:p>
                  <a:pPr>
                    <a:defRPr sz="1200">
                      <a:solidFill>
                        <a:schemeClr val="tx1"/>
                      </a:solidFill>
                      <a:latin typeface="+mn-lt"/>
                      <a:ea typeface="+mn-ea"/>
                      <a:cs typeface="+mn-cs"/>
                      <a:sym typeface="+mn-lt"/>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3F78-4CDF-B23E-FB2251DA6C1B}"/>
                </c:ext>
              </c:extLst>
            </c:dLbl>
            <c:dLbl>
              <c:idx val="2"/>
              <c:layout>
                <c:manualLayout>
                  <c:x val="0"/>
                  <c:y val="-3.9290240811153357E-2"/>
                </c:manualLayout>
              </c:layout>
              <c:numFmt formatCode="#,##0;&quot;-&quot;#,##0;0" sourceLinked="0"/>
              <c:spPr>
                <a:noFill/>
                <a:ln>
                  <a:noFill/>
                </a:ln>
              </c:spPr>
              <c:txPr>
                <a:bodyPr wrap="none"/>
                <a:lstStyle/>
                <a:p>
                  <a:pPr>
                    <a:defRPr sz="1200">
                      <a:solidFill>
                        <a:schemeClr val="tx1"/>
                      </a:solidFill>
                      <a:latin typeface="+mn-lt"/>
                      <a:ea typeface="+mn-ea"/>
                      <a:cs typeface="+mn-cs"/>
                      <a:sym typeface="+mn-lt"/>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3F78-4CDF-B23E-FB2251DA6C1B}"/>
                </c:ext>
              </c:extLst>
            </c:dLbl>
            <c:dLbl>
              <c:idx val="3"/>
              <c:layout>
                <c:manualLayout>
                  <c:x val="0"/>
                  <c:y val="-3.9290240811153357E-2"/>
                </c:manualLayout>
              </c:layout>
              <c:numFmt formatCode="#,##0;&quot;-&quot;#,##0;0" sourceLinked="0"/>
              <c:spPr>
                <a:noFill/>
                <a:ln>
                  <a:noFill/>
                </a:ln>
              </c:spPr>
              <c:txPr>
                <a:bodyPr wrap="none"/>
                <a:lstStyle/>
                <a:p>
                  <a:pPr>
                    <a:defRPr sz="1200">
                      <a:solidFill>
                        <a:schemeClr val="tx1"/>
                      </a:solidFill>
                      <a:latin typeface="+mn-lt"/>
                      <a:ea typeface="+mn-ea"/>
                      <a:cs typeface="+mn-cs"/>
                      <a:sym typeface="+mn-lt"/>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3F78-4CDF-B23E-FB2251DA6C1B}"/>
                </c:ext>
              </c:extLst>
            </c:dLbl>
            <c:dLbl>
              <c:idx val="4"/>
              <c:layout>
                <c:manualLayout>
                  <c:x val="0"/>
                  <c:y val="-3.9290240811153357E-2"/>
                </c:manualLayout>
              </c:layout>
              <c:numFmt formatCode="#,##0;&quot;-&quot;#,##0;0" sourceLinked="0"/>
              <c:spPr>
                <a:noFill/>
                <a:ln>
                  <a:noFill/>
                </a:ln>
              </c:spPr>
              <c:txPr>
                <a:bodyPr wrap="none"/>
                <a:lstStyle/>
                <a:p>
                  <a:pPr>
                    <a:defRPr sz="1200">
                      <a:solidFill>
                        <a:schemeClr val="tx1"/>
                      </a:solidFill>
                      <a:latin typeface="+mn-lt"/>
                      <a:ea typeface="+mn-ea"/>
                      <a:cs typeface="+mn-cs"/>
                      <a:sym typeface="+mn-lt"/>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3F78-4CDF-B23E-FB2251DA6C1B}"/>
                </c:ext>
              </c:extLst>
            </c:dLbl>
            <c:dLbl>
              <c:idx val="5"/>
              <c:layout>
                <c:manualLayout>
                  <c:x val="0"/>
                  <c:y val="-3.9290240811153357E-2"/>
                </c:manualLayout>
              </c:layout>
              <c:numFmt formatCode="#,##0;&quot;-&quot;#,##0;0" sourceLinked="0"/>
              <c:spPr>
                <a:noFill/>
                <a:ln>
                  <a:noFill/>
                </a:ln>
              </c:spPr>
              <c:txPr>
                <a:bodyPr wrap="none"/>
                <a:lstStyle/>
                <a:p>
                  <a:pPr>
                    <a:defRPr sz="1200">
                      <a:solidFill>
                        <a:schemeClr val="tx1"/>
                      </a:solidFill>
                      <a:latin typeface="+mn-lt"/>
                      <a:ea typeface="+mn-ea"/>
                      <a:cs typeface="+mn-cs"/>
                      <a:sym typeface="+mn-lt"/>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3F78-4CDF-B23E-FB2251DA6C1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F$3</c:f>
              <c:numCache>
                <c:formatCode>General</c:formatCode>
                <c:ptCount val="6"/>
                <c:pt idx="0">
                  <c:v>495</c:v>
                </c:pt>
                <c:pt idx="1">
                  <c:v>460</c:v>
                </c:pt>
                <c:pt idx="2">
                  <c:v>466</c:v>
                </c:pt>
                <c:pt idx="3">
                  <c:v>467</c:v>
                </c:pt>
                <c:pt idx="4">
                  <c:v>452</c:v>
                </c:pt>
                <c:pt idx="5">
                  <c:v>422</c:v>
                </c:pt>
              </c:numCache>
            </c:numRef>
          </c:val>
          <c:smooth val="0"/>
          <c:extLst>
            <c:ext xmlns:c16="http://schemas.microsoft.com/office/drawing/2014/chart" uri="{C3380CC4-5D6E-409C-BE32-E72D297353CC}">
              <c16:uniqueId val="{00000013-3F78-4CDF-B23E-FB2251DA6C1B}"/>
            </c:ext>
          </c:extLst>
        </c:ser>
        <c:dLbls>
          <c:showLegendKey val="0"/>
          <c:showVal val="0"/>
          <c:showCatName val="0"/>
          <c:showSerName val="0"/>
          <c:showPercent val="0"/>
          <c:showBubbleSize val="0"/>
        </c:dLbls>
        <c:smooth val="0"/>
        <c:axId val="780228176"/>
        <c:axId val="1"/>
      </c:lineChart>
      <c:catAx>
        <c:axId val="780228176"/>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600"/>
          <c:min val="350"/>
        </c:scaling>
        <c:delete val="0"/>
        <c:axPos val="l"/>
        <c:majorGridlines>
          <c:spPr>
            <a:ln>
              <a:noFill/>
            </a:ln>
          </c:spPr>
        </c:majorGridlines>
        <c:numFmt formatCode="General" sourceLinked="1"/>
        <c:majorTickMark val="none"/>
        <c:minorTickMark val="none"/>
        <c:tickLblPos val="none"/>
        <c:spPr>
          <a:ln w="9525" algn="ctr">
            <a:solidFill>
              <a:schemeClr val="tx1"/>
            </a:solidFill>
            <a:prstDash val="solid"/>
          </a:ln>
        </c:spPr>
        <c:crossAx val="780228176"/>
        <c:crosses val="min"/>
        <c:crossBetween val="between"/>
        <c:majorUnit val="50"/>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31628490743646E-2"/>
          <c:y val="2.1968736797634135E-2"/>
          <c:w val="0.96736743018512705"/>
          <c:h val="0.95606252640473166"/>
        </c:manualLayout>
      </c:layout>
      <c:lineChart>
        <c:grouping val="standard"/>
        <c:varyColors val="0"/>
        <c:ser>
          <c:idx val="0"/>
          <c:order val="0"/>
          <c:spPr>
            <a:ln w="25400" algn="ctr">
              <a:solidFill>
                <a:schemeClr val="accent1"/>
              </a:solidFill>
              <a:prstDash val="solid"/>
            </a:ln>
          </c:spPr>
          <c:marker>
            <c:symbol val="none"/>
          </c:marker>
          <c:dLbls>
            <c:dLbl>
              <c:idx val="0"/>
              <c:layout>
                <c:manualLayout>
                  <c:x val="0"/>
                  <c:y val="-3.9290240811153357E-2"/>
                </c:manualLayout>
              </c:layout>
              <c:numFmt formatCode="#,##0;&quot;-&quot;#,##0;0" sourceLinked="0"/>
              <c:spPr>
                <a:noFill/>
                <a:ln>
                  <a:noFill/>
                </a:ln>
              </c:spPr>
              <c:txPr>
                <a:bodyPr wrap="none"/>
                <a:lstStyle/>
                <a:p>
                  <a:pPr>
                    <a:defRPr sz="1200">
                      <a:solidFill>
                        <a:schemeClr val="tx1"/>
                      </a:solidFill>
                      <a:latin typeface="+mn-lt"/>
                      <a:ea typeface="+mn-ea"/>
                      <a:cs typeface="+mn-cs"/>
                      <a:sym typeface="+mn-lt"/>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535-4506-8864-F8B112B772A4}"/>
                </c:ext>
              </c:extLst>
            </c:dLbl>
            <c:dLbl>
              <c:idx val="1"/>
              <c:layout>
                <c:manualLayout>
                  <c:x val="0"/>
                  <c:y val="-3.9290240811153357E-2"/>
                </c:manualLayout>
              </c:layout>
              <c:numFmt formatCode="#,##0;&quot;-&quot;#,##0;0" sourceLinked="0"/>
              <c:spPr>
                <a:noFill/>
                <a:ln>
                  <a:noFill/>
                </a:ln>
              </c:spPr>
              <c:txPr>
                <a:bodyPr wrap="none"/>
                <a:lstStyle/>
                <a:p>
                  <a:pPr>
                    <a:defRPr sz="1200">
                      <a:solidFill>
                        <a:schemeClr val="tx1"/>
                      </a:solidFill>
                      <a:latin typeface="+mn-lt"/>
                      <a:ea typeface="+mn-ea"/>
                      <a:cs typeface="+mn-cs"/>
                      <a:sym typeface="+mn-lt"/>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535-4506-8864-F8B112B772A4}"/>
                </c:ext>
              </c:extLst>
            </c:dLbl>
            <c:dLbl>
              <c:idx val="2"/>
              <c:layout>
                <c:manualLayout>
                  <c:x val="0"/>
                  <c:y val="-3.9290240811153357E-2"/>
                </c:manualLayout>
              </c:layout>
              <c:numFmt formatCode="#,##0;&quot;-&quot;#,##0;0" sourceLinked="0"/>
              <c:spPr>
                <a:noFill/>
                <a:ln>
                  <a:noFill/>
                </a:ln>
              </c:spPr>
              <c:txPr>
                <a:bodyPr wrap="none"/>
                <a:lstStyle/>
                <a:p>
                  <a:pPr>
                    <a:defRPr sz="1200">
                      <a:solidFill>
                        <a:schemeClr val="tx1"/>
                      </a:solidFill>
                      <a:latin typeface="+mn-lt"/>
                      <a:ea typeface="+mn-ea"/>
                      <a:cs typeface="+mn-cs"/>
                      <a:sym typeface="+mn-lt"/>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535-4506-8864-F8B112B772A4}"/>
                </c:ext>
              </c:extLst>
            </c:dLbl>
            <c:dLbl>
              <c:idx val="3"/>
              <c:layout>
                <c:manualLayout>
                  <c:x val="0"/>
                  <c:y val="-3.9290240811153357E-2"/>
                </c:manualLayout>
              </c:layout>
              <c:numFmt formatCode="#,##0;&quot;-&quot;#,##0;0" sourceLinked="0"/>
              <c:spPr>
                <a:noFill/>
                <a:ln>
                  <a:noFill/>
                </a:ln>
              </c:spPr>
              <c:txPr>
                <a:bodyPr wrap="none"/>
                <a:lstStyle/>
                <a:p>
                  <a:pPr>
                    <a:defRPr sz="1200">
                      <a:solidFill>
                        <a:schemeClr val="tx1"/>
                      </a:solidFill>
                      <a:latin typeface="+mn-lt"/>
                      <a:ea typeface="+mn-ea"/>
                      <a:cs typeface="+mn-cs"/>
                      <a:sym typeface="+mn-lt"/>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535-4506-8864-F8B112B772A4}"/>
                </c:ext>
              </c:extLst>
            </c:dLbl>
            <c:dLbl>
              <c:idx val="4"/>
              <c:layout>
                <c:manualLayout>
                  <c:x val="0"/>
                  <c:y val="-3.9290240811153357E-2"/>
                </c:manualLayout>
              </c:layout>
              <c:numFmt formatCode="#,##0;&quot;-&quot;#,##0;0" sourceLinked="0"/>
              <c:spPr>
                <a:noFill/>
                <a:ln>
                  <a:noFill/>
                </a:ln>
              </c:spPr>
              <c:txPr>
                <a:bodyPr wrap="none"/>
                <a:lstStyle/>
                <a:p>
                  <a:pPr>
                    <a:defRPr sz="1200">
                      <a:solidFill>
                        <a:schemeClr val="tx1"/>
                      </a:solidFill>
                      <a:latin typeface="+mn-lt"/>
                      <a:ea typeface="+mn-ea"/>
                      <a:cs typeface="+mn-cs"/>
                      <a:sym typeface="+mn-lt"/>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535-4506-8864-F8B112B772A4}"/>
                </c:ext>
              </c:extLst>
            </c:dLbl>
            <c:dLbl>
              <c:idx val="5"/>
              <c:layout>
                <c:manualLayout>
                  <c:x val="0"/>
                  <c:y val="-3.9290240811153357E-2"/>
                </c:manualLayout>
              </c:layout>
              <c:numFmt formatCode="#,##0;&quot;-&quot;#,##0;0" sourceLinked="0"/>
              <c:spPr>
                <a:noFill/>
                <a:ln>
                  <a:noFill/>
                </a:ln>
              </c:spPr>
              <c:txPr>
                <a:bodyPr wrap="none"/>
                <a:lstStyle/>
                <a:p>
                  <a:pPr>
                    <a:defRPr sz="1200">
                      <a:solidFill>
                        <a:schemeClr val="tx1"/>
                      </a:solidFill>
                      <a:latin typeface="+mn-lt"/>
                      <a:ea typeface="+mn-ea"/>
                      <a:cs typeface="+mn-cs"/>
                      <a:sym typeface="+mn-lt"/>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535-4506-8864-F8B112B772A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567</c:v>
                </c:pt>
                <c:pt idx="1">
                  <c:v>549</c:v>
                </c:pt>
                <c:pt idx="2">
                  <c:v>544</c:v>
                </c:pt>
                <c:pt idx="3">
                  <c:v>537</c:v>
                </c:pt>
                <c:pt idx="4">
                  <c:v>524</c:v>
                </c:pt>
                <c:pt idx="5">
                  <c:v>533</c:v>
                </c:pt>
              </c:numCache>
            </c:numRef>
          </c:val>
          <c:smooth val="0"/>
          <c:extLst>
            <c:ext xmlns:c16="http://schemas.microsoft.com/office/drawing/2014/chart" uri="{C3380CC4-5D6E-409C-BE32-E72D297353CC}">
              <c16:uniqueId val="{00000006-B535-4506-8864-F8B112B772A4}"/>
            </c:ext>
          </c:extLst>
        </c:ser>
        <c:ser>
          <c:idx val="1"/>
          <c:order val="1"/>
          <c:spPr>
            <a:ln w="25400" algn="ctr">
              <a:solidFill>
                <a:schemeClr val="accent2"/>
              </a:solidFill>
              <a:prstDash val="solid"/>
            </a:ln>
          </c:spPr>
          <c:marker>
            <c:symbol val="none"/>
          </c:marker>
          <c:dLbls>
            <c:dLbl>
              <c:idx val="0"/>
              <c:layout>
                <c:manualLayout>
                  <c:x val="0"/>
                  <c:y val="-3.9290240811153357E-2"/>
                </c:manualLayout>
              </c:layout>
              <c:numFmt formatCode="#,##0;&quot;-&quot;#,##0;0" sourceLinked="0"/>
              <c:spPr>
                <a:noFill/>
                <a:ln>
                  <a:noFill/>
                </a:ln>
              </c:spPr>
              <c:txPr>
                <a:bodyPr wrap="none"/>
                <a:lstStyle/>
                <a:p>
                  <a:pPr>
                    <a:defRPr sz="1200">
                      <a:solidFill>
                        <a:schemeClr val="tx1"/>
                      </a:solidFill>
                      <a:latin typeface="+mn-lt"/>
                      <a:ea typeface="+mn-ea"/>
                      <a:cs typeface="+mn-cs"/>
                      <a:sym typeface="+mn-lt"/>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535-4506-8864-F8B112B772A4}"/>
                </c:ext>
              </c:extLst>
            </c:dLbl>
            <c:dLbl>
              <c:idx val="1"/>
              <c:layout>
                <c:manualLayout>
                  <c:x val="0"/>
                  <c:y val="-3.9290240811153357E-2"/>
                </c:manualLayout>
              </c:layout>
              <c:numFmt formatCode="#,##0;&quot;-&quot;#,##0;0" sourceLinked="0"/>
              <c:spPr>
                <a:noFill/>
                <a:ln>
                  <a:noFill/>
                </a:ln>
              </c:spPr>
              <c:txPr>
                <a:bodyPr wrap="none"/>
                <a:lstStyle/>
                <a:p>
                  <a:pPr>
                    <a:defRPr sz="1200">
                      <a:solidFill>
                        <a:schemeClr val="tx1"/>
                      </a:solidFill>
                      <a:latin typeface="+mn-lt"/>
                      <a:ea typeface="+mn-ea"/>
                      <a:cs typeface="+mn-cs"/>
                      <a:sym typeface="+mn-lt"/>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535-4506-8864-F8B112B772A4}"/>
                </c:ext>
              </c:extLst>
            </c:dLbl>
            <c:dLbl>
              <c:idx val="2"/>
              <c:layout>
                <c:manualLayout>
                  <c:x val="0"/>
                  <c:y val="-3.9290240811153357E-2"/>
                </c:manualLayout>
              </c:layout>
              <c:numFmt formatCode="#,##0;&quot;-&quot;#,##0;0" sourceLinked="0"/>
              <c:spPr>
                <a:noFill/>
                <a:ln>
                  <a:noFill/>
                </a:ln>
              </c:spPr>
              <c:txPr>
                <a:bodyPr wrap="none"/>
                <a:lstStyle/>
                <a:p>
                  <a:pPr>
                    <a:defRPr sz="1200">
                      <a:solidFill>
                        <a:schemeClr val="tx1"/>
                      </a:solidFill>
                      <a:latin typeface="+mn-lt"/>
                      <a:ea typeface="+mn-ea"/>
                      <a:cs typeface="+mn-cs"/>
                      <a:sym typeface="+mn-lt"/>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535-4506-8864-F8B112B772A4}"/>
                </c:ext>
              </c:extLst>
            </c:dLbl>
            <c:dLbl>
              <c:idx val="3"/>
              <c:layout>
                <c:manualLayout>
                  <c:x val="0"/>
                  <c:y val="-3.9290240811153357E-2"/>
                </c:manualLayout>
              </c:layout>
              <c:numFmt formatCode="#,##0;&quot;-&quot;#,##0;0" sourceLinked="0"/>
              <c:spPr>
                <a:noFill/>
                <a:ln>
                  <a:noFill/>
                </a:ln>
              </c:spPr>
              <c:txPr>
                <a:bodyPr wrap="none"/>
                <a:lstStyle/>
                <a:p>
                  <a:pPr>
                    <a:defRPr sz="1200">
                      <a:solidFill>
                        <a:schemeClr val="tx1"/>
                      </a:solidFill>
                      <a:latin typeface="+mn-lt"/>
                      <a:ea typeface="+mn-ea"/>
                      <a:cs typeface="+mn-cs"/>
                      <a:sym typeface="+mn-lt"/>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535-4506-8864-F8B112B772A4}"/>
                </c:ext>
              </c:extLst>
            </c:dLbl>
            <c:dLbl>
              <c:idx val="4"/>
              <c:layout>
                <c:manualLayout>
                  <c:x val="0"/>
                  <c:y val="-3.9290240811153357E-2"/>
                </c:manualLayout>
              </c:layout>
              <c:numFmt formatCode="#,##0;&quot;-&quot;#,##0;0" sourceLinked="0"/>
              <c:spPr>
                <a:noFill/>
                <a:ln>
                  <a:noFill/>
                </a:ln>
              </c:spPr>
              <c:txPr>
                <a:bodyPr wrap="none"/>
                <a:lstStyle/>
                <a:p>
                  <a:pPr>
                    <a:defRPr sz="1200">
                      <a:solidFill>
                        <a:schemeClr val="tx1"/>
                      </a:solidFill>
                      <a:latin typeface="+mn-lt"/>
                      <a:ea typeface="+mn-ea"/>
                      <a:cs typeface="+mn-cs"/>
                      <a:sym typeface="+mn-lt"/>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B535-4506-8864-F8B112B772A4}"/>
                </c:ext>
              </c:extLst>
            </c:dLbl>
            <c:dLbl>
              <c:idx val="5"/>
              <c:layout>
                <c:manualLayout>
                  <c:x val="0"/>
                  <c:y val="-3.9290240811153357E-2"/>
                </c:manualLayout>
              </c:layout>
              <c:numFmt formatCode="#,##0;&quot;-&quot;#,##0;0" sourceLinked="0"/>
              <c:spPr>
                <a:noFill/>
                <a:ln>
                  <a:noFill/>
                </a:ln>
              </c:spPr>
              <c:txPr>
                <a:bodyPr wrap="none"/>
                <a:lstStyle/>
                <a:p>
                  <a:pPr>
                    <a:defRPr sz="1200">
                      <a:solidFill>
                        <a:schemeClr val="tx1"/>
                      </a:solidFill>
                      <a:latin typeface="+mn-lt"/>
                      <a:ea typeface="+mn-ea"/>
                      <a:cs typeface="+mn-cs"/>
                      <a:sym typeface="+mn-lt"/>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B535-4506-8864-F8B112B772A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533</c:v>
                </c:pt>
                <c:pt idx="1">
                  <c:v>521</c:v>
                </c:pt>
                <c:pt idx="2">
                  <c:v>516</c:v>
                </c:pt>
                <c:pt idx="3">
                  <c:v>513</c:v>
                </c:pt>
                <c:pt idx="4">
                  <c:v>501</c:v>
                </c:pt>
                <c:pt idx="5">
                  <c:v>505</c:v>
                </c:pt>
              </c:numCache>
            </c:numRef>
          </c:val>
          <c:smooth val="0"/>
          <c:extLst>
            <c:ext xmlns:c16="http://schemas.microsoft.com/office/drawing/2014/chart" uri="{C3380CC4-5D6E-409C-BE32-E72D297353CC}">
              <c16:uniqueId val="{0000000D-B535-4506-8864-F8B112B772A4}"/>
            </c:ext>
          </c:extLst>
        </c:ser>
        <c:ser>
          <c:idx val="2"/>
          <c:order val="2"/>
          <c:spPr>
            <a:ln w="25400" algn="ctr">
              <a:solidFill>
                <a:schemeClr val="accent3"/>
              </a:solidFill>
              <a:prstDash val="solid"/>
            </a:ln>
          </c:spPr>
          <c:marker>
            <c:symbol val="none"/>
          </c:marker>
          <c:dLbls>
            <c:dLbl>
              <c:idx val="0"/>
              <c:layout>
                <c:manualLayout>
                  <c:x val="0"/>
                  <c:y val="-3.9290240811153357E-2"/>
                </c:manualLayout>
              </c:layout>
              <c:numFmt formatCode="#,##0;&quot;-&quot;#,##0;0" sourceLinked="0"/>
              <c:spPr>
                <a:noFill/>
                <a:ln>
                  <a:noFill/>
                </a:ln>
              </c:spPr>
              <c:txPr>
                <a:bodyPr wrap="none"/>
                <a:lstStyle/>
                <a:p>
                  <a:pPr>
                    <a:defRPr sz="1200">
                      <a:solidFill>
                        <a:schemeClr val="tx1"/>
                      </a:solidFill>
                      <a:latin typeface="+mn-lt"/>
                      <a:ea typeface="+mn-ea"/>
                      <a:cs typeface="+mn-cs"/>
                      <a:sym typeface="+mn-lt"/>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B535-4506-8864-F8B112B772A4}"/>
                </c:ext>
              </c:extLst>
            </c:dLbl>
            <c:dLbl>
              <c:idx val="1"/>
              <c:layout>
                <c:manualLayout>
                  <c:x val="0"/>
                  <c:y val="-3.9290240811153357E-2"/>
                </c:manualLayout>
              </c:layout>
              <c:numFmt formatCode="#,##0;&quot;-&quot;#,##0;0" sourceLinked="0"/>
              <c:spPr>
                <a:noFill/>
                <a:ln>
                  <a:noFill/>
                </a:ln>
              </c:spPr>
              <c:txPr>
                <a:bodyPr wrap="none"/>
                <a:lstStyle/>
                <a:p>
                  <a:pPr>
                    <a:defRPr sz="1200">
                      <a:solidFill>
                        <a:schemeClr val="tx1"/>
                      </a:solidFill>
                      <a:latin typeface="+mn-lt"/>
                      <a:ea typeface="+mn-ea"/>
                      <a:cs typeface="+mn-cs"/>
                      <a:sym typeface="+mn-lt"/>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B535-4506-8864-F8B112B772A4}"/>
                </c:ext>
              </c:extLst>
            </c:dLbl>
            <c:dLbl>
              <c:idx val="2"/>
              <c:layout>
                <c:manualLayout>
                  <c:x val="0"/>
                  <c:y val="-3.9290240811153357E-2"/>
                </c:manualLayout>
              </c:layout>
              <c:numFmt formatCode="#,##0;&quot;-&quot;#,##0;0" sourceLinked="0"/>
              <c:spPr>
                <a:noFill/>
                <a:ln>
                  <a:noFill/>
                </a:ln>
              </c:spPr>
              <c:txPr>
                <a:bodyPr wrap="none"/>
                <a:lstStyle/>
                <a:p>
                  <a:pPr>
                    <a:defRPr sz="1200">
                      <a:solidFill>
                        <a:schemeClr val="tx1"/>
                      </a:solidFill>
                      <a:latin typeface="+mn-lt"/>
                      <a:ea typeface="+mn-ea"/>
                      <a:cs typeface="+mn-cs"/>
                      <a:sym typeface="+mn-lt"/>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B535-4506-8864-F8B112B772A4}"/>
                </c:ext>
              </c:extLst>
            </c:dLbl>
            <c:dLbl>
              <c:idx val="3"/>
              <c:layout>
                <c:manualLayout>
                  <c:x val="0"/>
                  <c:y val="-3.9290240811153357E-2"/>
                </c:manualLayout>
              </c:layout>
              <c:numFmt formatCode="#,##0;&quot;-&quot;#,##0;0" sourceLinked="0"/>
              <c:spPr>
                <a:noFill/>
                <a:ln>
                  <a:noFill/>
                </a:ln>
              </c:spPr>
              <c:txPr>
                <a:bodyPr wrap="none"/>
                <a:lstStyle/>
                <a:p>
                  <a:pPr>
                    <a:defRPr sz="1200">
                      <a:solidFill>
                        <a:schemeClr val="tx1"/>
                      </a:solidFill>
                      <a:latin typeface="+mn-lt"/>
                      <a:ea typeface="+mn-ea"/>
                      <a:cs typeface="+mn-cs"/>
                      <a:sym typeface="+mn-lt"/>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B535-4506-8864-F8B112B772A4}"/>
                </c:ext>
              </c:extLst>
            </c:dLbl>
            <c:dLbl>
              <c:idx val="4"/>
              <c:layout>
                <c:manualLayout>
                  <c:x val="0"/>
                  <c:y val="-3.9290240811153357E-2"/>
                </c:manualLayout>
              </c:layout>
              <c:numFmt formatCode="#,##0;&quot;-&quot;#,##0;0" sourceLinked="0"/>
              <c:spPr>
                <a:noFill/>
                <a:ln>
                  <a:noFill/>
                </a:ln>
              </c:spPr>
              <c:txPr>
                <a:bodyPr wrap="none"/>
                <a:lstStyle/>
                <a:p>
                  <a:pPr>
                    <a:defRPr sz="1200">
                      <a:solidFill>
                        <a:schemeClr val="tx1"/>
                      </a:solidFill>
                      <a:latin typeface="+mn-lt"/>
                      <a:ea typeface="+mn-ea"/>
                      <a:cs typeface="+mn-cs"/>
                      <a:sym typeface="+mn-lt"/>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B535-4506-8864-F8B112B772A4}"/>
                </c:ext>
              </c:extLst>
            </c:dLbl>
            <c:dLbl>
              <c:idx val="5"/>
              <c:layout>
                <c:manualLayout>
                  <c:x val="0"/>
                  <c:y val="-3.9290240811153357E-2"/>
                </c:manualLayout>
              </c:layout>
              <c:numFmt formatCode="#,##0;&quot;-&quot;#,##0;0" sourceLinked="0"/>
              <c:spPr>
                <a:noFill/>
                <a:ln>
                  <a:noFill/>
                </a:ln>
              </c:spPr>
              <c:txPr>
                <a:bodyPr wrap="none"/>
                <a:lstStyle/>
                <a:p>
                  <a:pPr>
                    <a:defRPr sz="1200">
                      <a:solidFill>
                        <a:schemeClr val="tx1"/>
                      </a:solidFill>
                      <a:latin typeface="+mn-lt"/>
                      <a:ea typeface="+mn-ea"/>
                      <a:cs typeface="+mn-cs"/>
                      <a:sym typeface="+mn-lt"/>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B535-4506-8864-F8B112B772A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F$3</c:f>
              <c:numCache>
                <c:formatCode>General</c:formatCode>
                <c:ptCount val="6"/>
                <c:pt idx="0">
                  <c:v>515</c:v>
                </c:pt>
                <c:pt idx="1">
                  <c:v>490</c:v>
                </c:pt>
                <c:pt idx="2">
                  <c:v>476</c:v>
                </c:pt>
                <c:pt idx="3">
                  <c:v>478</c:v>
                </c:pt>
                <c:pt idx="4">
                  <c:v>459</c:v>
                </c:pt>
                <c:pt idx="5">
                  <c:v>454</c:v>
                </c:pt>
              </c:numCache>
            </c:numRef>
          </c:val>
          <c:smooth val="0"/>
          <c:extLst>
            <c:ext xmlns:c16="http://schemas.microsoft.com/office/drawing/2014/chart" uri="{C3380CC4-5D6E-409C-BE32-E72D297353CC}">
              <c16:uniqueId val="{00000014-B535-4506-8864-F8B112B772A4}"/>
            </c:ext>
          </c:extLst>
        </c:ser>
        <c:dLbls>
          <c:showLegendKey val="0"/>
          <c:showVal val="0"/>
          <c:showCatName val="0"/>
          <c:showSerName val="0"/>
          <c:showPercent val="0"/>
          <c:showBubbleSize val="0"/>
        </c:dLbls>
        <c:smooth val="0"/>
        <c:axId val="780226976"/>
        <c:axId val="1"/>
      </c:lineChart>
      <c:catAx>
        <c:axId val="780226976"/>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600"/>
          <c:min val="350"/>
        </c:scaling>
        <c:delete val="0"/>
        <c:axPos val="l"/>
        <c:majorGridlines>
          <c:spPr>
            <a:ln>
              <a:noFill/>
            </a:ln>
          </c:spPr>
        </c:majorGridlines>
        <c:numFmt formatCode="General" sourceLinked="1"/>
        <c:majorTickMark val="none"/>
        <c:minorTickMark val="none"/>
        <c:tickLblPos val="none"/>
        <c:spPr>
          <a:ln w="9525" algn="ctr">
            <a:solidFill>
              <a:schemeClr val="tx1"/>
            </a:solidFill>
            <a:prstDash val="solid"/>
          </a:ln>
        </c:spPr>
        <c:crossAx val="780226976"/>
        <c:crosses val="min"/>
        <c:crossBetween val="between"/>
        <c:majorUnit val="50"/>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0466926070038912E-2"/>
          <c:y val="1.9131714495952905E-2"/>
          <c:w val="0.91906614785992224"/>
          <c:h val="0.96173657100809418"/>
        </c:manualLayout>
      </c:layout>
      <c:barChart>
        <c:barDir val="bar"/>
        <c:grouping val="stacked"/>
        <c:varyColors val="0"/>
        <c:ser>
          <c:idx val="0"/>
          <c:order val="0"/>
          <c:spPr>
            <a:solidFill>
              <a:schemeClr val="accent1"/>
            </a:solidFill>
            <a:ln w="9525" algn="ctr">
              <a:solidFill>
                <a:schemeClr val="bg1"/>
              </a:solidFill>
              <a:prstDash val="solid"/>
            </a:ln>
          </c:spPr>
          <c:invertIfNegative val="0"/>
          <c:dPt>
            <c:idx val="18"/>
            <c:invertIfNegative val="0"/>
            <c:bubble3D val="0"/>
            <c:spPr>
              <a:solidFill>
                <a:schemeClr val="accent2"/>
              </a:solidFill>
              <a:ln w="9525" algn="ctr">
                <a:solidFill>
                  <a:schemeClr val="bg1"/>
                </a:solidFill>
                <a:prstDash val="solid"/>
              </a:ln>
            </c:spPr>
            <c:extLst>
              <c:ext xmlns:c16="http://schemas.microsoft.com/office/drawing/2014/chart" uri="{C3380CC4-5D6E-409C-BE32-E72D297353CC}">
                <c16:uniqueId val="{00000000-9569-4159-B82B-0D4846BA3A66}"/>
              </c:ext>
            </c:extLst>
          </c:dPt>
          <c:dPt>
            <c:idx val="36"/>
            <c:invertIfNegative val="0"/>
            <c:bubble3D val="0"/>
            <c:spPr>
              <a:solidFill>
                <a:schemeClr val="accent2"/>
              </a:solidFill>
              <a:ln w="9525" algn="ctr">
                <a:solidFill>
                  <a:schemeClr val="bg1"/>
                </a:solidFill>
                <a:prstDash val="solid"/>
              </a:ln>
            </c:spPr>
            <c:extLst>
              <c:ext xmlns:c16="http://schemas.microsoft.com/office/drawing/2014/chart" uri="{C3380CC4-5D6E-409C-BE32-E72D297353CC}">
                <c16:uniqueId val="{00000001-9569-4159-B82B-0D4846BA3A66}"/>
              </c:ext>
            </c:extLst>
          </c:dPt>
          <c:val>
            <c:numRef>
              <c:f>Sheet1!$A$1:$AN$1</c:f>
              <c:numCache>
                <c:formatCode>General</c:formatCode>
                <c:ptCount val="40"/>
                <c:pt idx="0">
                  <c:v>555</c:v>
                </c:pt>
                <c:pt idx="1">
                  <c:v>549</c:v>
                </c:pt>
                <c:pt idx="2">
                  <c:v>524</c:v>
                </c:pt>
                <c:pt idx="3">
                  <c:v>523</c:v>
                </c:pt>
                <c:pt idx="4">
                  <c:v>520</c:v>
                </c:pt>
                <c:pt idx="5">
                  <c:v>520</c:v>
                </c:pt>
                <c:pt idx="6">
                  <c:v>518</c:v>
                </c:pt>
                <c:pt idx="7">
                  <c:v>514</c:v>
                </c:pt>
                <c:pt idx="8">
                  <c:v>512</c:v>
                </c:pt>
                <c:pt idx="9">
                  <c:v>506</c:v>
                </c:pt>
                <c:pt idx="10">
                  <c:v>506</c:v>
                </c:pt>
                <c:pt idx="11">
                  <c:v>505</c:v>
                </c:pt>
                <c:pt idx="12">
                  <c:v>505</c:v>
                </c:pt>
                <c:pt idx="13">
                  <c:v>504</c:v>
                </c:pt>
                <c:pt idx="14">
                  <c:v>503</c:v>
                </c:pt>
                <c:pt idx="15">
                  <c:v>503</c:v>
                </c:pt>
                <c:pt idx="16">
                  <c:v>501</c:v>
                </c:pt>
                <c:pt idx="17">
                  <c:v>499</c:v>
                </c:pt>
                <c:pt idx="18">
                  <c:v>499</c:v>
                </c:pt>
                <c:pt idx="19">
                  <c:v>498</c:v>
                </c:pt>
                <c:pt idx="20">
                  <c:v>495</c:v>
                </c:pt>
                <c:pt idx="21">
                  <c:v>493</c:v>
                </c:pt>
                <c:pt idx="22">
                  <c:v>493</c:v>
                </c:pt>
                <c:pt idx="23">
                  <c:v>492</c:v>
                </c:pt>
                <c:pt idx="24">
                  <c:v>490</c:v>
                </c:pt>
                <c:pt idx="25">
                  <c:v>484</c:v>
                </c:pt>
                <c:pt idx="26">
                  <c:v>484</c:v>
                </c:pt>
                <c:pt idx="27">
                  <c:v>479</c:v>
                </c:pt>
                <c:pt idx="28">
                  <c:v>479</c:v>
                </c:pt>
                <c:pt idx="29">
                  <c:v>479</c:v>
                </c:pt>
                <c:pt idx="30">
                  <c:v>477</c:v>
                </c:pt>
                <c:pt idx="31">
                  <c:v>476</c:v>
                </c:pt>
                <c:pt idx="32">
                  <c:v>476</c:v>
                </c:pt>
                <c:pt idx="33">
                  <c:v>476</c:v>
                </c:pt>
                <c:pt idx="34">
                  <c:v>474</c:v>
                </c:pt>
                <c:pt idx="35">
                  <c:v>474</c:v>
                </c:pt>
                <c:pt idx="36">
                  <c:v>473</c:v>
                </c:pt>
                <c:pt idx="37">
                  <c:v>470</c:v>
                </c:pt>
                <c:pt idx="38">
                  <c:v>470</c:v>
                </c:pt>
                <c:pt idx="39">
                  <c:v>466</c:v>
                </c:pt>
              </c:numCache>
            </c:numRef>
          </c:val>
          <c:extLst>
            <c:ext xmlns:c16="http://schemas.microsoft.com/office/drawing/2014/chart" uri="{C3380CC4-5D6E-409C-BE32-E72D297353CC}">
              <c16:uniqueId val="{00000002-9569-4159-B82B-0D4846BA3A66}"/>
            </c:ext>
          </c:extLst>
        </c:ser>
        <c:dLbls>
          <c:showLegendKey val="0"/>
          <c:showVal val="0"/>
          <c:showCatName val="0"/>
          <c:showSerName val="0"/>
          <c:showPercent val="0"/>
          <c:showBubbleSize val="0"/>
        </c:dLbls>
        <c:gapWidth val="40"/>
        <c:overlap val="100"/>
        <c:axId val="2102576016"/>
        <c:axId val="1"/>
      </c:barChart>
      <c:catAx>
        <c:axId val="2102576016"/>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600"/>
          <c:min val="300"/>
        </c:scaling>
        <c:delete val="0"/>
        <c:axPos val="t"/>
        <c:majorGridlines>
          <c:spPr>
            <a:ln>
              <a:noFill/>
            </a:ln>
          </c:spPr>
        </c:majorGridlines>
        <c:numFmt formatCode="General" sourceLinked="1"/>
        <c:majorTickMark val="none"/>
        <c:minorTickMark val="none"/>
        <c:tickLblPos val="none"/>
        <c:spPr>
          <a:ln w="9525" algn="ctr">
            <a:solidFill>
              <a:schemeClr val="tx1"/>
            </a:solidFill>
            <a:prstDash val="solid"/>
          </a:ln>
        </c:spPr>
        <c:crossAx val="2102576016"/>
        <c:crosses val="min"/>
        <c:crossBetween val="between"/>
        <c:majorUnit val="50"/>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0752351097178681E-2"/>
          <c:y val="1.9033674963396779E-2"/>
          <c:w val="0.91849529780564265"/>
          <c:h val="0.9619326500732065"/>
        </c:manualLayout>
      </c:layout>
      <c:barChart>
        <c:barDir val="bar"/>
        <c:grouping val="stacked"/>
        <c:varyColors val="0"/>
        <c:ser>
          <c:idx val="0"/>
          <c:order val="0"/>
          <c:spPr>
            <a:solidFill>
              <a:schemeClr val="accent1"/>
            </a:solidFill>
            <a:ln w="9525" algn="ctr">
              <a:solidFill>
                <a:schemeClr val="bg1"/>
              </a:solidFill>
              <a:prstDash val="solid"/>
            </a:ln>
          </c:spPr>
          <c:invertIfNegative val="0"/>
          <c:dPt>
            <c:idx val="13"/>
            <c:invertIfNegative val="0"/>
            <c:bubble3D val="0"/>
            <c:spPr>
              <a:solidFill>
                <a:schemeClr val="accent2"/>
              </a:solidFill>
              <a:ln w="9525" algn="ctr">
                <a:solidFill>
                  <a:schemeClr val="bg1"/>
                </a:solidFill>
                <a:prstDash val="solid"/>
              </a:ln>
            </c:spPr>
            <c:extLst>
              <c:ext xmlns:c16="http://schemas.microsoft.com/office/drawing/2014/chart" uri="{C3380CC4-5D6E-409C-BE32-E72D297353CC}">
                <c16:uniqueId val="{00000000-E209-4CD2-A563-D916F3EE8F26}"/>
              </c:ext>
            </c:extLst>
          </c:dPt>
          <c:val>
            <c:numRef>
              <c:f>Sheet1!$A$1:$AN$1</c:f>
              <c:numCache>
                <c:formatCode>General</c:formatCode>
                <c:ptCount val="40"/>
                <c:pt idx="0">
                  <c:v>470</c:v>
                </c:pt>
                <c:pt idx="1">
                  <c:v>466</c:v>
                </c:pt>
                <c:pt idx="2">
                  <c:v>466</c:v>
                </c:pt>
                <c:pt idx="3">
                  <c:v>458</c:v>
                </c:pt>
                <c:pt idx="4">
                  <c:v>457</c:v>
                </c:pt>
                <c:pt idx="5">
                  <c:v>452</c:v>
                </c:pt>
                <c:pt idx="6">
                  <c:v>448</c:v>
                </c:pt>
                <c:pt idx="7">
                  <c:v>439</c:v>
                </c:pt>
                <c:pt idx="8">
                  <c:v>432</c:v>
                </c:pt>
                <c:pt idx="9">
                  <c:v>428</c:v>
                </c:pt>
                <c:pt idx="10">
                  <c:v>427</c:v>
                </c:pt>
                <c:pt idx="11">
                  <c:v>426</c:v>
                </c:pt>
                <c:pt idx="12">
                  <c:v>424</c:v>
                </c:pt>
                <c:pt idx="13">
                  <c:v>422</c:v>
                </c:pt>
                <c:pt idx="14">
                  <c:v>421</c:v>
                </c:pt>
                <c:pt idx="15">
                  <c:v>420</c:v>
                </c:pt>
                <c:pt idx="16">
                  <c:v>420</c:v>
                </c:pt>
                <c:pt idx="17">
                  <c:v>419</c:v>
                </c:pt>
                <c:pt idx="18">
                  <c:v>415</c:v>
                </c:pt>
                <c:pt idx="19">
                  <c:v>413</c:v>
                </c:pt>
                <c:pt idx="20">
                  <c:v>412</c:v>
                </c:pt>
                <c:pt idx="21">
                  <c:v>408</c:v>
                </c:pt>
                <c:pt idx="22">
                  <c:v>407</c:v>
                </c:pt>
                <c:pt idx="23">
                  <c:v>405</c:v>
                </c:pt>
                <c:pt idx="24">
                  <c:v>403</c:v>
                </c:pt>
                <c:pt idx="25">
                  <c:v>402</c:v>
                </c:pt>
                <c:pt idx="26">
                  <c:v>401</c:v>
                </c:pt>
                <c:pt idx="27">
                  <c:v>399</c:v>
                </c:pt>
                <c:pt idx="28">
                  <c:v>393</c:v>
                </c:pt>
                <c:pt idx="29">
                  <c:v>393</c:v>
                </c:pt>
                <c:pt idx="30">
                  <c:v>389</c:v>
                </c:pt>
                <c:pt idx="31">
                  <c:v>387</c:v>
                </c:pt>
                <c:pt idx="32">
                  <c:v>380</c:v>
                </c:pt>
                <c:pt idx="33">
                  <c:v>377</c:v>
                </c:pt>
                <c:pt idx="34">
                  <c:v>371</c:v>
                </c:pt>
                <c:pt idx="35">
                  <c:v>359</c:v>
                </c:pt>
                <c:pt idx="36">
                  <c:v>353</c:v>
                </c:pt>
                <c:pt idx="37">
                  <c:v>353</c:v>
                </c:pt>
                <c:pt idx="38">
                  <c:v>342</c:v>
                </c:pt>
                <c:pt idx="39">
                  <c:v>340</c:v>
                </c:pt>
              </c:numCache>
            </c:numRef>
          </c:val>
          <c:extLst>
            <c:ext xmlns:c16="http://schemas.microsoft.com/office/drawing/2014/chart" uri="{C3380CC4-5D6E-409C-BE32-E72D297353CC}">
              <c16:uniqueId val="{00000001-E209-4CD2-A563-D916F3EE8F26}"/>
            </c:ext>
          </c:extLst>
        </c:ser>
        <c:dLbls>
          <c:showLegendKey val="0"/>
          <c:showVal val="0"/>
          <c:showCatName val="0"/>
          <c:showSerName val="0"/>
          <c:showPercent val="0"/>
          <c:showBubbleSize val="0"/>
        </c:dLbls>
        <c:gapWidth val="40"/>
        <c:overlap val="100"/>
        <c:axId val="2102575216"/>
        <c:axId val="1"/>
      </c:barChart>
      <c:catAx>
        <c:axId val="2102575216"/>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600"/>
          <c:min val="300"/>
        </c:scaling>
        <c:delete val="0"/>
        <c:axPos val="t"/>
        <c:majorGridlines>
          <c:spPr>
            <a:ln>
              <a:noFill/>
            </a:ln>
          </c:spPr>
        </c:majorGridlines>
        <c:numFmt formatCode="General" sourceLinked="1"/>
        <c:majorTickMark val="none"/>
        <c:minorTickMark val="none"/>
        <c:tickLblPos val="none"/>
        <c:spPr>
          <a:ln w="9525" algn="ctr">
            <a:solidFill>
              <a:schemeClr val="tx1"/>
            </a:solidFill>
            <a:prstDash val="solid"/>
          </a:ln>
        </c:spPr>
        <c:crossAx val="2102575216"/>
        <c:crosses val="min"/>
        <c:crossBetween val="between"/>
        <c:majorUnit val="50"/>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656957928802592E-2"/>
          <c:y val="4.9951969260326606E-2"/>
          <c:w val="0.86472491909385119"/>
          <c:h val="0.90009606147934673"/>
        </c:manualLayout>
      </c:layout>
      <c:barChart>
        <c:barDir val="bar"/>
        <c:grouping val="stacked"/>
        <c:varyColors val="0"/>
        <c:ser>
          <c:idx val="0"/>
          <c:order val="0"/>
          <c:spPr>
            <a:solidFill>
              <a:schemeClr val="accent3"/>
            </a:solidFill>
            <a:ln w="9525" algn="ctr">
              <a:solidFill>
                <a:schemeClr val="bg1"/>
              </a:solidFill>
              <a:prstDash val="solid"/>
            </a:ln>
          </c:spPr>
          <c:invertIfNegative val="0"/>
          <c:dLbls>
            <c:dLbl>
              <c:idx val="0"/>
              <c:layout>
                <c:manualLayout>
                  <c:x val="0.24530744336569579"/>
                  <c:y val="0"/>
                </c:manualLayout>
              </c:layout>
              <c:numFmt formatCode="#,##0;&quot;-&quot;#,##0;0" sourceLinked="0"/>
              <c:spPr>
                <a:noFill/>
                <a:ln>
                  <a:noFill/>
                </a:ln>
              </c:spPr>
              <c:txPr>
                <a:bodyPr wrap="none"/>
                <a:lstStyle/>
                <a:p>
                  <a:pPr>
                    <a:defRPr sz="1200">
                      <a:solidFill>
                        <a:schemeClr val="tx1"/>
                      </a:solidFill>
                      <a:latin typeface="+mn-lt"/>
                      <a:ea typeface="+mn-ea"/>
                      <a:cs typeface="Arial"/>
                      <a:sym typeface="+mn-lt"/>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8D0-4742-9C9E-F0E887C7F83D}"/>
                </c:ext>
              </c:extLst>
            </c:dLbl>
            <c:dLbl>
              <c:idx val="1"/>
              <c:layout>
                <c:manualLayout>
                  <c:x val="0.31844660194174756"/>
                  <c:y val="0"/>
                </c:manualLayout>
              </c:layout>
              <c:numFmt formatCode="#,##0;&quot;-&quot;#,##0;0" sourceLinked="0"/>
              <c:spPr>
                <a:noFill/>
                <a:ln>
                  <a:noFill/>
                </a:ln>
              </c:spPr>
              <c:txPr>
                <a:bodyPr wrap="none"/>
                <a:lstStyle/>
                <a:p>
                  <a:pPr>
                    <a:defRPr sz="1200">
                      <a:solidFill>
                        <a:schemeClr val="tx1"/>
                      </a:solidFill>
                      <a:latin typeface="+mn-lt"/>
                      <a:ea typeface="+mn-ea"/>
                      <a:cs typeface="Arial"/>
                      <a:sym typeface="+mn-lt"/>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8D0-4742-9C9E-F0E887C7F83D}"/>
                </c:ext>
              </c:extLst>
            </c:dLbl>
            <c:dLbl>
              <c:idx val="2"/>
              <c:layout>
                <c:manualLayout>
                  <c:x val="0.48349514563106794"/>
                  <c:y val="0"/>
                </c:manualLayout>
              </c:layout>
              <c:numFmt formatCode="#,##0;&quot;-&quot;#,##0;0" sourceLinked="0"/>
              <c:spPr>
                <a:noFill/>
                <a:ln>
                  <a:noFill/>
                </a:ln>
              </c:spPr>
              <c:txPr>
                <a:bodyPr wrap="none"/>
                <a:lstStyle/>
                <a:p>
                  <a:pPr>
                    <a:defRPr sz="1200">
                      <a:solidFill>
                        <a:schemeClr val="tx1"/>
                      </a:solidFill>
                      <a:latin typeface="+mn-lt"/>
                      <a:ea typeface="+mn-ea"/>
                      <a:cs typeface="Arial"/>
                      <a:sym typeface="+mn-lt"/>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8D0-4742-9C9E-F0E887C7F83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24</c:v>
                </c:pt>
                <c:pt idx="1">
                  <c:v>33</c:v>
                </c:pt>
                <c:pt idx="2">
                  <c:v>53.4</c:v>
                </c:pt>
              </c:numCache>
            </c:numRef>
          </c:val>
          <c:extLst>
            <c:ext xmlns:c16="http://schemas.microsoft.com/office/drawing/2014/chart" uri="{C3380CC4-5D6E-409C-BE32-E72D297353CC}">
              <c16:uniqueId val="{00000003-E8D0-4742-9C9E-F0E887C7F83D}"/>
            </c:ext>
          </c:extLst>
        </c:ser>
        <c:dLbls>
          <c:showLegendKey val="0"/>
          <c:showVal val="0"/>
          <c:showCatName val="0"/>
          <c:showSerName val="0"/>
          <c:showPercent val="0"/>
          <c:showBubbleSize val="0"/>
        </c:dLbls>
        <c:gapWidth val="40"/>
        <c:overlap val="100"/>
        <c:axId val="41070128"/>
        <c:axId val="1"/>
      </c:barChart>
      <c:catAx>
        <c:axId val="41070128"/>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53.4"/>
          <c:min val="0"/>
        </c:scaling>
        <c:delete val="1"/>
        <c:axPos val="t"/>
        <c:numFmt formatCode="General" sourceLinked="1"/>
        <c:majorTickMark val="out"/>
        <c:minorTickMark val="none"/>
        <c:tickLblPos val="nextTo"/>
        <c:crossAx val="41070128"/>
        <c:crosses val="min"/>
        <c:crossBetween val="between"/>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6111111111111115E-2"/>
          <c:y val="4.9951969260326606E-2"/>
          <c:w val="0.92777777777777781"/>
          <c:h val="0.90009606147934673"/>
        </c:manualLayout>
      </c:layout>
      <c:barChart>
        <c:barDir val="bar"/>
        <c:grouping val="stacked"/>
        <c:varyColors val="0"/>
        <c:ser>
          <c:idx val="0"/>
          <c:order val="0"/>
          <c:spPr>
            <a:solidFill>
              <a:schemeClr val="accent3"/>
            </a:solidFill>
            <a:ln w="9525" algn="ctr">
              <a:solidFill>
                <a:schemeClr val="bg1"/>
              </a:solidFill>
              <a:prstDash val="solid"/>
            </a:ln>
          </c:spPr>
          <c:invertIfNegative val="0"/>
          <c:val>
            <c:numRef>
              <c:f>Sheet1!$A$1:$C$1</c:f>
              <c:numCache>
                <c:formatCode>General</c:formatCode>
                <c:ptCount val="3"/>
                <c:pt idx="0">
                  <c:v>6.5066752246469832</c:v>
                </c:pt>
                <c:pt idx="1">
                  <c:v>11.906675224646989</c:v>
                </c:pt>
                <c:pt idx="2">
                  <c:v>15.606675224646992</c:v>
                </c:pt>
              </c:numCache>
            </c:numRef>
          </c:val>
          <c:extLst>
            <c:ext xmlns:c16="http://schemas.microsoft.com/office/drawing/2014/chart" uri="{C3380CC4-5D6E-409C-BE32-E72D297353CC}">
              <c16:uniqueId val="{00000000-D720-48AD-B520-7452F687CE85}"/>
            </c:ext>
          </c:extLst>
        </c:ser>
        <c:dLbls>
          <c:showLegendKey val="0"/>
          <c:showVal val="0"/>
          <c:showCatName val="0"/>
          <c:showSerName val="0"/>
          <c:showPercent val="0"/>
          <c:showBubbleSize val="0"/>
        </c:dLbls>
        <c:gapWidth val="40"/>
        <c:overlap val="100"/>
        <c:axId val="41074528"/>
        <c:axId val="1"/>
      </c:barChart>
      <c:catAx>
        <c:axId val="41074528"/>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5.606675224646992"/>
          <c:min val="0"/>
        </c:scaling>
        <c:delete val="1"/>
        <c:axPos val="t"/>
        <c:numFmt formatCode="General" sourceLinked="1"/>
        <c:majorTickMark val="out"/>
        <c:minorTickMark val="none"/>
        <c:tickLblPos val="nextTo"/>
        <c:crossAx val="41074528"/>
        <c:crosses val="min"/>
        <c:crossBetween val="between"/>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2946065" cy="496835"/>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3850092" y="0"/>
            <a:ext cx="2946065" cy="496835"/>
          </a:xfrm>
          <a:prstGeom prst="rect">
            <a:avLst/>
          </a:prstGeom>
        </p:spPr>
        <p:txBody>
          <a:bodyPr vert="horz" lIns="91440" tIns="45720" rIns="91440" bIns="45720" rtlCol="0"/>
          <a:lstStyle>
            <a:lvl1pPr algn="r">
              <a:defRPr sz="1200"/>
            </a:lvl1pPr>
          </a:lstStyle>
          <a:p>
            <a:fld id="{A6BD5B6C-20AF-4F0F-889A-7AADC7535123}" type="datetime3">
              <a:rPr lang="en-US" smtClean="0"/>
              <a:t>19 January 2021</a:t>
            </a:fld>
            <a:endParaRPr lang="en-US"/>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9429803"/>
            <a:ext cx="2946065" cy="49683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3850092" y="9429803"/>
            <a:ext cx="2946065" cy="496835"/>
          </a:xfrm>
          <a:prstGeom prst="rect">
            <a:avLst/>
          </a:prstGeom>
        </p:spPr>
        <p:txBody>
          <a:bodyPr vert="horz" lIns="91440" tIns="45720" rIns="91440" bIns="45720" rtlCol="0" anchor="b"/>
          <a:lstStyle>
            <a:lvl1pPr algn="r">
              <a:defRPr sz="1200"/>
            </a:lvl1pPr>
          </a:lstStyle>
          <a:p>
            <a:fld id="{D2610F73-99D1-48E7-A408-B5EB5C8393F8}" type="slidenum">
              <a:rPr lang="en-US" smtClean="0"/>
              <a:t>‹nr.›</a:t>
            </a:fld>
            <a:endParaRPr lang="en-US"/>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0" tIns="47114" rIns="94229" bIns="47114" rtlCol="0"/>
          <a:lstStyle>
            <a:lvl1pPr algn="l">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3850443" y="0"/>
            <a:ext cx="2945659" cy="498056"/>
          </a:xfrm>
          <a:prstGeom prst="rect">
            <a:avLst/>
          </a:prstGeom>
        </p:spPr>
        <p:txBody>
          <a:bodyPr vert="horz" lIns="94229" tIns="47114" rIns="914400" bIns="47114" rtlCol="0"/>
          <a:lstStyle>
            <a:lvl1pPr algn="r">
              <a:defRPr sz="900">
                <a:latin typeface="+mn-lt"/>
                <a:cs typeface="Arial" panose="020B0604020202020204" pitchFamily="34" charset="0"/>
              </a:defRPr>
            </a:lvl1pPr>
          </a:lstStyle>
          <a:p>
            <a:fld id="{1DF34805-1F01-4BDA-A8CA-FCEA2B4BC8D0}" type="datetime3">
              <a:rPr lang="en-US" smtClean="0"/>
              <a:pPr/>
              <a:t>19 January 2021</a:t>
            </a:fld>
            <a:endParaRPr lang="en-US"/>
          </a:p>
        </p:txBody>
      </p:sp>
      <p:sp>
        <p:nvSpPr>
          <p:cNvPr id="4" name="Slide Image Placeholder 3"/>
          <p:cNvSpPr>
            <a:spLocks noGrp="1" noRot="1" noChangeAspect="1"/>
          </p:cNvSpPr>
          <p:nvPr>
            <p:ph type="sldImg" idx="2"/>
          </p:nvPr>
        </p:nvSpPr>
        <p:spPr>
          <a:xfrm>
            <a:off x="420688" y="595313"/>
            <a:ext cx="5956300" cy="3351212"/>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9428584"/>
            <a:ext cx="2945659" cy="498055"/>
          </a:xfrm>
          <a:prstGeom prst="rect">
            <a:avLst/>
          </a:prstGeom>
        </p:spPr>
        <p:txBody>
          <a:bodyPr vert="horz" lIns="914400" tIns="47114" rIns="94229" bIns="47114" rtlCol="0" anchor="b"/>
          <a:lstStyle>
            <a:lvl1pPr algn="l">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3850443" y="9428584"/>
            <a:ext cx="2945659" cy="498055"/>
          </a:xfrm>
          <a:prstGeom prst="rect">
            <a:avLst/>
          </a:prstGeom>
        </p:spPr>
        <p:txBody>
          <a:bodyPr vert="horz" lIns="94229" tIns="47114" rIns="914400" bIns="47114" rtlCol="0" anchor="b"/>
          <a:lstStyle>
            <a:lvl1pPr algn="r">
              <a:defRPr sz="900">
                <a:latin typeface="+mn-lt"/>
                <a:cs typeface="Arial" panose="020B0604020202020204" pitchFamily="34" charset="0"/>
              </a:defRPr>
            </a:lvl1pPr>
          </a:lstStyle>
          <a:p>
            <a:fld id="{CF5EBCF4-26FC-4F76-8DA1-52FDDC328D44}" type="slidenum">
              <a:rPr lang="en-US" smtClean="0"/>
              <a:pPr/>
              <a:t>‹nr.›</a:t>
            </a:fld>
            <a:endParaRPr lang="en-US"/>
          </a:p>
        </p:txBody>
      </p:sp>
      <p:sp>
        <p:nvSpPr>
          <p:cNvPr id="5" name="Notes Placeholder 4">
            <a:extLst>
              <a:ext uri="{FF2B5EF4-FFF2-40B4-BE49-F238E27FC236}">
                <a16:creationId xmlns:a16="http://schemas.microsoft.com/office/drawing/2014/main" id="{22FEA09E-B533-4D4E-953A-87FE390760BA}"/>
              </a:ext>
            </a:extLst>
          </p:cNvPr>
          <p:cNvSpPr>
            <a:spLocks noGrp="1"/>
          </p:cNvSpPr>
          <p:nvPr>
            <p:ph type="body" sz="quarter" idx="3"/>
          </p:nvPr>
        </p:nvSpPr>
        <p:spPr>
          <a:xfrm>
            <a:off x="703469" y="4777006"/>
            <a:ext cx="5390736" cy="1000274"/>
          </a:xfrm>
          <a:prstGeom prst="rect">
            <a:avLst/>
          </a:prstGeom>
        </p:spPr>
        <p:txBody>
          <a:bodyPr vert="horz"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300"/>
      </a:spcBef>
      <a:spcAft>
        <a:spcPts val="300"/>
      </a:spcAft>
      <a:defRPr lang="en-US" sz="1100" kern="1200">
        <a:solidFill>
          <a:schemeClr val="tx1"/>
        </a:solidFill>
        <a:latin typeface="+mn-lt"/>
        <a:ea typeface="+mn-ea"/>
        <a:cs typeface="Arial" panose="020B0604020202020204" pitchFamily="34" charset="0"/>
      </a:defRPr>
    </a:lvl1pPr>
    <a:lvl2pPr marL="144000" indent="-144000" algn="l" defTabSz="914400" rtl="0" eaLnBrk="1" latinLnBrk="0" hangingPunct="1">
      <a:spcAft>
        <a:spcPts val="300"/>
      </a:spcAft>
      <a:buSzPct val="110000"/>
      <a:buFont typeface="Wingdings" panose="05000000000000000000" pitchFamily="2" charset="2"/>
      <a:buChar char=""/>
      <a:defRPr lang="en-US" sz="1100" kern="1200">
        <a:solidFill>
          <a:schemeClr val="tx1"/>
        </a:solidFill>
        <a:latin typeface="+mn-lt"/>
        <a:ea typeface="+mn-ea"/>
        <a:cs typeface="+mn-cs"/>
      </a:defRPr>
    </a:lvl2pPr>
    <a:lvl3pPr marL="288000" indent="-144000" algn="l" defTabSz="914400" rtl="0" eaLnBrk="1" latinLnBrk="0" hangingPunct="1">
      <a:spcAft>
        <a:spcPts val="300"/>
      </a:spcAft>
      <a:buSzPct val="110000"/>
      <a:buFont typeface="Arial" panose="020B0604020202020204" pitchFamily="34" charset="0"/>
      <a:buChar char="‒"/>
      <a:defRPr lang="en-US" sz="1100" kern="1200">
        <a:solidFill>
          <a:schemeClr val="tx1"/>
        </a:solidFill>
        <a:latin typeface="+mn-lt"/>
        <a:ea typeface="+mn-ea"/>
        <a:cs typeface="+mn-cs"/>
      </a:defRPr>
    </a:lvl3pPr>
    <a:lvl4pPr marL="432000" indent="-144000" algn="l" defTabSz="914400" rtl="0" eaLnBrk="1" latinLnBrk="0" hangingPunct="1">
      <a:spcAft>
        <a:spcPts val="300"/>
      </a:spcAft>
      <a:buSzPct val="100000"/>
      <a:buFont typeface="Arial" panose="020B0604020202020204" pitchFamily="34" charset="0"/>
      <a:buChar char="•"/>
      <a:defRPr lang="en-US" sz="1100" kern="1200">
        <a:solidFill>
          <a:schemeClr val="tx1"/>
        </a:solidFill>
        <a:latin typeface="+mn-lt"/>
        <a:ea typeface="+mn-ea"/>
        <a:cs typeface="+mn-cs"/>
      </a:defRPr>
    </a:lvl4pPr>
    <a:lvl5pPr marL="576000" indent="-144000" algn="l" defTabSz="914400" rtl="0" eaLnBrk="1" latinLnBrk="0" hangingPunct="1">
      <a:spcAft>
        <a:spcPts val="300"/>
      </a:spcAft>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idx="1"/>
          </p:nvPr>
        </p:nvSpPr>
        <p:spPr/>
        <p:txBody>
          <a:bodyPr/>
          <a:lstStyle/>
          <a:p>
            <a:fld id="{1DF34805-1F01-4BDA-A8CA-FCEA2B4BC8D0}" type="datetime3">
              <a:rPr lang="en-US" smtClean="0"/>
              <a:pPr/>
              <a:t>19 January 2021</a:t>
            </a:fld>
            <a:endParaRPr lang="en-US" dirty="0"/>
          </a:p>
        </p:txBody>
      </p:sp>
      <p:sp>
        <p:nvSpPr>
          <p:cNvPr id="5" name="Slide Number Placeholder 4"/>
          <p:cNvSpPr>
            <a:spLocks noGrp="1"/>
          </p:cNvSpPr>
          <p:nvPr>
            <p:ph type="sldNum" sz="quarter" idx="5"/>
          </p:nvPr>
        </p:nvSpPr>
        <p:spPr/>
        <p:txBody>
          <a:bodyPr/>
          <a:lstStyle/>
          <a:p>
            <a:fld id="{CF5EBCF4-26FC-4F76-8DA1-52FDDC328D44}" type="slidenum">
              <a:rPr lang="en-US" smtClean="0"/>
              <a:pPr/>
              <a:t>3</a:t>
            </a:fld>
            <a:endParaRPr lang="en-US" dirty="0"/>
          </a:p>
        </p:txBody>
      </p:sp>
      <p:sp>
        <p:nvSpPr>
          <p:cNvPr id="51" name="Slide Image Placeholder 50">
            <a:extLst>
              <a:ext uri="{FF2B5EF4-FFF2-40B4-BE49-F238E27FC236}">
                <a16:creationId xmlns:a16="http://schemas.microsoft.com/office/drawing/2014/main" id="{DCE3710F-2356-44F5-A47E-3DFCE8CD483E}"/>
              </a:ext>
            </a:extLst>
          </p:cNvPr>
          <p:cNvSpPr>
            <a:spLocks noGrp="1" noRot="1" noChangeAspect="1"/>
          </p:cNvSpPr>
          <p:nvPr>
            <p:ph type="sldImg"/>
          </p:nvPr>
        </p:nvSpPr>
        <p:spPr>
          <a:xfrm>
            <a:off x="420688" y="595313"/>
            <a:ext cx="5956300" cy="3351212"/>
          </a:xfrm>
        </p:spPr>
      </p:sp>
    </p:spTree>
    <p:extLst>
      <p:ext uri="{BB962C8B-B14F-4D97-AF65-F5344CB8AC3E}">
        <p14:creationId xmlns:p14="http://schemas.microsoft.com/office/powerpoint/2010/main" val="39107832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0325" y="725488"/>
            <a:ext cx="6443663" cy="3625850"/>
          </a:xfrm>
        </p:spPr>
      </p:sp>
      <p:sp>
        <p:nvSpPr>
          <p:cNvPr id="3" name="Tijdelijke aanduiding voor notities 2"/>
          <p:cNvSpPr>
            <a:spLocks noGrp="1"/>
          </p:cNvSpPr>
          <p:nvPr>
            <p:ph type="body" idx="1"/>
          </p:nvPr>
        </p:nvSpPr>
        <p:spPr>
          <a:xfrm>
            <a:off x="703469" y="4777006"/>
            <a:ext cx="5390736" cy="169277"/>
          </a:xfrm>
        </p:spPr>
        <p:txBody>
          <a:bodyPr/>
          <a:lstStyle/>
          <a:p>
            <a:endParaRPr lang="nl-NL" dirty="0"/>
          </a:p>
        </p:txBody>
      </p:sp>
      <p:sp>
        <p:nvSpPr>
          <p:cNvPr id="4" name="Tijdelijke aanduiding voor dianummer 3"/>
          <p:cNvSpPr>
            <a:spLocks noGrp="1"/>
          </p:cNvSpPr>
          <p:nvPr>
            <p:ph type="sldNum" sz="quarter" idx="5"/>
          </p:nvPr>
        </p:nvSpPr>
        <p:spPr/>
        <p:txBody>
          <a:bodyPr/>
          <a:lstStyle/>
          <a:p>
            <a:fld id="{626D4B33-384A-6F41-AFDB-F49804ECFF51}" type="slidenum">
              <a:rPr lang="nl-NL" smtClean="0"/>
              <a:t>4</a:t>
            </a:fld>
            <a:endParaRPr lang="nl-NL" dirty="0"/>
          </a:p>
        </p:txBody>
      </p:sp>
    </p:spTree>
    <p:extLst>
      <p:ext uri="{BB962C8B-B14F-4D97-AF65-F5344CB8AC3E}">
        <p14:creationId xmlns:p14="http://schemas.microsoft.com/office/powerpoint/2010/main" val="22185724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0325" y="725488"/>
            <a:ext cx="6443663" cy="3625850"/>
          </a:xfrm>
        </p:spPr>
      </p:sp>
      <p:sp>
        <p:nvSpPr>
          <p:cNvPr id="3" name="Tijdelijke aanduiding voor notities 2"/>
          <p:cNvSpPr>
            <a:spLocks noGrp="1"/>
          </p:cNvSpPr>
          <p:nvPr>
            <p:ph type="body" idx="1"/>
          </p:nvPr>
        </p:nvSpPr>
        <p:spPr>
          <a:xfrm>
            <a:off x="703469" y="4777006"/>
            <a:ext cx="5390736" cy="169277"/>
          </a:xfrm>
        </p:spPr>
        <p:txBody>
          <a:bodyPr/>
          <a:lstStyle/>
          <a:p>
            <a:endParaRPr lang="nl-NL" dirty="0"/>
          </a:p>
        </p:txBody>
      </p:sp>
      <p:sp>
        <p:nvSpPr>
          <p:cNvPr id="4" name="Tijdelijke aanduiding voor dianummer 3"/>
          <p:cNvSpPr>
            <a:spLocks noGrp="1"/>
          </p:cNvSpPr>
          <p:nvPr>
            <p:ph type="sldNum" sz="quarter" idx="5"/>
          </p:nvPr>
        </p:nvSpPr>
        <p:spPr/>
        <p:txBody>
          <a:bodyPr/>
          <a:lstStyle/>
          <a:p>
            <a:fld id="{626D4B33-384A-6F41-AFDB-F49804ECFF51}" type="slidenum">
              <a:rPr lang="nl-NL" smtClean="0"/>
              <a:t>5</a:t>
            </a:fld>
            <a:endParaRPr lang="nl-NL" dirty="0"/>
          </a:p>
        </p:txBody>
      </p:sp>
    </p:spTree>
    <p:extLst>
      <p:ext uri="{BB962C8B-B14F-4D97-AF65-F5344CB8AC3E}">
        <p14:creationId xmlns:p14="http://schemas.microsoft.com/office/powerpoint/2010/main" val="4866666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0325" y="725488"/>
            <a:ext cx="6443663" cy="3625850"/>
          </a:xfrm>
        </p:spPr>
      </p:sp>
      <p:sp>
        <p:nvSpPr>
          <p:cNvPr id="3" name="Tijdelijke aanduiding voor notities 2"/>
          <p:cNvSpPr>
            <a:spLocks noGrp="1"/>
          </p:cNvSpPr>
          <p:nvPr>
            <p:ph type="body" idx="1"/>
          </p:nvPr>
        </p:nvSpPr>
        <p:spPr>
          <a:xfrm>
            <a:off x="703469" y="4777006"/>
            <a:ext cx="5390736" cy="169277"/>
          </a:xfrm>
        </p:spPr>
        <p:txBody>
          <a:bodyPr/>
          <a:lstStyle/>
          <a:p>
            <a:endParaRPr lang="nl-NL" dirty="0"/>
          </a:p>
        </p:txBody>
      </p:sp>
      <p:sp>
        <p:nvSpPr>
          <p:cNvPr id="4" name="Tijdelijke aanduiding voor dianummer 3"/>
          <p:cNvSpPr>
            <a:spLocks noGrp="1"/>
          </p:cNvSpPr>
          <p:nvPr>
            <p:ph type="sldNum" sz="quarter" idx="5"/>
          </p:nvPr>
        </p:nvSpPr>
        <p:spPr/>
        <p:txBody>
          <a:bodyPr/>
          <a:lstStyle/>
          <a:p>
            <a:fld id="{626D4B33-384A-6F41-AFDB-F49804ECFF51}" type="slidenum">
              <a:rPr lang="nl-NL" smtClean="0"/>
              <a:t>6</a:t>
            </a:fld>
            <a:endParaRPr lang="nl-NL" dirty="0"/>
          </a:p>
        </p:txBody>
      </p:sp>
    </p:spTree>
    <p:extLst>
      <p:ext uri="{BB962C8B-B14F-4D97-AF65-F5344CB8AC3E}">
        <p14:creationId xmlns:p14="http://schemas.microsoft.com/office/powerpoint/2010/main" val="39613899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0325" y="725488"/>
            <a:ext cx="6443663" cy="3625850"/>
          </a:xfrm>
        </p:spPr>
      </p:sp>
      <p:sp>
        <p:nvSpPr>
          <p:cNvPr id="3" name="Tijdelijke aanduiding voor notities 2"/>
          <p:cNvSpPr>
            <a:spLocks noGrp="1"/>
          </p:cNvSpPr>
          <p:nvPr>
            <p:ph type="body" idx="1"/>
          </p:nvPr>
        </p:nvSpPr>
        <p:spPr>
          <a:xfrm>
            <a:off x="703469" y="4777006"/>
            <a:ext cx="5390736" cy="169277"/>
          </a:xfrm>
        </p:spPr>
        <p:txBody>
          <a:bodyPr/>
          <a:lstStyle/>
          <a:p>
            <a:endParaRPr lang="nl-NL"/>
          </a:p>
        </p:txBody>
      </p:sp>
      <p:sp>
        <p:nvSpPr>
          <p:cNvPr id="4" name="Tijdelijke aanduiding voor dianummer 3"/>
          <p:cNvSpPr>
            <a:spLocks noGrp="1"/>
          </p:cNvSpPr>
          <p:nvPr>
            <p:ph type="sldNum" sz="quarter" idx="5"/>
          </p:nvPr>
        </p:nvSpPr>
        <p:spPr/>
        <p:txBody>
          <a:bodyPr/>
          <a:lstStyle/>
          <a:p>
            <a:fld id="{626D4B33-384A-6F41-AFDB-F49804ECFF51}" type="slidenum">
              <a:rPr lang="nl-NL" smtClean="0"/>
              <a:t>16</a:t>
            </a:fld>
            <a:endParaRPr lang="nl-NL"/>
          </a:p>
        </p:txBody>
      </p:sp>
    </p:spTree>
    <p:extLst>
      <p:ext uri="{BB962C8B-B14F-4D97-AF65-F5344CB8AC3E}">
        <p14:creationId xmlns:p14="http://schemas.microsoft.com/office/powerpoint/2010/main" val="10726120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0325" y="725488"/>
            <a:ext cx="6443663" cy="3625850"/>
          </a:xfrm>
        </p:spPr>
      </p:sp>
      <p:sp>
        <p:nvSpPr>
          <p:cNvPr id="3" name="Tijdelijke aanduiding voor notities 2"/>
          <p:cNvSpPr>
            <a:spLocks noGrp="1"/>
          </p:cNvSpPr>
          <p:nvPr>
            <p:ph type="body" idx="1"/>
          </p:nvPr>
        </p:nvSpPr>
        <p:spPr>
          <a:xfrm>
            <a:off x="703469" y="4777006"/>
            <a:ext cx="5390736" cy="169277"/>
          </a:xfrm>
        </p:spPr>
        <p:txBody>
          <a:bodyPr/>
          <a:lstStyle/>
          <a:p>
            <a:endParaRPr lang="nl-NL"/>
          </a:p>
        </p:txBody>
      </p:sp>
      <p:sp>
        <p:nvSpPr>
          <p:cNvPr id="4" name="Tijdelijke aanduiding voor dianummer 3"/>
          <p:cNvSpPr>
            <a:spLocks noGrp="1"/>
          </p:cNvSpPr>
          <p:nvPr>
            <p:ph type="sldNum" sz="quarter" idx="5"/>
          </p:nvPr>
        </p:nvSpPr>
        <p:spPr/>
        <p:txBody>
          <a:bodyPr/>
          <a:lstStyle/>
          <a:p>
            <a:fld id="{626D4B33-384A-6F41-AFDB-F49804ECFF51}" type="slidenum">
              <a:rPr lang="nl-NL" smtClean="0"/>
              <a:t>20</a:t>
            </a:fld>
            <a:endParaRPr lang="nl-NL"/>
          </a:p>
        </p:txBody>
      </p:sp>
    </p:spTree>
    <p:extLst>
      <p:ext uri="{BB962C8B-B14F-4D97-AF65-F5344CB8AC3E}">
        <p14:creationId xmlns:p14="http://schemas.microsoft.com/office/powerpoint/2010/main" val="16193557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0325" y="725488"/>
            <a:ext cx="6443663" cy="3625850"/>
          </a:xfrm>
        </p:spPr>
      </p:sp>
      <p:sp>
        <p:nvSpPr>
          <p:cNvPr id="3" name="Tijdelijke aanduiding voor notities 2"/>
          <p:cNvSpPr>
            <a:spLocks noGrp="1"/>
          </p:cNvSpPr>
          <p:nvPr>
            <p:ph type="body" idx="1"/>
          </p:nvPr>
        </p:nvSpPr>
        <p:spPr>
          <a:xfrm>
            <a:off x="703469" y="4777006"/>
            <a:ext cx="5390736" cy="169277"/>
          </a:xfrm>
        </p:spPr>
        <p:txBody>
          <a:bodyPr/>
          <a:lstStyle/>
          <a:p>
            <a:endParaRPr lang="nl-NL"/>
          </a:p>
        </p:txBody>
      </p:sp>
      <p:sp>
        <p:nvSpPr>
          <p:cNvPr id="4" name="Tijdelijke aanduiding voor dianummer 3"/>
          <p:cNvSpPr>
            <a:spLocks noGrp="1"/>
          </p:cNvSpPr>
          <p:nvPr>
            <p:ph type="sldNum" sz="quarter" idx="5"/>
          </p:nvPr>
        </p:nvSpPr>
        <p:spPr/>
        <p:txBody>
          <a:bodyPr/>
          <a:lstStyle/>
          <a:p>
            <a:fld id="{626D4B33-384A-6F41-AFDB-F49804ECFF51}" type="slidenum">
              <a:rPr lang="nl-NL" smtClean="0"/>
              <a:t>26</a:t>
            </a:fld>
            <a:endParaRPr lang="nl-NL"/>
          </a:p>
        </p:txBody>
      </p:sp>
    </p:spTree>
    <p:extLst>
      <p:ext uri="{BB962C8B-B14F-4D97-AF65-F5344CB8AC3E}">
        <p14:creationId xmlns:p14="http://schemas.microsoft.com/office/powerpoint/2010/main" val="11189732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microsoft.com/office/2007/relationships/hdphoto" Target="../media/hdphoto1.wdp"/><Relationship Id="rId3" Type="http://schemas.openxmlformats.org/officeDocument/2006/relationships/tags" Target="../tags/tag35.xml"/><Relationship Id="rId7" Type="http://schemas.openxmlformats.org/officeDocument/2006/relationships/tags" Target="../tags/tag39.xml"/><Relationship Id="rId12" Type="http://schemas.openxmlformats.org/officeDocument/2006/relationships/image" Target="../media/image4.png"/><Relationship Id="rId2" Type="http://schemas.openxmlformats.org/officeDocument/2006/relationships/tags" Target="../tags/tag34.xml"/><Relationship Id="rId1" Type="http://schemas.openxmlformats.org/officeDocument/2006/relationships/vmlDrawing" Target="../drawings/vmlDrawing2.vml"/><Relationship Id="rId6" Type="http://schemas.openxmlformats.org/officeDocument/2006/relationships/tags" Target="../tags/tag38.xml"/><Relationship Id="rId11" Type="http://schemas.openxmlformats.org/officeDocument/2006/relationships/image" Target="../media/image3.jpeg"/><Relationship Id="rId5" Type="http://schemas.openxmlformats.org/officeDocument/2006/relationships/tags" Target="../tags/tag37.xml"/><Relationship Id="rId10" Type="http://schemas.openxmlformats.org/officeDocument/2006/relationships/image" Target="../media/image2.emf"/><Relationship Id="rId4" Type="http://schemas.openxmlformats.org/officeDocument/2006/relationships/tags" Target="../tags/tag36.xml"/><Relationship Id="rId9"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98.xml"/><Relationship Id="rId13" Type="http://schemas.openxmlformats.org/officeDocument/2006/relationships/image" Target="../media/image1.emf"/><Relationship Id="rId3" Type="http://schemas.openxmlformats.org/officeDocument/2006/relationships/tags" Target="../tags/tag93.xml"/><Relationship Id="rId7" Type="http://schemas.openxmlformats.org/officeDocument/2006/relationships/tags" Target="../tags/tag97.xml"/><Relationship Id="rId12" Type="http://schemas.openxmlformats.org/officeDocument/2006/relationships/oleObject" Target="../embeddings/oleObject11.bin"/><Relationship Id="rId2" Type="http://schemas.openxmlformats.org/officeDocument/2006/relationships/tags" Target="../tags/tag92.xml"/><Relationship Id="rId1" Type="http://schemas.openxmlformats.org/officeDocument/2006/relationships/vmlDrawing" Target="../drawings/vmlDrawing11.vml"/><Relationship Id="rId6" Type="http://schemas.openxmlformats.org/officeDocument/2006/relationships/tags" Target="../tags/tag96.xml"/><Relationship Id="rId11" Type="http://schemas.openxmlformats.org/officeDocument/2006/relationships/slideMaster" Target="../slideMasters/slideMaster1.xml"/><Relationship Id="rId5" Type="http://schemas.openxmlformats.org/officeDocument/2006/relationships/tags" Target="../tags/tag95.xml"/><Relationship Id="rId10" Type="http://schemas.openxmlformats.org/officeDocument/2006/relationships/tags" Target="../tags/tag100.xml"/><Relationship Id="rId4" Type="http://schemas.openxmlformats.org/officeDocument/2006/relationships/tags" Target="../tags/tag94.xml"/><Relationship Id="rId9" Type="http://schemas.openxmlformats.org/officeDocument/2006/relationships/tags" Target="../tags/tag99.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07.xml"/><Relationship Id="rId13" Type="http://schemas.openxmlformats.org/officeDocument/2006/relationships/image" Target="../media/image1.emf"/><Relationship Id="rId3" Type="http://schemas.openxmlformats.org/officeDocument/2006/relationships/tags" Target="../tags/tag102.xml"/><Relationship Id="rId7" Type="http://schemas.openxmlformats.org/officeDocument/2006/relationships/tags" Target="../tags/tag106.xml"/><Relationship Id="rId12" Type="http://schemas.openxmlformats.org/officeDocument/2006/relationships/oleObject" Target="../embeddings/oleObject12.bin"/><Relationship Id="rId2" Type="http://schemas.openxmlformats.org/officeDocument/2006/relationships/tags" Target="../tags/tag101.xml"/><Relationship Id="rId1" Type="http://schemas.openxmlformats.org/officeDocument/2006/relationships/vmlDrawing" Target="../drawings/vmlDrawing12.vml"/><Relationship Id="rId6" Type="http://schemas.openxmlformats.org/officeDocument/2006/relationships/tags" Target="../tags/tag105.xml"/><Relationship Id="rId11" Type="http://schemas.openxmlformats.org/officeDocument/2006/relationships/slideMaster" Target="../slideMasters/slideMaster1.xml"/><Relationship Id="rId5" Type="http://schemas.openxmlformats.org/officeDocument/2006/relationships/tags" Target="../tags/tag104.xml"/><Relationship Id="rId10" Type="http://schemas.openxmlformats.org/officeDocument/2006/relationships/tags" Target="../tags/tag109.xml"/><Relationship Id="rId4" Type="http://schemas.openxmlformats.org/officeDocument/2006/relationships/tags" Target="../tags/tag103.xml"/><Relationship Id="rId9" Type="http://schemas.openxmlformats.org/officeDocument/2006/relationships/tags" Target="../tags/tag108.xm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116.xml"/><Relationship Id="rId13" Type="http://schemas.openxmlformats.org/officeDocument/2006/relationships/image" Target="../media/image7.emf"/><Relationship Id="rId3" Type="http://schemas.openxmlformats.org/officeDocument/2006/relationships/tags" Target="../tags/tag111.xml"/><Relationship Id="rId7" Type="http://schemas.openxmlformats.org/officeDocument/2006/relationships/tags" Target="../tags/tag115.xml"/><Relationship Id="rId12" Type="http://schemas.openxmlformats.org/officeDocument/2006/relationships/oleObject" Target="../embeddings/oleObject13.bin"/><Relationship Id="rId2" Type="http://schemas.openxmlformats.org/officeDocument/2006/relationships/tags" Target="../tags/tag110.xml"/><Relationship Id="rId1" Type="http://schemas.openxmlformats.org/officeDocument/2006/relationships/vmlDrawing" Target="../drawings/vmlDrawing13.vml"/><Relationship Id="rId6" Type="http://schemas.openxmlformats.org/officeDocument/2006/relationships/tags" Target="../tags/tag114.xml"/><Relationship Id="rId11" Type="http://schemas.openxmlformats.org/officeDocument/2006/relationships/slideMaster" Target="../slideMasters/slideMaster1.xml"/><Relationship Id="rId5" Type="http://schemas.openxmlformats.org/officeDocument/2006/relationships/tags" Target="../tags/tag113.xml"/><Relationship Id="rId10" Type="http://schemas.openxmlformats.org/officeDocument/2006/relationships/tags" Target="../tags/tag118.xml"/><Relationship Id="rId4" Type="http://schemas.openxmlformats.org/officeDocument/2006/relationships/tags" Target="../tags/tag112.xml"/><Relationship Id="rId9" Type="http://schemas.openxmlformats.org/officeDocument/2006/relationships/tags" Target="../tags/tag117.xml"/></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125.xml"/><Relationship Id="rId13" Type="http://schemas.openxmlformats.org/officeDocument/2006/relationships/image" Target="../media/image1.emf"/><Relationship Id="rId3" Type="http://schemas.openxmlformats.org/officeDocument/2006/relationships/tags" Target="../tags/tag120.xml"/><Relationship Id="rId7" Type="http://schemas.openxmlformats.org/officeDocument/2006/relationships/tags" Target="../tags/tag124.xml"/><Relationship Id="rId12" Type="http://schemas.openxmlformats.org/officeDocument/2006/relationships/oleObject" Target="../embeddings/oleObject14.bin"/><Relationship Id="rId2" Type="http://schemas.openxmlformats.org/officeDocument/2006/relationships/tags" Target="../tags/tag119.xml"/><Relationship Id="rId1" Type="http://schemas.openxmlformats.org/officeDocument/2006/relationships/vmlDrawing" Target="../drawings/vmlDrawing14.vml"/><Relationship Id="rId6" Type="http://schemas.openxmlformats.org/officeDocument/2006/relationships/tags" Target="../tags/tag123.xml"/><Relationship Id="rId11" Type="http://schemas.openxmlformats.org/officeDocument/2006/relationships/slideMaster" Target="../slideMasters/slideMaster1.xml"/><Relationship Id="rId5" Type="http://schemas.openxmlformats.org/officeDocument/2006/relationships/tags" Target="../tags/tag122.xml"/><Relationship Id="rId10" Type="http://schemas.openxmlformats.org/officeDocument/2006/relationships/tags" Target="../tags/tag127.xml"/><Relationship Id="rId4" Type="http://schemas.openxmlformats.org/officeDocument/2006/relationships/tags" Target="../tags/tag121.xml"/><Relationship Id="rId9" Type="http://schemas.openxmlformats.org/officeDocument/2006/relationships/tags" Target="../tags/tag126.xml"/></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134.xml"/><Relationship Id="rId3" Type="http://schemas.openxmlformats.org/officeDocument/2006/relationships/tags" Target="../tags/tag129.xml"/><Relationship Id="rId7" Type="http://schemas.openxmlformats.org/officeDocument/2006/relationships/tags" Target="../tags/tag133.xml"/><Relationship Id="rId2" Type="http://schemas.openxmlformats.org/officeDocument/2006/relationships/tags" Target="../tags/tag128.xml"/><Relationship Id="rId1" Type="http://schemas.openxmlformats.org/officeDocument/2006/relationships/vmlDrawing" Target="../drawings/vmlDrawing15.vml"/><Relationship Id="rId6" Type="http://schemas.openxmlformats.org/officeDocument/2006/relationships/tags" Target="../tags/tag132.xml"/><Relationship Id="rId11" Type="http://schemas.openxmlformats.org/officeDocument/2006/relationships/image" Target="../media/image2.emf"/><Relationship Id="rId5" Type="http://schemas.openxmlformats.org/officeDocument/2006/relationships/tags" Target="../tags/tag131.xml"/><Relationship Id="rId10" Type="http://schemas.openxmlformats.org/officeDocument/2006/relationships/oleObject" Target="../embeddings/oleObject15.bin"/><Relationship Id="rId4" Type="http://schemas.openxmlformats.org/officeDocument/2006/relationships/tags" Target="../tags/tag130.xml"/><Relationship Id="rId9"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36.xml"/><Relationship Id="rId7" Type="http://schemas.openxmlformats.org/officeDocument/2006/relationships/oleObject" Target="../embeddings/oleObject16.bin"/><Relationship Id="rId2" Type="http://schemas.openxmlformats.org/officeDocument/2006/relationships/tags" Target="../tags/tag135.xml"/><Relationship Id="rId1" Type="http://schemas.openxmlformats.org/officeDocument/2006/relationships/vmlDrawing" Target="../drawings/vmlDrawing16.vml"/><Relationship Id="rId6" Type="http://schemas.openxmlformats.org/officeDocument/2006/relationships/slideMaster" Target="../slideMasters/slideMaster1.xml"/><Relationship Id="rId5" Type="http://schemas.openxmlformats.org/officeDocument/2006/relationships/tags" Target="../tags/tag138.xml"/><Relationship Id="rId4" Type="http://schemas.openxmlformats.org/officeDocument/2006/relationships/tags" Target="../tags/tag137.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140.xml"/><Relationship Id="rId2" Type="http://schemas.openxmlformats.org/officeDocument/2006/relationships/tags" Target="../tags/tag139.xml"/><Relationship Id="rId1" Type="http://schemas.openxmlformats.org/officeDocument/2006/relationships/vmlDrawing" Target="../drawings/vmlDrawing17.vml"/><Relationship Id="rId6" Type="http://schemas.openxmlformats.org/officeDocument/2006/relationships/image" Target="../media/image2.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8" Type="http://schemas.openxmlformats.org/officeDocument/2006/relationships/tags" Target="../tags/tag147.xml"/><Relationship Id="rId3" Type="http://schemas.openxmlformats.org/officeDocument/2006/relationships/tags" Target="../tags/tag142.xml"/><Relationship Id="rId7" Type="http://schemas.openxmlformats.org/officeDocument/2006/relationships/tags" Target="../tags/tag146.xml"/><Relationship Id="rId2" Type="http://schemas.openxmlformats.org/officeDocument/2006/relationships/tags" Target="../tags/tag141.xml"/><Relationship Id="rId1" Type="http://schemas.openxmlformats.org/officeDocument/2006/relationships/vmlDrawing" Target="../drawings/vmlDrawing18.vml"/><Relationship Id="rId6" Type="http://schemas.openxmlformats.org/officeDocument/2006/relationships/tags" Target="../tags/tag145.xml"/><Relationship Id="rId11" Type="http://schemas.openxmlformats.org/officeDocument/2006/relationships/image" Target="../media/image1.emf"/><Relationship Id="rId5" Type="http://schemas.openxmlformats.org/officeDocument/2006/relationships/tags" Target="../tags/tag144.xml"/><Relationship Id="rId10" Type="http://schemas.openxmlformats.org/officeDocument/2006/relationships/oleObject" Target="../embeddings/oleObject18.bin"/><Relationship Id="rId4" Type="http://schemas.openxmlformats.org/officeDocument/2006/relationships/tags" Target="../tags/tag143.xml"/><Relationship Id="rId9"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49.xml"/><Relationship Id="rId7" Type="http://schemas.openxmlformats.org/officeDocument/2006/relationships/tags" Target="../tags/tag153.xml"/><Relationship Id="rId2" Type="http://schemas.openxmlformats.org/officeDocument/2006/relationships/tags" Target="../tags/tag148.xml"/><Relationship Id="rId1" Type="http://schemas.openxmlformats.org/officeDocument/2006/relationships/vmlDrawing" Target="../drawings/vmlDrawing19.vml"/><Relationship Id="rId6" Type="http://schemas.openxmlformats.org/officeDocument/2006/relationships/tags" Target="../tags/tag152.xml"/><Relationship Id="rId5" Type="http://schemas.openxmlformats.org/officeDocument/2006/relationships/tags" Target="../tags/tag151.xml"/><Relationship Id="rId10" Type="http://schemas.openxmlformats.org/officeDocument/2006/relationships/image" Target="../media/image8.emf"/><Relationship Id="rId4" Type="http://schemas.openxmlformats.org/officeDocument/2006/relationships/tags" Target="../tags/tag150.xml"/><Relationship Id="rId9"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41.xml"/><Relationship Id="rId7" Type="http://schemas.openxmlformats.org/officeDocument/2006/relationships/slideMaster" Target="../slideMasters/slideMaster1.xml"/><Relationship Id="rId12" Type="http://schemas.microsoft.com/office/2007/relationships/hdphoto" Target="../media/hdphoto1.wdp"/><Relationship Id="rId2" Type="http://schemas.openxmlformats.org/officeDocument/2006/relationships/tags" Target="../tags/tag40.xml"/><Relationship Id="rId1" Type="http://schemas.openxmlformats.org/officeDocument/2006/relationships/vmlDrawing" Target="../drawings/vmlDrawing3.vml"/><Relationship Id="rId6" Type="http://schemas.openxmlformats.org/officeDocument/2006/relationships/tags" Target="../tags/tag44.xml"/><Relationship Id="rId11" Type="http://schemas.openxmlformats.org/officeDocument/2006/relationships/image" Target="../media/image4.png"/><Relationship Id="rId5" Type="http://schemas.openxmlformats.org/officeDocument/2006/relationships/tags" Target="../tags/tag43.xml"/><Relationship Id="rId10" Type="http://schemas.openxmlformats.org/officeDocument/2006/relationships/image" Target="../media/image5.jpeg"/><Relationship Id="rId4" Type="http://schemas.openxmlformats.org/officeDocument/2006/relationships/tags" Target="../tags/tag42.xml"/><Relationship Id="rId9"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8" Type="http://schemas.openxmlformats.org/officeDocument/2006/relationships/oleObject" Target="../embeddings/oleObject21.bin"/><Relationship Id="rId3" Type="http://schemas.openxmlformats.org/officeDocument/2006/relationships/tags" Target="../tags/tag177.xml"/><Relationship Id="rId7" Type="http://schemas.openxmlformats.org/officeDocument/2006/relationships/slideMaster" Target="../slideMasters/slideMaster2.xml"/><Relationship Id="rId2" Type="http://schemas.openxmlformats.org/officeDocument/2006/relationships/tags" Target="../tags/tag176.xml"/><Relationship Id="rId1" Type="http://schemas.openxmlformats.org/officeDocument/2006/relationships/vmlDrawing" Target="../drawings/vmlDrawing21.vml"/><Relationship Id="rId6" Type="http://schemas.openxmlformats.org/officeDocument/2006/relationships/tags" Target="../tags/tag180.xml"/><Relationship Id="rId5" Type="http://schemas.openxmlformats.org/officeDocument/2006/relationships/tags" Target="../tags/tag179.xml"/><Relationship Id="rId10" Type="http://schemas.openxmlformats.org/officeDocument/2006/relationships/image" Target="../media/image10.jpeg"/><Relationship Id="rId4" Type="http://schemas.openxmlformats.org/officeDocument/2006/relationships/tags" Target="../tags/tag178.xml"/><Relationship Id="rId9"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187.xml"/><Relationship Id="rId3" Type="http://schemas.openxmlformats.org/officeDocument/2006/relationships/tags" Target="../tags/tag182.xml"/><Relationship Id="rId7" Type="http://schemas.openxmlformats.org/officeDocument/2006/relationships/tags" Target="../tags/tag186.xml"/><Relationship Id="rId2" Type="http://schemas.openxmlformats.org/officeDocument/2006/relationships/tags" Target="../tags/tag181.xml"/><Relationship Id="rId1" Type="http://schemas.openxmlformats.org/officeDocument/2006/relationships/vmlDrawing" Target="../drawings/vmlDrawing22.vml"/><Relationship Id="rId6" Type="http://schemas.openxmlformats.org/officeDocument/2006/relationships/tags" Target="../tags/tag185.xml"/><Relationship Id="rId11" Type="http://schemas.openxmlformats.org/officeDocument/2006/relationships/image" Target="../media/image1.emf"/><Relationship Id="rId5" Type="http://schemas.openxmlformats.org/officeDocument/2006/relationships/tags" Target="../tags/tag184.xml"/><Relationship Id="rId10" Type="http://schemas.openxmlformats.org/officeDocument/2006/relationships/oleObject" Target="../embeddings/oleObject22.bin"/><Relationship Id="rId4" Type="http://schemas.openxmlformats.org/officeDocument/2006/relationships/tags" Target="../tags/tag183.xml"/><Relationship Id="rId9"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89.xml"/><Relationship Id="rId7" Type="http://schemas.openxmlformats.org/officeDocument/2006/relationships/tags" Target="../tags/tag193.xml"/><Relationship Id="rId2" Type="http://schemas.openxmlformats.org/officeDocument/2006/relationships/tags" Target="../tags/tag188.xml"/><Relationship Id="rId1" Type="http://schemas.openxmlformats.org/officeDocument/2006/relationships/vmlDrawing" Target="../drawings/vmlDrawing23.vml"/><Relationship Id="rId6" Type="http://schemas.openxmlformats.org/officeDocument/2006/relationships/tags" Target="../tags/tag192.xml"/><Relationship Id="rId5" Type="http://schemas.openxmlformats.org/officeDocument/2006/relationships/tags" Target="../tags/tag191.xml"/><Relationship Id="rId10" Type="http://schemas.openxmlformats.org/officeDocument/2006/relationships/image" Target="../media/image2.emf"/><Relationship Id="rId4" Type="http://schemas.openxmlformats.org/officeDocument/2006/relationships/tags" Target="../tags/tag190.xml"/><Relationship Id="rId9" Type="http://schemas.openxmlformats.org/officeDocument/2006/relationships/oleObject" Target="../embeddings/oleObject23.bin"/></Relationships>
</file>

<file path=ppt/slideLayouts/_rels/slideLayout24.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95.xml"/><Relationship Id="rId7" Type="http://schemas.openxmlformats.org/officeDocument/2006/relationships/tags" Target="../tags/tag199.xml"/><Relationship Id="rId2" Type="http://schemas.openxmlformats.org/officeDocument/2006/relationships/tags" Target="../tags/tag194.xml"/><Relationship Id="rId1" Type="http://schemas.openxmlformats.org/officeDocument/2006/relationships/vmlDrawing" Target="../drawings/vmlDrawing24.vml"/><Relationship Id="rId6" Type="http://schemas.openxmlformats.org/officeDocument/2006/relationships/tags" Target="../tags/tag198.xml"/><Relationship Id="rId5" Type="http://schemas.openxmlformats.org/officeDocument/2006/relationships/tags" Target="../tags/tag197.xml"/><Relationship Id="rId10" Type="http://schemas.openxmlformats.org/officeDocument/2006/relationships/image" Target="../media/image2.emf"/><Relationship Id="rId4" Type="http://schemas.openxmlformats.org/officeDocument/2006/relationships/tags" Target="../tags/tag196.xml"/><Relationship Id="rId9" Type="http://schemas.openxmlformats.org/officeDocument/2006/relationships/oleObject" Target="../embeddings/oleObject24.bin"/></Relationships>
</file>

<file path=ppt/slideLayouts/_rels/slideLayout25.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201.xml"/><Relationship Id="rId7" Type="http://schemas.openxmlformats.org/officeDocument/2006/relationships/tags" Target="../tags/tag205.xml"/><Relationship Id="rId2" Type="http://schemas.openxmlformats.org/officeDocument/2006/relationships/tags" Target="../tags/tag200.xml"/><Relationship Id="rId1" Type="http://schemas.openxmlformats.org/officeDocument/2006/relationships/vmlDrawing" Target="../drawings/vmlDrawing25.vml"/><Relationship Id="rId6" Type="http://schemas.openxmlformats.org/officeDocument/2006/relationships/tags" Target="../tags/tag204.xml"/><Relationship Id="rId5" Type="http://schemas.openxmlformats.org/officeDocument/2006/relationships/tags" Target="../tags/tag203.xml"/><Relationship Id="rId10" Type="http://schemas.openxmlformats.org/officeDocument/2006/relationships/image" Target="../media/image2.emf"/><Relationship Id="rId4" Type="http://schemas.openxmlformats.org/officeDocument/2006/relationships/tags" Target="../tags/tag202.xml"/><Relationship Id="rId9" Type="http://schemas.openxmlformats.org/officeDocument/2006/relationships/oleObject" Target="../embeddings/oleObject25.bin"/></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212.xml"/><Relationship Id="rId3" Type="http://schemas.openxmlformats.org/officeDocument/2006/relationships/tags" Target="../tags/tag207.xml"/><Relationship Id="rId7" Type="http://schemas.openxmlformats.org/officeDocument/2006/relationships/tags" Target="../tags/tag211.xml"/><Relationship Id="rId2" Type="http://schemas.openxmlformats.org/officeDocument/2006/relationships/tags" Target="../tags/tag206.xml"/><Relationship Id="rId1" Type="http://schemas.openxmlformats.org/officeDocument/2006/relationships/vmlDrawing" Target="../drawings/vmlDrawing26.vml"/><Relationship Id="rId6" Type="http://schemas.openxmlformats.org/officeDocument/2006/relationships/tags" Target="../tags/tag210.xml"/><Relationship Id="rId11" Type="http://schemas.openxmlformats.org/officeDocument/2006/relationships/image" Target="../media/image2.emf"/><Relationship Id="rId5" Type="http://schemas.openxmlformats.org/officeDocument/2006/relationships/tags" Target="../tags/tag209.xml"/><Relationship Id="rId10" Type="http://schemas.openxmlformats.org/officeDocument/2006/relationships/oleObject" Target="../embeddings/oleObject26.bin"/><Relationship Id="rId4" Type="http://schemas.openxmlformats.org/officeDocument/2006/relationships/tags" Target="../tags/tag208.xml"/><Relationship Id="rId9"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219.xml"/><Relationship Id="rId13" Type="http://schemas.openxmlformats.org/officeDocument/2006/relationships/image" Target="../media/image1.emf"/><Relationship Id="rId3" Type="http://schemas.openxmlformats.org/officeDocument/2006/relationships/tags" Target="../tags/tag214.xml"/><Relationship Id="rId7" Type="http://schemas.openxmlformats.org/officeDocument/2006/relationships/tags" Target="../tags/tag218.xml"/><Relationship Id="rId12" Type="http://schemas.openxmlformats.org/officeDocument/2006/relationships/oleObject" Target="../embeddings/oleObject27.bin"/><Relationship Id="rId2" Type="http://schemas.openxmlformats.org/officeDocument/2006/relationships/tags" Target="../tags/tag213.xml"/><Relationship Id="rId1" Type="http://schemas.openxmlformats.org/officeDocument/2006/relationships/vmlDrawing" Target="../drawings/vmlDrawing27.vml"/><Relationship Id="rId6" Type="http://schemas.openxmlformats.org/officeDocument/2006/relationships/tags" Target="../tags/tag217.xml"/><Relationship Id="rId11" Type="http://schemas.openxmlformats.org/officeDocument/2006/relationships/slideMaster" Target="../slideMasters/slideMaster2.xml"/><Relationship Id="rId5" Type="http://schemas.openxmlformats.org/officeDocument/2006/relationships/tags" Target="../tags/tag216.xml"/><Relationship Id="rId10" Type="http://schemas.openxmlformats.org/officeDocument/2006/relationships/tags" Target="../tags/tag221.xml"/><Relationship Id="rId4" Type="http://schemas.openxmlformats.org/officeDocument/2006/relationships/tags" Target="../tags/tag215.xml"/><Relationship Id="rId9" Type="http://schemas.openxmlformats.org/officeDocument/2006/relationships/tags" Target="../tags/tag220.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228.xml"/><Relationship Id="rId13" Type="http://schemas.openxmlformats.org/officeDocument/2006/relationships/image" Target="../media/image1.emf"/><Relationship Id="rId3" Type="http://schemas.openxmlformats.org/officeDocument/2006/relationships/tags" Target="../tags/tag223.xml"/><Relationship Id="rId7" Type="http://schemas.openxmlformats.org/officeDocument/2006/relationships/tags" Target="../tags/tag227.xml"/><Relationship Id="rId12" Type="http://schemas.openxmlformats.org/officeDocument/2006/relationships/oleObject" Target="../embeddings/oleObject28.bin"/><Relationship Id="rId2" Type="http://schemas.openxmlformats.org/officeDocument/2006/relationships/tags" Target="../tags/tag222.xml"/><Relationship Id="rId1" Type="http://schemas.openxmlformats.org/officeDocument/2006/relationships/vmlDrawing" Target="../drawings/vmlDrawing28.vml"/><Relationship Id="rId6" Type="http://schemas.openxmlformats.org/officeDocument/2006/relationships/tags" Target="../tags/tag226.xml"/><Relationship Id="rId11" Type="http://schemas.openxmlformats.org/officeDocument/2006/relationships/slideMaster" Target="../slideMasters/slideMaster2.xml"/><Relationship Id="rId5" Type="http://schemas.openxmlformats.org/officeDocument/2006/relationships/tags" Target="../tags/tag225.xml"/><Relationship Id="rId10" Type="http://schemas.openxmlformats.org/officeDocument/2006/relationships/tags" Target="../tags/tag230.xml"/><Relationship Id="rId4" Type="http://schemas.openxmlformats.org/officeDocument/2006/relationships/tags" Target="../tags/tag224.xml"/><Relationship Id="rId9" Type="http://schemas.openxmlformats.org/officeDocument/2006/relationships/tags" Target="../tags/tag229.xml"/></Relationships>
</file>

<file path=ppt/slideLayouts/_rels/slideLayout29.xml.rels><?xml version="1.0" encoding="UTF-8" standalone="yes"?>
<Relationships xmlns="http://schemas.openxmlformats.org/package/2006/relationships"><Relationship Id="rId8" Type="http://schemas.openxmlformats.org/officeDocument/2006/relationships/tags" Target="../tags/tag237.xml"/><Relationship Id="rId13" Type="http://schemas.openxmlformats.org/officeDocument/2006/relationships/image" Target="../media/image2.emf"/><Relationship Id="rId3" Type="http://schemas.openxmlformats.org/officeDocument/2006/relationships/tags" Target="../tags/tag232.xml"/><Relationship Id="rId7" Type="http://schemas.openxmlformats.org/officeDocument/2006/relationships/tags" Target="../tags/tag236.xml"/><Relationship Id="rId12" Type="http://schemas.openxmlformats.org/officeDocument/2006/relationships/oleObject" Target="../embeddings/oleObject29.bin"/><Relationship Id="rId2" Type="http://schemas.openxmlformats.org/officeDocument/2006/relationships/tags" Target="../tags/tag231.xml"/><Relationship Id="rId1" Type="http://schemas.openxmlformats.org/officeDocument/2006/relationships/vmlDrawing" Target="../drawings/vmlDrawing29.vml"/><Relationship Id="rId6" Type="http://schemas.openxmlformats.org/officeDocument/2006/relationships/tags" Target="../tags/tag235.xml"/><Relationship Id="rId11" Type="http://schemas.openxmlformats.org/officeDocument/2006/relationships/slideMaster" Target="../slideMasters/slideMaster2.xml"/><Relationship Id="rId5" Type="http://schemas.openxmlformats.org/officeDocument/2006/relationships/tags" Target="../tags/tag234.xml"/><Relationship Id="rId10" Type="http://schemas.openxmlformats.org/officeDocument/2006/relationships/tags" Target="../tags/tag239.xml"/><Relationship Id="rId4" Type="http://schemas.openxmlformats.org/officeDocument/2006/relationships/tags" Target="../tags/tag233.xml"/><Relationship Id="rId9" Type="http://schemas.openxmlformats.org/officeDocument/2006/relationships/tags" Target="../tags/tag238.xml"/></Relationships>
</file>

<file path=ppt/slideLayouts/_rels/slideLayout3.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microsoft.com/office/2007/relationships/hdphoto" Target="../media/hdphoto1.wdp"/><Relationship Id="rId3" Type="http://schemas.openxmlformats.org/officeDocument/2006/relationships/tags" Target="../tags/tag46.xml"/><Relationship Id="rId7" Type="http://schemas.openxmlformats.org/officeDocument/2006/relationships/tags" Target="../tags/tag50.xml"/><Relationship Id="rId12" Type="http://schemas.openxmlformats.org/officeDocument/2006/relationships/image" Target="../media/image4.png"/><Relationship Id="rId2" Type="http://schemas.openxmlformats.org/officeDocument/2006/relationships/tags" Target="../tags/tag45.xml"/><Relationship Id="rId1" Type="http://schemas.openxmlformats.org/officeDocument/2006/relationships/vmlDrawing" Target="../drawings/vmlDrawing4.vml"/><Relationship Id="rId6" Type="http://schemas.openxmlformats.org/officeDocument/2006/relationships/tags" Target="../tags/tag49.xml"/><Relationship Id="rId11" Type="http://schemas.openxmlformats.org/officeDocument/2006/relationships/image" Target="../media/image6.jpeg"/><Relationship Id="rId5" Type="http://schemas.openxmlformats.org/officeDocument/2006/relationships/tags" Target="../tags/tag48.xml"/><Relationship Id="rId10" Type="http://schemas.openxmlformats.org/officeDocument/2006/relationships/image" Target="../media/image2.emf"/><Relationship Id="rId4" Type="http://schemas.openxmlformats.org/officeDocument/2006/relationships/tags" Target="../tags/tag47.xml"/><Relationship Id="rId9"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8" Type="http://schemas.openxmlformats.org/officeDocument/2006/relationships/tags" Target="../tags/tag246.xml"/><Relationship Id="rId13" Type="http://schemas.openxmlformats.org/officeDocument/2006/relationships/image" Target="../media/image1.emf"/><Relationship Id="rId3" Type="http://schemas.openxmlformats.org/officeDocument/2006/relationships/tags" Target="../tags/tag241.xml"/><Relationship Id="rId7" Type="http://schemas.openxmlformats.org/officeDocument/2006/relationships/tags" Target="../tags/tag245.xml"/><Relationship Id="rId12" Type="http://schemas.openxmlformats.org/officeDocument/2006/relationships/oleObject" Target="../embeddings/oleObject30.bin"/><Relationship Id="rId2" Type="http://schemas.openxmlformats.org/officeDocument/2006/relationships/tags" Target="../tags/tag240.xml"/><Relationship Id="rId1" Type="http://schemas.openxmlformats.org/officeDocument/2006/relationships/vmlDrawing" Target="../drawings/vmlDrawing30.vml"/><Relationship Id="rId6" Type="http://schemas.openxmlformats.org/officeDocument/2006/relationships/tags" Target="../tags/tag244.xml"/><Relationship Id="rId11" Type="http://schemas.openxmlformats.org/officeDocument/2006/relationships/slideMaster" Target="../slideMasters/slideMaster2.xml"/><Relationship Id="rId5" Type="http://schemas.openxmlformats.org/officeDocument/2006/relationships/tags" Target="../tags/tag243.xml"/><Relationship Id="rId10" Type="http://schemas.openxmlformats.org/officeDocument/2006/relationships/tags" Target="../tags/tag248.xml"/><Relationship Id="rId4" Type="http://schemas.openxmlformats.org/officeDocument/2006/relationships/tags" Target="../tags/tag242.xml"/><Relationship Id="rId9" Type="http://schemas.openxmlformats.org/officeDocument/2006/relationships/tags" Target="../tags/tag247.xml"/></Relationships>
</file>

<file path=ppt/slideLayouts/_rels/slideLayout31.xml.rels><?xml version="1.0" encoding="UTF-8" standalone="yes"?>
<Relationships xmlns="http://schemas.openxmlformats.org/package/2006/relationships"><Relationship Id="rId8" Type="http://schemas.openxmlformats.org/officeDocument/2006/relationships/tags" Target="../tags/tag255.xml"/><Relationship Id="rId13" Type="http://schemas.openxmlformats.org/officeDocument/2006/relationships/image" Target="../media/image2.emf"/><Relationship Id="rId3" Type="http://schemas.openxmlformats.org/officeDocument/2006/relationships/tags" Target="../tags/tag250.xml"/><Relationship Id="rId7" Type="http://schemas.openxmlformats.org/officeDocument/2006/relationships/tags" Target="../tags/tag254.xml"/><Relationship Id="rId12" Type="http://schemas.openxmlformats.org/officeDocument/2006/relationships/oleObject" Target="../embeddings/oleObject31.bin"/><Relationship Id="rId2" Type="http://schemas.openxmlformats.org/officeDocument/2006/relationships/tags" Target="../tags/tag249.xml"/><Relationship Id="rId1" Type="http://schemas.openxmlformats.org/officeDocument/2006/relationships/vmlDrawing" Target="../drawings/vmlDrawing31.vml"/><Relationship Id="rId6" Type="http://schemas.openxmlformats.org/officeDocument/2006/relationships/tags" Target="../tags/tag253.xml"/><Relationship Id="rId11" Type="http://schemas.openxmlformats.org/officeDocument/2006/relationships/slideMaster" Target="../slideMasters/slideMaster2.xml"/><Relationship Id="rId5" Type="http://schemas.openxmlformats.org/officeDocument/2006/relationships/tags" Target="../tags/tag252.xml"/><Relationship Id="rId10" Type="http://schemas.openxmlformats.org/officeDocument/2006/relationships/tags" Target="../tags/tag257.xml"/><Relationship Id="rId4" Type="http://schemas.openxmlformats.org/officeDocument/2006/relationships/tags" Target="../tags/tag251.xml"/><Relationship Id="rId9" Type="http://schemas.openxmlformats.org/officeDocument/2006/relationships/tags" Target="../tags/tag256.xml"/></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264.xml"/><Relationship Id="rId3" Type="http://schemas.openxmlformats.org/officeDocument/2006/relationships/tags" Target="../tags/tag259.xml"/><Relationship Id="rId7" Type="http://schemas.openxmlformats.org/officeDocument/2006/relationships/tags" Target="../tags/tag263.xml"/><Relationship Id="rId2" Type="http://schemas.openxmlformats.org/officeDocument/2006/relationships/tags" Target="../tags/tag258.xml"/><Relationship Id="rId1" Type="http://schemas.openxmlformats.org/officeDocument/2006/relationships/vmlDrawing" Target="../drawings/vmlDrawing32.vml"/><Relationship Id="rId6" Type="http://schemas.openxmlformats.org/officeDocument/2006/relationships/tags" Target="../tags/tag262.xml"/><Relationship Id="rId11" Type="http://schemas.openxmlformats.org/officeDocument/2006/relationships/image" Target="../media/image2.emf"/><Relationship Id="rId5" Type="http://schemas.openxmlformats.org/officeDocument/2006/relationships/tags" Target="../tags/tag261.xml"/><Relationship Id="rId10" Type="http://schemas.openxmlformats.org/officeDocument/2006/relationships/oleObject" Target="../embeddings/oleObject32.bin"/><Relationship Id="rId4" Type="http://schemas.openxmlformats.org/officeDocument/2006/relationships/tags" Target="../tags/tag260.xml"/><Relationship Id="rId9"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266.xml"/><Relationship Id="rId7" Type="http://schemas.openxmlformats.org/officeDocument/2006/relationships/oleObject" Target="../embeddings/oleObject33.bin"/><Relationship Id="rId2" Type="http://schemas.openxmlformats.org/officeDocument/2006/relationships/tags" Target="../tags/tag265.xml"/><Relationship Id="rId1" Type="http://schemas.openxmlformats.org/officeDocument/2006/relationships/vmlDrawing" Target="../drawings/vmlDrawing33.vml"/><Relationship Id="rId6" Type="http://schemas.openxmlformats.org/officeDocument/2006/relationships/slideMaster" Target="../slideMasters/slideMaster2.xml"/><Relationship Id="rId5" Type="http://schemas.openxmlformats.org/officeDocument/2006/relationships/tags" Target="../tags/tag268.xml"/><Relationship Id="rId4" Type="http://schemas.openxmlformats.org/officeDocument/2006/relationships/tags" Target="../tags/tag267.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270.xml"/><Relationship Id="rId2" Type="http://schemas.openxmlformats.org/officeDocument/2006/relationships/tags" Target="../tags/tag269.xml"/><Relationship Id="rId1" Type="http://schemas.openxmlformats.org/officeDocument/2006/relationships/vmlDrawing" Target="../drawings/vmlDrawing34.vml"/><Relationship Id="rId6" Type="http://schemas.openxmlformats.org/officeDocument/2006/relationships/image" Target="../media/image2.emf"/><Relationship Id="rId5" Type="http://schemas.openxmlformats.org/officeDocument/2006/relationships/oleObject" Target="../embeddings/oleObject34.bin"/><Relationship Id="rId4"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57.xml"/><Relationship Id="rId3" Type="http://schemas.openxmlformats.org/officeDocument/2006/relationships/tags" Target="../tags/tag52.xml"/><Relationship Id="rId7" Type="http://schemas.openxmlformats.org/officeDocument/2006/relationships/tags" Target="../tags/tag56.xml"/><Relationship Id="rId2" Type="http://schemas.openxmlformats.org/officeDocument/2006/relationships/tags" Target="../tags/tag51.xml"/><Relationship Id="rId1" Type="http://schemas.openxmlformats.org/officeDocument/2006/relationships/vmlDrawing" Target="../drawings/vmlDrawing5.vml"/><Relationship Id="rId6" Type="http://schemas.openxmlformats.org/officeDocument/2006/relationships/tags" Target="../tags/tag55.xml"/><Relationship Id="rId11" Type="http://schemas.openxmlformats.org/officeDocument/2006/relationships/image" Target="../media/image1.emf"/><Relationship Id="rId5" Type="http://schemas.openxmlformats.org/officeDocument/2006/relationships/tags" Target="../tags/tag54.xml"/><Relationship Id="rId10" Type="http://schemas.openxmlformats.org/officeDocument/2006/relationships/oleObject" Target="../embeddings/oleObject5.bin"/><Relationship Id="rId4" Type="http://schemas.openxmlformats.org/officeDocument/2006/relationships/tags" Target="../tags/tag53.xml"/><Relationship Id="rId9"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59.xml"/><Relationship Id="rId7" Type="http://schemas.openxmlformats.org/officeDocument/2006/relationships/tags" Target="../tags/tag63.xml"/><Relationship Id="rId2" Type="http://schemas.openxmlformats.org/officeDocument/2006/relationships/tags" Target="../tags/tag58.xml"/><Relationship Id="rId1" Type="http://schemas.openxmlformats.org/officeDocument/2006/relationships/vmlDrawing" Target="../drawings/vmlDrawing6.vml"/><Relationship Id="rId6" Type="http://schemas.openxmlformats.org/officeDocument/2006/relationships/tags" Target="../tags/tag62.xml"/><Relationship Id="rId5" Type="http://schemas.openxmlformats.org/officeDocument/2006/relationships/tags" Target="../tags/tag61.xml"/><Relationship Id="rId10" Type="http://schemas.openxmlformats.org/officeDocument/2006/relationships/image" Target="../media/image2.emf"/><Relationship Id="rId4" Type="http://schemas.openxmlformats.org/officeDocument/2006/relationships/tags" Target="../tags/tag60.xml"/><Relationship Id="rId9"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65.xml"/><Relationship Id="rId7" Type="http://schemas.openxmlformats.org/officeDocument/2006/relationships/tags" Target="../tags/tag69.xml"/><Relationship Id="rId2" Type="http://schemas.openxmlformats.org/officeDocument/2006/relationships/tags" Target="../tags/tag64.xml"/><Relationship Id="rId1" Type="http://schemas.openxmlformats.org/officeDocument/2006/relationships/vmlDrawing" Target="../drawings/vmlDrawing7.vml"/><Relationship Id="rId6" Type="http://schemas.openxmlformats.org/officeDocument/2006/relationships/tags" Target="../tags/tag68.xml"/><Relationship Id="rId5" Type="http://schemas.openxmlformats.org/officeDocument/2006/relationships/tags" Target="../tags/tag67.xml"/><Relationship Id="rId10" Type="http://schemas.openxmlformats.org/officeDocument/2006/relationships/image" Target="../media/image2.emf"/><Relationship Id="rId4" Type="http://schemas.openxmlformats.org/officeDocument/2006/relationships/tags" Target="../tags/tag66.xml"/><Relationship Id="rId9"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71.xml"/><Relationship Id="rId7" Type="http://schemas.openxmlformats.org/officeDocument/2006/relationships/tags" Target="../tags/tag75.xml"/><Relationship Id="rId2" Type="http://schemas.openxmlformats.org/officeDocument/2006/relationships/tags" Target="../tags/tag70.xml"/><Relationship Id="rId1" Type="http://schemas.openxmlformats.org/officeDocument/2006/relationships/vmlDrawing" Target="../drawings/vmlDrawing8.vml"/><Relationship Id="rId6" Type="http://schemas.openxmlformats.org/officeDocument/2006/relationships/tags" Target="../tags/tag74.xml"/><Relationship Id="rId5" Type="http://schemas.openxmlformats.org/officeDocument/2006/relationships/tags" Target="../tags/tag73.xml"/><Relationship Id="rId10" Type="http://schemas.openxmlformats.org/officeDocument/2006/relationships/image" Target="../media/image2.emf"/><Relationship Id="rId4" Type="http://schemas.openxmlformats.org/officeDocument/2006/relationships/tags" Target="../tags/tag72.xml"/><Relationship Id="rId9"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82.xml"/><Relationship Id="rId3" Type="http://schemas.openxmlformats.org/officeDocument/2006/relationships/tags" Target="../tags/tag77.xml"/><Relationship Id="rId7" Type="http://schemas.openxmlformats.org/officeDocument/2006/relationships/tags" Target="../tags/tag81.xml"/><Relationship Id="rId2" Type="http://schemas.openxmlformats.org/officeDocument/2006/relationships/tags" Target="../tags/tag76.xml"/><Relationship Id="rId1" Type="http://schemas.openxmlformats.org/officeDocument/2006/relationships/vmlDrawing" Target="../drawings/vmlDrawing9.vml"/><Relationship Id="rId6" Type="http://schemas.openxmlformats.org/officeDocument/2006/relationships/tags" Target="../tags/tag80.xml"/><Relationship Id="rId11" Type="http://schemas.openxmlformats.org/officeDocument/2006/relationships/image" Target="../media/image2.emf"/><Relationship Id="rId5" Type="http://schemas.openxmlformats.org/officeDocument/2006/relationships/tags" Target="../tags/tag79.xml"/><Relationship Id="rId10" Type="http://schemas.openxmlformats.org/officeDocument/2006/relationships/oleObject" Target="../embeddings/oleObject9.bin"/><Relationship Id="rId4" Type="http://schemas.openxmlformats.org/officeDocument/2006/relationships/tags" Target="../tags/tag78.xml"/><Relationship Id="rId9"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89.xml"/><Relationship Id="rId13" Type="http://schemas.openxmlformats.org/officeDocument/2006/relationships/image" Target="../media/image1.emf"/><Relationship Id="rId3" Type="http://schemas.openxmlformats.org/officeDocument/2006/relationships/tags" Target="../tags/tag84.xml"/><Relationship Id="rId7" Type="http://schemas.openxmlformats.org/officeDocument/2006/relationships/tags" Target="../tags/tag88.xml"/><Relationship Id="rId12" Type="http://schemas.openxmlformats.org/officeDocument/2006/relationships/oleObject" Target="../embeddings/oleObject10.bin"/><Relationship Id="rId2" Type="http://schemas.openxmlformats.org/officeDocument/2006/relationships/tags" Target="../tags/tag83.xml"/><Relationship Id="rId1" Type="http://schemas.openxmlformats.org/officeDocument/2006/relationships/vmlDrawing" Target="../drawings/vmlDrawing10.vml"/><Relationship Id="rId6" Type="http://schemas.openxmlformats.org/officeDocument/2006/relationships/tags" Target="../tags/tag87.xml"/><Relationship Id="rId11" Type="http://schemas.openxmlformats.org/officeDocument/2006/relationships/slideMaster" Target="../slideMasters/slideMaster1.xml"/><Relationship Id="rId5" Type="http://schemas.openxmlformats.org/officeDocument/2006/relationships/tags" Target="../tags/tag86.xml"/><Relationship Id="rId10" Type="http://schemas.openxmlformats.org/officeDocument/2006/relationships/tags" Target="../tags/tag91.xml"/><Relationship Id="rId4" Type="http://schemas.openxmlformats.org/officeDocument/2006/relationships/tags" Target="../tags/tag85.xml"/><Relationship Id="rId9" Type="http://schemas.openxmlformats.org/officeDocument/2006/relationships/tags" Target="../tags/tag90.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3839832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5" name="think-cell Slide" r:id="rId9" imgW="592" imgH="591" progId="TCLayout.ActiveDocument.1">
                  <p:embed/>
                </p:oleObj>
              </mc:Choice>
              <mc:Fallback>
                <p:oleObj name="think-cell Slide" r:id="rId9" imgW="592" imgH="591"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Calibri" panose="020F0502020204030204" pitchFamily="34" charset="0"/>
              <a:ea typeface="+mj-ea"/>
              <a:cs typeface="+mj-cs"/>
              <a:sym typeface="Calibri" panose="020F0502020204030204" pitchFamily="34" charset="0"/>
            </a:endParaRPr>
          </a:p>
        </p:txBody>
      </p:sp>
      <p:pic>
        <p:nvPicPr>
          <p:cNvPr id="10" name="Picture 9">
            <a:extLst>
              <a:ext uri="{FF2B5EF4-FFF2-40B4-BE49-F238E27FC236}">
                <a16:creationId xmlns:a16="http://schemas.microsoft.com/office/drawing/2014/main" id="{99F49D92-C6EE-4490-B929-C3EC63E30AB9}"/>
              </a:ext>
            </a:extLst>
          </p:cNvPr>
          <p:cNvPicPr>
            <a:picLocks/>
          </p:cNvPicPr>
          <p:nvPr userDrawn="1"/>
        </p:nvPicPr>
        <p:blipFill rotWithShape="1">
          <a:blip r:embed="rId11" cstate="print">
            <a:extLst>
              <a:ext uri="{28A0092B-C50C-407E-A947-70E740481C1C}">
                <a14:useLocalDpi xmlns:a14="http://schemas.microsoft.com/office/drawing/2010/main"/>
              </a:ext>
            </a:extLst>
          </a:blip>
          <a:srcRect/>
          <a:stretch/>
        </p:blipFill>
        <p:spPr>
          <a:xfrm>
            <a:off x="5834235" y="3176"/>
            <a:ext cx="6357765" cy="6854824"/>
          </a:xfrm>
          <a:prstGeom prst="rect">
            <a:avLst/>
          </a:prstGeom>
        </p:spPr>
      </p:pic>
      <p:sp>
        <p:nvSpPr>
          <p:cNvPr id="21" name="Rectangle 20">
            <a:extLst>
              <a:ext uri="{FF2B5EF4-FFF2-40B4-BE49-F238E27FC236}">
                <a16:creationId xmlns:a16="http://schemas.microsoft.com/office/drawing/2014/main" id="{56EB6A63-8CB3-4039-B7B0-734C00A473B4}"/>
              </a:ext>
            </a:extLst>
          </p:cNvPr>
          <p:cNvSpPr/>
          <p:nvPr userDrawn="1">
            <p:custDataLst>
              <p:tags r:id="rId4"/>
            </p:custDataLst>
          </p:nvPr>
        </p:nvSpPr>
        <p:spPr>
          <a:xfrm>
            <a:off x="5834235" y="3177"/>
            <a:ext cx="1127915" cy="835024"/>
          </a:xfrm>
          <a:prstGeom prst="rect">
            <a:avLst/>
          </a:prstGeom>
          <a:gradFill flip="none" rotWithShape="1">
            <a:gsLst>
              <a:gs pos="0">
                <a:schemeClr val="bg1"/>
              </a:gs>
              <a:gs pos="100000">
                <a:schemeClr val="bg1">
                  <a:alpha val="0"/>
                </a:scheme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5"/>
            </p:custDataLst>
          </p:nvPr>
        </p:nvSpPr>
        <p:spPr>
          <a:xfrm>
            <a:off x="550291" y="5256647"/>
            <a:ext cx="520115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vl1pPr>
          </a:lstStyle>
          <a:p>
            <a:pPr lvl="0">
              <a:buNone/>
            </a:pPr>
            <a:r>
              <a:rPr lang="fr-FR" dirty="0"/>
              <a:t>Edit date or </a:t>
            </a:r>
            <a:r>
              <a:rPr lang="fr-FR" dirty="0" err="1"/>
              <a:t>title</a:t>
            </a:r>
            <a:r>
              <a:rPr lang="fr-FR" dirty="0"/>
              <a:t>/</a:t>
            </a:r>
            <a:r>
              <a:rPr lang="fr-FR" dirty="0" err="1"/>
              <a:t>role</a:t>
            </a:r>
            <a:endParaRPr lang="fr-FR" dirty="0"/>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6"/>
            </p:custDataLst>
          </p:nvPr>
        </p:nvSpPr>
        <p:spPr>
          <a:xfrm>
            <a:off x="550291" y="4839038"/>
            <a:ext cx="520115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lvl1pPr>
          </a:lstStyle>
          <a:p>
            <a:pPr lvl="0">
              <a:buNone/>
            </a:pPr>
            <a:r>
              <a:rPr lang="en-US"/>
              <a:t>Click to edit Master subtitle style</a:t>
            </a:r>
            <a:endParaRPr lang="fr-FR"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7"/>
            </p:custDataLst>
          </p:nvPr>
        </p:nvSpPr>
        <p:spPr>
          <a:xfrm>
            <a:off x="550291" y="3363775"/>
            <a:ext cx="520115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400" dirty="0"/>
            </a:lvl1pPr>
          </a:lstStyle>
          <a:p>
            <a:pPr lvl="0"/>
            <a:r>
              <a:rPr lang="en-US" dirty="0"/>
              <a:t>Click to edit Master title style</a:t>
            </a:r>
            <a:endParaRPr lang="fr-FR" dirty="0"/>
          </a:p>
        </p:txBody>
      </p:sp>
      <p:pic>
        <p:nvPicPr>
          <p:cNvPr id="13" name="Picture 406" descr="Stichting leerKRACHT">
            <a:extLst>
              <a:ext uri="{FF2B5EF4-FFF2-40B4-BE49-F238E27FC236}">
                <a16:creationId xmlns:a16="http://schemas.microsoft.com/office/drawing/2014/main" id="{E0AD3919-01C7-4F6C-AEB8-40859AD68989}"/>
              </a:ext>
            </a:extLst>
          </p:cNvPr>
          <p:cNvPicPr>
            <a:picLocks noChangeAspect="1" noChangeArrowheads="1"/>
          </p:cNvPicPr>
          <p:nvPr userDrawn="1"/>
        </p:nvPicPr>
        <p:blipFill>
          <a:blip r:embed="rId12">
            <a:clrChange>
              <a:clrFrom>
                <a:srgbClr val="FFFFFF"/>
              </a:clrFrom>
              <a:clrTo>
                <a:srgbClr val="FFFFFF">
                  <a:alpha val="0"/>
                </a:srgbClr>
              </a:clrTo>
            </a:clrChange>
            <a:extLst>
              <a:ext uri="{BEBA8EAE-BF5A-486C-A8C5-ECC9F3942E4B}">
                <a14:imgProps xmlns:a14="http://schemas.microsoft.com/office/drawing/2010/main">
                  <a14:imgLayer r:embed="rId13">
                    <a14:imgEffect>
                      <a14:saturation sat="200000"/>
                    </a14:imgEffect>
                  </a14:imgLayer>
                </a14:imgProps>
              </a:ext>
              <a:ext uri="{28A0092B-C50C-407E-A947-70E740481C1C}">
                <a14:useLocalDpi xmlns:a14="http://schemas.microsoft.com/office/drawing/2010/main" val="0"/>
              </a:ext>
            </a:extLst>
          </a:blip>
          <a:srcRect/>
          <a:stretch>
            <a:fillRect/>
          </a:stretch>
        </p:blipFill>
        <p:spPr bwMode="auto">
          <a:xfrm>
            <a:off x="5229225" y="0"/>
            <a:ext cx="2465560" cy="2465560"/>
          </a:xfrm>
          <a:prstGeom prst="rect">
            <a:avLst/>
          </a:prstGeom>
          <a:noFill/>
          <a:extLst>
            <a:ext uri="{909E8E84-426E-40DD-AFC4-6F175D3DCCD1}">
              <a14:hiddenFill xmlns:a14="http://schemas.microsoft.com/office/drawing/2010/main">
                <a:solidFill>
                  <a:srgbClr val="FFFFFF"/>
                </a:solidFill>
              </a14:hiddenFill>
            </a:ext>
          </a:extLst>
        </p:spPr>
      </p:pic>
      <p:cxnSp>
        <p:nvCxnSpPr>
          <p:cNvPr id="19" name="Straight Connector 18">
            <a:extLst>
              <a:ext uri="{FF2B5EF4-FFF2-40B4-BE49-F238E27FC236}">
                <a16:creationId xmlns:a16="http://schemas.microsoft.com/office/drawing/2014/main" id="{D4BF9918-34CB-4895-8D85-BC5DC7BD2D9E}"/>
              </a:ext>
            </a:extLst>
          </p:cNvPr>
          <p:cNvCxnSpPr>
            <a:cxnSpLocks/>
          </p:cNvCxnSpPr>
          <p:nvPr userDrawn="1"/>
        </p:nvCxnSpPr>
        <p:spPr>
          <a:xfrm>
            <a:off x="5834235" y="1384300"/>
            <a:ext cx="0" cy="5473700"/>
          </a:xfrm>
          <a:prstGeom prst="line">
            <a:avLst/>
          </a:prstGeom>
          <a:ln w="6350" cap="flat">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18618317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1" name="think-cell Slide" r:id="rId12" imgW="413" imgH="416" progId="TCLayout.ActiveDocument.1">
                  <p:embed/>
                </p:oleObj>
              </mc:Choice>
              <mc:Fallback>
                <p:oleObj name="think-cell Slide" r:id="rId12" imgW="413" imgH="416" progId="TCLayout.ActiveDocument.1">
                  <p:embed/>
                  <p:pic>
                    <p:nvPicPr>
                      <p:cNvPr id="0" name=""/>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err="1">
              <a:solidFill>
                <a:schemeClr val="bg1"/>
              </a:solidFill>
              <a:latin typeface="Calibri" panose="020F0502020204030204" pitchFamily="34" charset="0"/>
              <a:ea typeface="+mj-ea"/>
              <a:cs typeface="+mj-cs"/>
              <a:sym typeface="Calibri" panose="020F050202020403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chemeClr val="tx2">
              <a:lumMod val="95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fr-FR"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r.›</a:t>
            </a:fld>
            <a:endParaRPr lang="fr-FR"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6"/>
            </p:custDataLst>
          </p:nvPr>
        </p:nvSpPr>
        <p:spPr>
          <a:xfrm>
            <a:off x="554736" y="2744369"/>
            <a:ext cx="3465576" cy="769441"/>
          </a:xfrm>
          <a:prstGeom prst="rect">
            <a:avLst/>
          </a:prstGeom>
        </p:spPr>
        <p:txBody>
          <a:bodyPr wrap="square" anchor="b">
            <a:noAutofit/>
          </a:bodyPr>
          <a:lstStyle>
            <a:lvl1pPr algn="l">
              <a:defRPr>
                <a:solidFill>
                  <a:schemeClr val="accent2"/>
                </a:solidFill>
              </a:defRPr>
            </a:lvl1pPr>
          </a:lstStyle>
          <a:p>
            <a:r>
              <a:rPr lang="en-US"/>
              <a:t>Click to edit Master title style</a:t>
            </a:r>
            <a:endParaRPr lang="fr-FR"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7"/>
            </p:custDataLst>
          </p:nvPr>
        </p:nvSpPr>
        <p:spPr>
          <a:xfrm>
            <a:off x="554735" y="3659644"/>
            <a:ext cx="3465575" cy="276999"/>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fr-FR"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800"/>
              <a:t>Bron: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9"/>
            </p:custDataLst>
          </p:nvPr>
        </p:nvSpPr>
        <p:spPr>
          <a:xfrm>
            <a:off x="554735" y="41597"/>
            <a:ext cx="3465577" cy="123111"/>
          </a:xfrm>
          <a:prstGeom prst="rect">
            <a:avLst/>
          </a:prstGeom>
          <a:ln w="6350">
            <a:noFill/>
            <a:miter lim="800000"/>
          </a:ln>
        </p:spPr>
        <p:txBody>
          <a:bodyPr vert="horz" wrap="square" lIns="0" tIns="0" rIns="0" bIns="0" rtlCol="0">
            <a:noAutofit/>
          </a:bodyPr>
          <a:lstStyle>
            <a:lvl1pPr>
              <a:defRPr lang="en-US" sz="800" b="0" dirty="0">
                <a:cs typeface="+mn-cs"/>
              </a:defRPr>
            </a:lvl1pPr>
          </a:lstStyle>
          <a:p>
            <a:pPr lvl="0">
              <a:buNone/>
            </a:pPr>
            <a:r>
              <a:rPr lang="fr-FR" dirty="0" err="1"/>
              <a:t>Add</a:t>
            </a:r>
            <a:r>
              <a:rPr lang="fr-FR" dirty="0"/>
              <a:t> tracker</a:t>
            </a:r>
          </a:p>
        </p:txBody>
      </p:sp>
      <p:cxnSp>
        <p:nvCxnSpPr>
          <p:cNvPr id="11" name="TopLine">
            <a:extLst>
              <a:ext uri="{FF2B5EF4-FFF2-40B4-BE49-F238E27FC236}">
                <a16:creationId xmlns:a16="http://schemas.microsoft.com/office/drawing/2014/main" id="{69C4CAC6-374D-4405-BCE4-B7434720CF63}"/>
              </a:ext>
            </a:extLst>
          </p:cNvPr>
          <p:cNvCxnSpPr>
            <a:cxnSpLocks/>
          </p:cNvCxnSpPr>
          <p:nvPr userDrawn="1">
            <p:custDataLst>
              <p:tags r:id="rId10"/>
            </p:custDataLst>
          </p:nvPr>
        </p:nvCxnSpPr>
        <p:spPr>
          <a:xfrm>
            <a:off x="554737" y="1181906"/>
            <a:ext cx="3465577" cy="0"/>
          </a:xfrm>
          <a:prstGeom prst="line">
            <a:avLst/>
          </a:prstGeom>
          <a:ln w="38100">
            <a:solidFill>
              <a:schemeClr val="accent2"/>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9291005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1410943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5" name="think-cell Slide" r:id="rId12" imgW="413" imgH="416" progId="TCLayout.ActiveDocument.1">
                  <p:embed/>
                </p:oleObj>
              </mc:Choice>
              <mc:Fallback>
                <p:oleObj name="think-cell Slide" r:id="rId12" imgW="413" imgH="416" progId="TCLayout.ActiveDocument.1">
                  <p:embed/>
                  <p:pic>
                    <p:nvPicPr>
                      <p:cNvPr id="0" name=""/>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err="1">
              <a:solidFill>
                <a:schemeClr val="bg1"/>
              </a:solidFill>
              <a:latin typeface="Calibri" panose="020F0502020204030204" pitchFamily="34" charset="0"/>
              <a:ea typeface="+mj-ea"/>
              <a:cs typeface="+mj-cs"/>
              <a:sym typeface="Calibri" panose="020F050202020403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chemeClr val="tx2">
              <a:lumMod val="95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fr-FR"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r.›</a:t>
            </a:fld>
            <a:endParaRPr lang="fr-FR"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6"/>
            </p:custDataLst>
          </p:nvPr>
        </p:nvSpPr>
        <p:spPr>
          <a:xfrm>
            <a:off x="554736" y="519011"/>
            <a:ext cx="5065776" cy="384721"/>
          </a:xfrm>
        </p:spPr>
        <p:txBody>
          <a:bodyPr>
            <a:spAutoFit/>
          </a:bodyPr>
          <a:lstStyle/>
          <a:p>
            <a:r>
              <a:rPr lang="en-US"/>
              <a:t>Click to edit Master title style</a:t>
            </a:r>
            <a:endParaRPr lang="fr-FR"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7"/>
            </p:custDataLst>
          </p:nvPr>
        </p:nvSpPr>
        <p:spPr>
          <a:xfrm>
            <a:off x="554736" y="884725"/>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r-FR"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800"/>
              <a:t>Bron: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fr-FR" dirty="0" err="1"/>
              <a:t>Add</a:t>
            </a:r>
            <a:r>
              <a:rPr lang="fr-FR" dirty="0"/>
              <a:t> tracker</a:t>
            </a:r>
          </a:p>
        </p:txBody>
      </p:sp>
      <p:cxnSp>
        <p:nvCxnSpPr>
          <p:cNvPr id="11" name="TopLine">
            <a:extLst>
              <a:ext uri="{FF2B5EF4-FFF2-40B4-BE49-F238E27FC236}">
                <a16:creationId xmlns:a16="http://schemas.microsoft.com/office/drawing/2014/main" id="{63BC73E6-57A6-4CDD-B110-BA6B558FA375}"/>
              </a:ext>
            </a:extLst>
          </p:cNvPr>
          <p:cNvCxnSpPr>
            <a:cxnSpLocks/>
          </p:cNvCxnSpPr>
          <p:nvPr userDrawn="1">
            <p:custDataLst>
              <p:tags r:id="rId10"/>
            </p:custDataLst>
          </p:nvPr>
        </p:nvCxnSpPr>
        <p:spPr>
          <a:xfrm>
            <a:off x="554736" y="1181906"/>
            <a:ext cx="5065776" cy="0"/>
          </a:xfrm>
          <a:prstGeom prst="line">
            <a:avLst/>
          </a:prstGeom>
          <a:ln w="38100">
            <a:solidFill>
              <a:schemeClr val="accent2"/>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0546789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4064308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9" name="think-cell Slide" r:id="rId12" imgW="572" imgH="588" progId="TCLayout.ActiveDocument.1">
                  <p:embed/>
                </p:oleObj>
              </mc:Choice>
              <mc:Fallback>
                <p:oleObj name="think-cell Slide" r:id="rId12" imgW="572" imgH="588" progId="TCLayout.ActiveDocument.1">
                  <p:embed/>
                  <p:pic>
                    <p:nvPicPr>
                      <p:cNvPr id="0" name=""/>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err="1">
              <a:solidFill>
                <a:schemeClr val="bg1"/>
              </a:solidFill>
              <a:latin typeface="Calibri" panose="020F0502020204030204" pitchFamily="34" charset="0"/>
              <a:ea typeface="+mj-ea"/>
              <a:cs typeface="+mj-cs"/>
              <a:sym typeface="Calibri" panose="020F050202020403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519011"/>
            <a:ext cx="6967728" cy="384721"/>
          </a:xfrm>
        </p:spPr>
        <p:txBody>
          <a:bodyPr>
            <a:spAutoFit/>
          </a:bodyPr>
          <a:lstStyle/>
          <a:p>
            <a:r>
              <a:rPr lang="en-US"/>
              <a:t>Click to edit Master title style</a:t>
            </a:r>
            <a:endParaRPr lang="fr-FR"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chemeClr val="tx2">
              <a:lumMod val="95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fr-FR"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r.›</a:t>
            </a:fld>
            <a:endParaRPr lang="fr-FR" sz="900" b="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7"/>
            </p:custDataLst>
          </p:nvPr>
        </p:nvSpPr>
        <p:spPr>
          <a:xfrm>
            <a:off x="554736" y="884725"/>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r-FR"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8"/>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800"/>
              <a:t>Bron: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fr-FR" dirty="0" err="1"/>
              <a:t>Add</a:t>
            </a:r>
            <a:r>
              <a:rPr lang="fr-FR" dirty="0"/>
              <a:t> tracker</a:t>
            </a:r>
          </a:p>
        </p:txBody>
      </p:sp>
      <p:cxnSp>
        <p:nvCxnSpPr>
          <p:cNvPr id="11" name="TopLine">
            <a:extLst>
              <a:ext uri="{FF2B5EF4-FFF2-40B4-BE49-F238E27FC236}">
                <a16:creationId xmlns:a16="http://schemas.microsoft.com/office/drawing/2014/main" id="{F7189481-B982-4BB8-AAEE-9F1EF03450DA}"/>
              </a:ext>
            </a:extLst>
          </p:cNvPr>
          <p:cNvCxnSpPr>
            <a:cxnSpLocks/>
          </p:cNvCxnSpPr>
          <p:nvPr userDrawn="1">
            <p:custDataLst>
              <p:tags r:id="rId10"/>
            </p:custDataLst>
          </p:nvPr>
        </p:nvCxnSpPr>
        <p:spPr>
          <a:xfrm>
            <a:off x="554736" y="1181906"/>
            <a:ext cx="6967728" cy="0"/>
          </a:xfrm>
          <a:prstGeom prst="line">
            <a:avLst/>
          </a:prstGeom>
          <a:ln w="38100">
            <a:solidFill>
              <a:schemeClr val="accent2"/>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1139095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22997107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3"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err="1">
              <a:solidFill>
                <a:schemeClr val="bg1"/>
              </a:solidFill>
              <a:latin typeface="Calibri" panose="020F0502020204030204" pitchFamily="34" charset="0"/>
              <a:ea typeface="+mj-ea"/>
              <a:cs typeface="+mj-cs"/>
              <a:sym typeface="Calibri" panose="020F050202020403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chemeClr val="tx2">
              <a:lumMod val="95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fr-FR"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nr.›</a:t>
            </a:fld>
            <a:endParaRPr kumimoji="0" lang="fr-FR" sz="900" b="0" i="0" u="none" strike="noStrike" kern="1200" cap="none" spc="0" normalizeH="0" baseline="0" noProof="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6"/>
            </p:custDataLst>
          </p:nvPr>
        </p:nvSpPr>
        <p:spPr>
          <a:xfrm>
            <a:off x="554736" y="519011"/>
            <a:ext cx="7918704" cy="384721"/>
          </a:xfrm>
        </p:spPr>
        <p:txBody>
          <a:bodyPr>
            <a:spAutoFit/>
          </a:bodyPr>
          <a:lstStyle/>
          <a:p>
            <a:r>
              <a:rPr lang="en-US"/>
              <a:t>Click to edit Master title style</a:t>
            </a:r>
            <a:endParaRPr lang="fr-FR"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7"/>
            </p:custDataLst>
          </p:nvPr>
        </p:nvSpPr>
        <p:spPr>
          <a:xfrm>
            <a:off x="554736" y="884725"/>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r-FR"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fr-FR" sz="800" b="0" i="0" u="none" strike="noStrike" kern="1200" cap="none" spc="0" normalizeH="0" baseline="0" noProof="0">
                <a:ln>
                  <a:noFill/>
                </a:ln>
                <a:solidFill>
                  <a:srgbClr val="000000"/>
                </a:solidFill>
                <a:effectLst/>
                <a:uLnTx/>
                <a:uFillTx/>
                <a:latin typeface="+mn-lt"/>
                <a:ea typeface="+mn-ea"/>
                <a:cs typeface="Arial" panose="020B0604020202020204" pitchFamily="34" charset="0"/>
              </a:rPr>
              <a:t>Bron: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fr-FR" dirty="0" err="1"/>
              <a:t>Add</a:t>
            </a:r>
            <a:r>
              <a:rPr lang="fr-FR" dirty="0"/>
              <a:t> tracker</a:t>
            </a:r>
          </a:p>
        </p:txBody>
      </p:sp>
      <p:cxnSp>
        <p:nvCxnSpPr>
          <p:cNvPr id="11" name="TopLine">
            <a:extLst>
              <a:ext uri="{FF2B5EF4-FFF2-40B4-BE49-F238E27FC236}">
                <a16:creationId xmlns:a16="http://schemas.microsoft.com/office/drawing/2014/main" id="{39A5CFF0-55EF-42AE-A29A-49BEA33C0AB9}"/>
              </a:ext>
            </a:extLst>
          </p:cNvPr>
          <p:cNvCxnSpPr>
            <a:cxnSpLocks/>
          </p:cNvCxnSpPr>
          <p:nvPr userDrawn="1">
            <p:custDataLst>
              <p:tags r:id="rId10"/>
            </p:custDataLst>
          </p:nvPr>
        </p:nvCxnSpPr>
        <p:spPr>
          <a:xfrm>
            <a:off x="554736" y="1181906"/>
            <a:ext cx="7918704" cy="0"/>
          </a:xfrm>
          <a:prstGeom prst="line">
            <a:avLst/>
          </a:prstGeom>
          <a:ln w="38100">
            <a:solidFill>
              <a:schemeClr val="accent2"/>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7086153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extLst>
              <p:ext uri="{D42A27DB-BD31-4B8C-83A1-F6EECF244321}">
                <p14:modId xmlns:p14="http://schemas.microsoft.com/office/powerpoint/2010/main" val="3153906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7" name="think-cell Slide" r:id="rId10" imgW="592" imgH="591" progId="TCLayout.ActiveDocument.1">
                  <p:embed/>
                </p:oleObj>
              </mc:Choice>
              <mc:Fallback>
                <p:oleObj name="think-cell Slide" r:id="rId10" imgW="592" imgH="591"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err="1">
              <a:solidFill>
                <a:schemeClr val="bg1"/>
              </a:solidFill>
              <a:latin typeface="Calibri" panose="020F0502020204030204" pitchFamily="34" charset="0"/>
              <a:ea typeface="+mj-ea"/>
              <a:cs typeface="+mj-cs"/>
              <a:sym typeface="Calibri" panose="020F050202020403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fr-FR"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r.›</a:t>
            </a:fld>
            <a:endParaRPr lang="fr-FR" sz="900" b="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818434"/>
            <a:ext cx="11082528" cy="346249"/>
          </a:xfrm>
        </p:spPr>
        <p:txBody>
          <a:bodyPr>
            <a:spAutoFit/>
          </a:bodyPr>
          <a:lstStyle>
            <a:lvl1pPr>
              <a:lnSpc>
                <a:spcPct val="90000"/>
              </a:lnSpc>
              <a:defRPr/>
            </a:lvl1pPr>
          </a:lstStyle>
          <a:p>
            <a:r>
              <a:rPr lang="en-US"/>
              <a:t>Click to edit Master title style</a:t>
            </a:r>
            <a:endParaRPr lang="fr-FR"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800"/>
              <a:t>Bron: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fr-FR" dirty="0" err="1"/>
              <a:t>Add</a:t>
            </a:r>
            <a:r>
              <a:rPr lang="fr-FR" dirty="0"/>
              <a:t> tracker</a:t>
            </a:r>
          </a:p>
        </p:txBody>
      </p:sp>
      <p:cxnSp>
        <p:nvCxnSpPr>
          <p:cNvPr id="9" name="TopLine">
            <a:extLst>
              <a:ext uri="{FF2B5EF4-FFF2-40B4-BE49-F238E27FC236}">
                <a16:creationId xmlns:a16="http://schemas.microsoft.com/office/drawing/2014/main" id="{2A0DED01-E537-4A31-80C2-67DB7C780383}"/>
              </a:ext>
            </a:extLst>
          </p:cNvPr>
          <p:cNvCxnSpPr>
            <a:cxnSpLocks/>
          </p:cNvCxnSpPr>
          <p:nvPr userDrawn="1">
            <p:custDataLst>
              <p:tags r:id="rId8"/>
            </p:custDataLst>
          </p:nvPr>
        </p:nvCxnSpPr>
        <p:spPr>
          <a:xfrm>
            <a:off x="554736" y="1181906"/>
            <a:ext cx="11082528" cy="0"/>
          </a:xfrm>
          <a:prstGeom prst="line">
            <a:avLst/>
          </a:prstGeom>
          <a:ln w="38100">
            <a:solidFill>
              <a:schemeClr val="accent2"/>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7749930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extLst>
              <p:ext uri="{D42A27DB-BD31-4B8C-83A1-F6EECF244321}">
                <p14:modId xmlns:p14="http://schemas.microsoft.com/office/powerpoint/2010/main" val="40142922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1" name="think-cell Slide" r:id="rId7" imgW="592" imgH="591" progId="TCLayout.ActiveDocument.1">
                  <p:embed/>
                </p:oleObj>
              </mc:Choice>
              <mc:Fallback>
                <p:oleObj name="think-cell Slide" r:id="rId7" imgW="592" imgH="591"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fr-FR"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r.›</a:t>
            </a:fld>
            <a:endParaRPr lang="fr-FR" sz="900" b="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800"/>
              <a:t>Bron: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fr-FR" dirty="0" err="1"/>
              <a:t>Add</a:t>
            </a:r>
            <a:r>
              <a:rPr lang="fr-FR" dirty="0"/>
              <a:t> tracker</a:t>
            </a:r>
          </a:p>
        </p:txBody>
      </p:sp>
    </p:spTree>
    <p:extLst>
      <p:ext uri="{BB962C8B-B14F-4D97-AF65-F5344CB8AC3E}">
        <p14:creationId xmlns:p14="http://schemas.microsoft.com/office/powerpoint/2010/main" val="38630075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extLst>
              <p:ext uri="{D42A27DB-BD31-4B8C-83A1-F6EECF244321}">
                <p14:modId xmlns:p14="http://schemas.microsoft.com/office/powerpoint/2010/main" val="3752706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5" name="think-cell Slide" r:id="rId5" imgW="592" imgH="591" progId="TCLayout.ActiveDocument.1">
                  <p:embed/>
                </p:oleObj>
              </mc:Choice>
              <mc:Fallback>
                <p:oleObj name="think-cell Slide" r:id="rId5" imgW="592" imgH="59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800"/>
              <a:t>Bron: …</a:t>
            </a:r>
          </a:p>
        </p:txBody>
      </p:sp>
      <p:sp>
        <p:nvSpPr>
          <p:cNvPr id="5" name="Rectangle 4">
            <a:extLst>
              <a:ext uri="{FF2B5EF4-FFF2-40B4-BE49-F238E27FC236}">
                <a16:creationId xmlns:a16="http://schemas.microsoft.com/office/drawing/2014/main" id="{90B5C5AF-E00F-4A6F-9F78-9819B33F7951}"/>
              </a:ext>
            </a:extLst>
          </p:cNvPr>
          <p:cNvSpPr/>
          <p:nvPr userDrawn="1"/>
        </p:nvSpPr>
        <p:spPr>
          <a:xfrm>
            <a:off x="1181100" y="1002171"/>
            <a:ext cx="9829800" cy="4853659"/>
          </a:xfrm>
          <a:prstGeom prst="rect">
            <a:avLst/>
          </a:prstGeom>
          <a:solidFill>
            <a:schemeClr val="accent2"/>
          </a:solidFill>
          <a:ln w="38100">
            <a:solidFill>
              <a:schemeClr val="accent2"/>
            </a:solidFill>
            <a:miter lim="800000"/>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0" name="TextBox 9">
            <a:extLst>
              <a:ext uri="{FF2B5EF4-FFF2-40B4-BE49-F238E27FC236}">
                <a16:creationId xmlns:a16="http://schemas.microsoft.com/office/drawing/2014/main" id="{65EF7807-0EEA-4327-9743-5CE4D280CFFF}"/>
              </a:ext>
            </a:extLst>
          </p:cNvPr>
          <p:cNvSpPr txBox="1"/>
          <p:nvPr userDrawn="1"/>
        </p:nvSpPr>
        <p:spPr>
          <a:xfrm>
            <a:off x="4064000" y="2367171"/>
            <a:ext cx="4064000" cy="212365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fr-FR" sz="13800">
                <a:solidFill>
                  <a:schemeClr val="tx1"/>
                </a:solidFill>
              </a:rPr>
              <a:t>END</a:t>
            </a:r>
          </a:p>
        </p:txBody>
      </p:sp>
    </p:spTree>
    <p:extLst>
      <p:ext uri="{BB962C8B-B14F-4D97-AF65-F5344CB8AC3E}">
        <p14:creationId xmlns:p14="http://schemas.microsoft.com/office/powerpoint/2010/main" val="46647050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8099270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9"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82372"/>
            <a:ext cx="11082528" cy="731520"/>
          </a:xfrm>
        </p:spPr>
        <p:txBody>
          <a:bodyPr/>
          <a:lstStyle/>
          <a:p>
            <a:r>
              <a:rPr lang="en-US"/>
              <a:t>Click to edit Master 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nr.›</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8"/>
            </p:custDataLst>
          </p:nvPr>
        </p:nvSpPr>
        <p:spPr>
          <a:xfrm>
            <a:off x="554736" y="903861"/>
            <a:ext cx="11082528"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107548119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Top Lef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6C5A39F-26AB-4DDD-91B4-6D3D41E52A5D}"/>
              </a:ext>
            </a:extLst>
          </p:cNvPr>
          <p:cNvGraphicFramePr>
            <a:graphicFrameLocks noChangeAspect="1"/>
          </p:cNvGraphicFramePr>
          <p:nvPr userDrawn="1">
            <p:custDataLst>
              <p:tags r:id="rId2"/>
            </p:custDataLst>
            <p:extLst>
              <p:ext uri="{D42A27DB-BD31-4B8C-83A1-F6EECF244321}">
                <p14:modId xmlns:p14="http://schemas.microsoft.com/office/powerpoint/2010/main" val="20995903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3" name="think-cell Slide" r:id="rId9" imgW="631" imgH="631" progId="TCLayout.ActiveDocument.1">
                  <p:embed/>
                </p:oleObj>
              </mc:Choice>
              <mc:Fallback>
                <p:oleObj name="think-cell Slide" r:id="rId9" imgW="631" imgH="631" progId="TCLayout.ActiveDocument.1">
                  <p:embed/>
                  <p:pic>
                    <p:nvPicPr>
                      <p:cNvPr id="5" name="Object 4" hidden="1">
                        <a:extLst>
                          <a:ext uri="{FF2B5EF4-FFF2-40B4-BE49-F238E27FC236}">
                            <a16:creationId xmlns:a16="http://schemas.microsoft.com/office/drawing/2014/main" id="{16C5A39F-26AB-4DDD-91B4-6D3D41E52A5D}"/>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1BF1A8E-6B1C-4D7A-AF63-FF961265B194}"/>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nl-NL"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nl-NL"/>
              <a:t>Click to edit Master title style</a:t>
            </a:r>
            <a:endParaRPr lang="nl-NL"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nl-NL" sz="900" smtClean="0">
                <a:solidFill>
                  <a:schemeClr val="tx1"/>
                </a:solidFill>
                <a:latin typeface="+mn-lt"/>
                <a:ea typeface="+mn-ea"/>
                <a:cs typeface="Arial" panose="020B0604020202020204" pitchFamily="34" charset="0"/>
              </a:rPr>
              <a:pPr algn="r" defTabSz="610744" fontAlgn="auto">
                <a:spcBef>
                  <a:spcPts val="0"/>
                </a:spcBef>
                <a:spcAft>
                  <a:spcPts val="0"/>
                </a:spcAft>
                <a:defRPr/>
              </a:pPr>
              <a:t>‹nr.›</a:t>
            </a:fld>
            <a:endParaRPr lang="nl-NL"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nl-NL" sz="800"/>
              <a:t>Source: …</a:t>
            </a:r>
          </a:p>
        </p:txBody>
      </p:sp>
      <p:sp>
        <p:nvSpPr>
          <p:cNvPr id="7" name="1. On-page tracker">
            <a:extLst>
              <a:ext uri="{FF2B5EF4-FFF2-40B4-BE49-F238E27FC236}">
                <a16:creationId xmlns:a16="http://schemas.microsoft.com/office/drawing/2014/main" id="{7ACB1E33-E5FF-447C-86C8-D2AD164B7EF2}"/>
              </a:ext>
            </a:extLst>
          </p:cNvPr>
          <p:cNvSpPr>
            <a:spLocks noGrp="1"/>
          </p:cNvSpPr>
          <p:nvPr>
            <p:ph type="body" sz="quarter" idx="17" hasCustomPrompt="1"/>
            <p:custDataLst>
              <p:tags r:id="rId7"/>
            </p:custDataLst>
          </p:nvPr>
        </p:nvSpPr>
        <p:spPr>
          <a:xfrm>
            <a:off x="7156704" y="89319"/>
            <a:ext cx="4480560" cy="123111"/>
          </a:xfrm>
        </p:spPr>
        <p:txBody>
          <a:bodyPr anchor="ctr" anchorCtr="0">
            <a:spAutoFit/>
          </a:bodyPr>
          <a:lstStyle>
            <a:lvl1pPr algn="r">
              <a:defRPr sz="800">
                <a:latin typeface="+mn-lt"/>
              </a:defRPr>
            </a:lvl1pPr>
          </a:lstStyle>
          <a:p>
            <a:pPr lvl="0"/>
            <a:r>
              <a:rPr lang="nl-NL"/>
              <a:t>Chapter › Topic</a:t>
            </a:r>
            <a:endParaRPr lang="nl-NL" dirty="0"/>
          </a:p>
        </p:txBody>
      </p:sp>
    </p:spTree>
    <p:extLst>
      <p:ext uri="{BB962C8B-B14F-4D97-AF65-F5344CB8AC3E}">
        <p14:creationId xmlns:p14="http://schemas.microsoft.com/office/powerpoint/2010/main" val="221500113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Alleen titel">
    <p:spTree>
      <p:nvGrpSpPr>
        <p:cNvPr id="1" name=""/>
        <p:cNvGrpSpPr/>
        <p:nvPr/>
      </p:nvGrpSpPr>
      <p:grpSpPr>
        <a:xfrm>
          <a:off x="0" y="0"/>
          <a:ext cx="0" cy="0"/>
          <a:chOff x="0" y="0"/>
          <a:chExt cx="0" cy="0"/>
        </a:xfrm>
      </p:grpSpPr>
      <p:pic>
        <p:nvPicPr>
          <p:cNvPr id="3" name="Afbeelding 4"/>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966453" y="84139"/>
            <a:ext cx="927100"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1026"/>
          <p:cNvSpPr>
            <a:spLocks noGrp="1" noChangeArrowheads="1"/>
          </p:cNvSpPr>
          <p:nvPr>
            <p:ph type="ctrTitle"/>
          </p:nvPr>
        </p:nvSpPr>
        <p:spPr>
          <a:xfrm>
            <a:off x="335360" y="253306"/>
            <a:ext cx="7889336" cy="307777"/>
          </a:xfrm>
          <a:prstGeom prst="rect">
            <a:avLst/>
          </a:prstGeom>
        </p:spPr>
        <p:txBody>
          <a:bodyPr/>
          <a:lstStyle>
            <a:lvl1pPr>
              <a:defRPr sz="2000" b="1">
                <a:solidFill>
                  <a:schemeClr val="accent2"/>
                </a:solidFill>
              </a:defRPr>
            </a:lvl1pPr>
          </a:lstStyle>
          <a:p>
            <a:pPr lvl="0"/>
            <a:r>
              <a:rPr lang="nl-NL" noProof="0"/>
              <a:t>Klik om de stijl te bewerken</a:t>
            </a:r>
          </a:p>
        </p:txBody>
      </p:sp>
    </p:spTree>
    <p:extLst>
      <p:ext uri="{BB962C8B-B14F-4D97-AF65-F5344CB8AC3E}">
        <p14:creationId xmlns:p14="http://schemas.microsoft.com/office/powerpoint/2010/main" val="190969844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9086453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9"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Calibri" panose="020F0502020204030204" pitchFamily="34" charset="0"/>
              <a:ea typeface="+mj-ea"/>
              <a:cs typeface="+mj-cs"/>
              <a:sym typeface="Calibri" panose="020F0502020204030204" pitchFamily="34" charset="0"/>
            </a:endParaRPr>
          </a:p>
        </p:txBody>
      </p:sp>
      <p:pic>
        <p:nvPicPr>
          <p:cNvPr id="6" name="Picture 5">
            <a:extLst>
              <a:ext uri="{FF2B5EF4-FFF2-40B4-BE49-F238E27FC236}">
                <a16:creationId xmlns:a16="http://schemas.microsoft.com/office/drawing/2014/main" id="{94DA2C91-A8C2-40C7-8336-1A683798ABCF}"/>
              </a:ext>
            </a:extLst>
          </p:cNvPr>
          <p:cNvPicPr>
            <a:picLocks noChangeAspect="1"/>
          </p:cNvPicPr>
          <p:nvPr userDrawn="1"/>
        </p:nvPicPr>
        <p:blipFill rotWithShape="1">
          <a:blip r:embed="rId10" cstate="print">
            <a:extLst>
              <a:ext uri="{28A0092B-C50C-407E-A947-70E740481C1C}">
                <a14:useLocalDpi xmlns:a14="http://schemas.microsoft.com/office/drawing/2010/main"/>
              </a:ext>
            </a:extLst>
          </a:blip>
          <a:srcRect/>
          <a:stretch/>
        </p:blipFill>
        <p:spPr>
          <a:xfrm>
            <a:off x="5834235" y="0"/>
            <a:ext cx="6357765" cy="6858000"/>
          </a:xfrm>
          <a:prstGeom prst="rect">
            <a:avLst/>
          </a:prstGeom>
        </p:spPr>
      </p:pic>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a:xfrm>
            <a:off x="550291" y="5256647"/>
            <a:ext cx="520115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vl1pPr>
          </a:lstStyle>
          <a:p>
            <a:pPr lvl="0">
              <a:buNone/>
            </a:pPr>
            <a:r>
              <a:rPr lang="fr-FR" dirty="0"/>
              <a:t>Edit date or </a:t>
            </a:r>
            <a:r>
              <a:rPr lang="fr-FR" dirty="0" err="1"/>
              <a:t>title</a:t>
            </a:r>
            <a:r>
              <a:rPr lang="fr-FR" dirty="0"/>
              <a:t>/</a:t>
            </a:r>
            <a:r>
              <a:rPr lang="fr-FR" dirty="0" err="1"/>
              <a:t>role</a:t>
            </a:r>
            <a:endParaRPr lang="fr-FR" dirty="0"/>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a:xfrm>
            <a:off x="550291" y="4839038"/>
            <a:ext cx="520115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lvl1pPr>
          </a:lstStyle>
          <a:p>
            <a:pPr lvl="0">
              <a:buNone/>
            </a:pPr>
            <a:r>
              <a:rPr lang="en-US"/>
              <a:t>Click to edit Master subtitle style</a:t>
            </a:r>
            <a:endParaRPr lang="fr-FR"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6"/>
            </p:custDataLst>
          </p:nvPr>
        </p:nvSpPr>
        <p:spPr>
          <a:xfrm>
            <a:off x="550291" y="3363775"/>
            <a:ext cx="520115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400" dirty="0"/>
            </a:lvl1pPr>
          </a:lstStyle>
          <a:p>
            <a:pPr lvl="0"/>
            <a:r>
              <a:rPr lang="en-US" dirty="0"/>
              <a:t>Click to edit Master title style</a:t>
            </a:r>
            <a:endParaRPr lang="fr-FR" dirty="0"/>
          </a:p>
        </p:txBody>
      </p:sp>
      <p:pic>
        <p:nvPicPr>
          <p:cNvPr id="13" name="Picture 406" descr="Stichting leerKRACHT">
            <a:extLst>
              <a:ext uri="{FF2B5EF4-FFF2-40B4-BE49-F238E27FC236}">
                <a16:creationId xmlns:a16="http://schemas.microsoft.com/office/drawing/2014/main" id="{E0AD3919-01C7-4F6C-AEB8-40859AD68989}"/>
              </a:ext>
            </a:extLst>
          </p:cNvPr>
          <p:cNvPicPr>
            <a:picLocks noChangeAspect="1" noChangeArrowheads="1"/>
          </p:cNvPicPr>
          <p:nvPr userDrawn="1"/>
        </p:nvPicPr>
        <p:blipFill>
          <a:blip r:embed="rId11">
            <a:clrChange>
              <a:clrFrom>
                <a:srgbClr val="FFFFFF"/>
              </a:clrFrom>
              <a:clrTo>
                <a:srgbClr val="FFFFFF">
                  <a:alpha val="0"/>
                </a:srgbClr>
              </a:clrTo>
            </a:clrChange>
            <a:extLst>
              <a:ext uri="{BEBA8EAE-BF5A-486C-A8C5-ECC9F3942E4B}">
                <a14:imgProps xmlns:a14="http://schemas.microsoft.com/office/drawing/2010/main">
                  <a14:imgLayer r:embed="rId12">
                    <a14:imgEffect>
                      <a14:saturation sat="200000"/>
                    </a14:imgEffect>
                  </a14:imgLayer>
                </a14:imgProps>
              </a:ext>
              <a:ext uri="{28A0092B-C50C-407E-A947-70E740481C1C}">
                <a14:useLocalDpi xmlns:a14="http://schemas.microsoft.com/office/drawing/2010/main" val="0"/>
              </a:ext>
            </a:extLst>
          </a:blip>
          <a:srcRect/>
          <a:stretch>
            <a:fillRect/>
          </a:stretch>
        </p:blipFill>
        <p:spPr bwMode="auto">
          <a:xfrm>
            <a:off x="5229225" y="0"/>
            <a:ext cx="2465560" cy="2465560"/>
          </a:xfrm>
          <a:prstGeom prst="rect">
            <a:avLst/>
          </a:prstGeom>
          <a:noFill/>
          <a:extLst>
            <a:ext uri="{909E8E84-426E-40DD-AFC4-6F175D3DCCD1}">
              <a14:hiddenFill xmlns:a14="http://schemas.microsoft.com/office/drawing/2010/main">
                <a:solidFill>
                  <a:srgbClr val="FFFFFF"/>
                </a:solidFill>
              </a14:hiddenFill>
            </a:ext>
          </a:extLst>
        </p:spPr>
      </p:pic>
      <p:cxnSp>
        <p:nvCxnSpPr>
          <p:cNvPr id="15" name="Straight Connector 14">
            <a:extLst>
              <a:ext uri="{FF2B5EF4-FFF2-40B4-BE49-F238E27FC236}">
                <a16:creationId xmlns:a16="http://schemas.microsoft.com/office/drawing/2014/main" id="{84DC4680-2DCF-49DC-9A21-9D250C19817F}"/>
              </a:ext>
            </a:extLst>
          </p:cNvPr>
          <p:cNvCxnSpPr>
            <a:cxnSpLocks/>
          </p:cNvCxnSpPr>
          <p:nvPr userDrawn="1"/>
        </p:nvCxnSpPr>
        <p:spPr>
          <a:xfrm>
            <a:off x="5834235" y="1384300"/>
            <a:ext cx="0" cy="5473700"/>
          </a:xfrm>
          <a:prstGeom prst="line">
            <a:avLst/>
          </a:prstGeom>
          <a:ln w="6350" cap="flat">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25077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C4253A-CAD8-4B4B-BAB3-F5B36BA32BB1}"/>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67D7F96B-101D-4E1C-823E-1FA82B278B2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4BC992E-A681-4287-9A40-F5A888E140E4}"/>
              </a:ext>
            </a:extLst>
          </p:cNvPr>
          <p:cNvSpPr>
            <a:spLocks noGrp="1"/>
          </p:cNvSpPr>
          <p:nvPr>
            <p:ph type="dt" sz="half" idx="10"/>
          </p:nvPr>
        </p:nvSpPr>
        <p:spPr/>
        <p:txBody>
          <a:bodyPr/>
          <a:lstStyle/>
          <a:p>
            <a:fld id="{68F2B89D-55FD-4EDF-8992-EC346FEBA45A}" type="datetimeFigureOut">
              <a:rPr lang="en-GB" smtClean="0"/>
              <a:t>19/01/2021</a:t>
            </a:fld>
            <a:endParaRPr lang="en-GB"/>
          </a:p>
        </p:txBody>
      </p:sp>
      <p:sp>
        <p:nvSpPr>
          <p:cNvPr id="5" name="Footer Placeholder 4">
            <a:extLst>
              <a:ext uri="{FF2B5EF4-FFF2-40B4-BE49-F238E27FC236}">
                <a16:creationId xmlns:a16="http://schemas.microsoft.com/office/drawing/2014/main" id="{2DC9A558-2011-4E27-9345-165E2357F87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B369BE6C-28DB-4896-AC68-E3447A8ECB73}"/>
              </a:ext>
            </a:extLst>
          </p:cNvPr>
          <p:cNvSpPr>
            <a:spLocks noGrp="1"/>
          </p:cNvSpPr>
          <p:nvPr>
            <p:ph type="sldNum" sz="quarter" idx="12"/>
          </p:nvPr>
        </p:nvSpPr>
        <p:spPr/>
        <p:txBody>
          <a:bodyPr/>
          <a:lstStyle/>
          <a:p>
            <a:fld id="{FEACCC24-C537-4F32-8046-0106DD85CA1F}" type="slidenum">
              <a:rPr lang="en-GB" smtClean="0"/>
              <a:t>‹nr.›</a:t>
            </a:fld>
            <a:endParaRPr lang="en-GB"/>
          </a:p>
        </p:txBody>
      </p:sp>
    </p:spTree>
    <p:extLst>
      <p:ext uri="{BB962C8B-B14F-4D97-AF65-F5344CB8AC3E}">
        <p14:creationId xmlns:p14="http://schemas.microsoft.com/office/powerpoint/2010/main" val="254370158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74AF67-BBA0-48F4-BB9F-52963443351B}"/>
              </a:ext>
            </a:extLst>
          </p:cNvPr>
          <p:cNvGraphicFramePr>
            <a:graphicFrameLocks noChangeAspect="1"/>
          </p:cNvGraphicFramePr>
          <p:nvPr userDrawn="1">
            <p:custDataLst>
              <p:tags r:id="rId2"/>
            </p:custDataLst>
            <p:extLst>
              <p:ext uri="{D42A27DB-BD31-4B8C-83A1-F6EECF244321}">
                <p14:modId xmlns:p14="http://schemas.microsoft.com/office/powerpoint/2010/main" val="6554619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1" name="think-cell Slide" r:id="rId8" imgW="592" imgH="591" progId="TCLayout.ActiveDocument.1">
                  <p:embed/>
                </p:oleObj>
              </mc:Choice>
              <mc:Fallback>
                <p:oleObj name="think-cell Slide" r:id="rId8" imgW="592" imgH="591"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C06C9DF-9D4D-44F7-AECE-D95036F0163A}"/>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4400" b="1" i="0" baseline="0" err="1">
              <a:solidFill>
                <a:schemeClr val="bg1"/>
              </a:solidFill>
              <a:latin typeface="Calibri" panose="020F0502020204030204" pitchFamily="34" charset="0"/>
              <a:ea typeface="+mj-ea"/>
              <a:cs typeface="+mj-cs"/>
              <a:sym typeface="Calibri" panose="020F0502020204030204" pitchFamily="34" charset="0"/>
            </a:endParaRPr>
          </a:p>
        </p:txBody>
      </p:sp>
      <p:pic>
        <p:nvPicPr>
          <p:cNvPr id="12" name="Picture 11">
            <a:extLst>
              <a:ext uri="{FF2B5EF4-FFF2-40B4-BE49-F238E27FC236}">
                <a16:creationId xmlns:a16="http://schemas.microsoft.com/office/drawing/2014/main" id="{8CE8022B-4D93-46A3-8AAB-300CCCCBED95}"/>
              </a:ext>
            </a:extLst>
          </p:cNvPr>
          <p:cNvPicPr>
            <a:picLocks noChangeAspect="1"/>
          </p:cNvPicPr>
          <p:nvPr userDrawn="1"/>
        </p:nvPicPr>
        <p:blipFill rotWithShape="1">
          <a:blip r:embed="rId10">
            <a:grayscl/>
            <a:extLst>
              <a:ext uri="{28A0092B-C50C-407E-A947-70E740481C1C}">
                <a14:useLocalDpi xmlns:a14="http://schemas.microsoft.com/office/drawing/2010/main"/>
              </a:ext>
            </a:extLst>
          </a:blip>
          <a:srcRect/>
          <a:stretch/>
        </p:blipFill>
        <p:spPr>
          <a:xfrm>
            <a:off x="6045200" y="0"/>
            <a:ext cx="6146800" cy="6858000"/>
          </a:xfrm>
          <a:prstGeom prst="rect">
            <a:avLst/>
          </a:prstGeom>
        </p:spPr>
      </p:pic>
      <p:sp>
        <p:nvSpPr>
          <p:cNvPr id="11" name="Documenttype">
            <a:extLst>
              <a:ext uri="{FF2B5EF4-FFF2-40B4-BE49-F238E27FC236}">
                <a16:creationId xmlns:a16="http://schemas.microsoft.com/office/drawing/2014/main" id="{15828E83-1A38-4079-BBBD-A0570B5821FE}"/>
              </a:ext>
            </a:extLst>
          </p:cNvPr>
          <p:cNvSpPr>
            <a:spLocks noGrp="1"/>
          </p:cNvSpPr>
          <p:nvPr>
            <p:ph type="body" sz="quarter" idx="13" hasCustomPrompt="1"/>
            <p:custDataLst>
              <p:tags r:id="rId4"/>
            </p:custDataLst>
          </p:nvPr>
        </p:nvSpPr>
        <p:spPr>
          <a:xfrm>
            <a:off x="550291" y="5256647"/>
            <a:ext cx="5201159" cy="215444"/>
          </a:xfrm>
          <a:prstGeom prst="rect">
            <a:avLst/>
          </a:prstGeom>
        </p:spPr>
        <p:txBody>
          <a:bodyPr vert="horz" wrap="square" lIns="0" tIns="0" rIns="0" bIns="0" rtlCol="0">
            <a:noAutofit/>
          </a:bodyPr>
          <a:lstStyle>
            <a:lvl1pPr>
              <a:defRPr lang="en-US" sz="1400" dirty="0"/>
            </a:lvl1pPr>
          </a:lstStyle>
          <a:p>
            <a:pPr lvl="0">
              <a:buNone/>
            </a:pPr>
            <a:r>
              <a:rPr lang="fr-FR" dirty="0"/>
              <a:t>Edit date or </a:t>
            </a:r>
            <a:r>
              <a:rPr lang="fr-FR" dirty="0" err="1"/>
              <a:t>title</a:t>
            </a:r>
            <a:r>
              <a:rPr lang="fr-FR" dirty="0"/>
              <a:t>/</a:t>
            </a:r>
            <a:r>
              <a:rPr lang="fr-FR" dirty="0" err="1"/>
              <a:t>role</a:t>
            </a:r>
            <a:endParaRPr lang="fr-FR" dirty="0"/>
          </a:p>
        </p:txBody>
      </p:sp>
      <p:sp>
        <p:nvSpPr>
          <p:cNvPr id="15" name="Subtitle">
            <a:extLst>
              <a:ext uri="{FF2B5EF4-FFF2-40B4-BE49-F238E27FC236}">
                <a16:creationId xmlns:a16="http://schemas.microsoft.com/office/drawing/2014/main" id="{FB8F0DBF-6DF4-4080-8ADE-3065F84D7602}"/>
              </a:ext>
            </a:extLst>
          </p:cNvPr>
          <p:cNvSpPr>
            <a:spLocks noGrp="1"/>
          </p:cNvSpPr>
          <p:nvPr>
            <p:ph type="subTitle" idx="1"/>
            <p:custDataLst>
              <p:tags r:id="rId5"/>
            </p:custDataLst>
          </p:nvPr>
        </p:nvSpPr>
        <p:spPr>
          <a:xfrm>
            <a:off x="550291" y="4839038"/>
            <a:ext cx="5201159" cy="307777"/>
          </a:xfrm>
          <a:prstGeom prst="rect">
            <a:avLst/>
          </a:prstGeom>
        </p:spPr>
        <p:txBody>
          <a:bodyPr vert="horz" wrap="square" lIns="0" tIns="0" rIns="0" bIns="0" rtlCol="0">
            <a:noAutofit/>
          </a:bodyPr>
          <a:lstStyle>
            <a:lvl1pPr>
              <a:defRPr lang="en-US" sz="2000" dirty="0"/>
            </a:lvl1pPr>
          </a:lstStyle>
          <a:p>
            <a:pPr lvl="0">
              <a:buNone/>
            </a:pPr>
            <a:r>
              <a:rPr lang="fr-FR" dirty="0"/>
              <a:t>Click to </a:t>
            </a:r>
            <a:r>
              <a:rPr lang="fr-FR" dirty="0" err="1"/>
              <a:t>edit</a:t>
            </a:r>
            <a:r>
              <a:rPr lang="fr-FR" dirty="0"/>
              <a:t> Master </a:t>
            </a:r>
            <a:r>
              <a:rPr lang="fr-FR" dirty="0" err="1"/>
              <a:t>subtitle</a:t>
            </a:r>
            <a:r>
              <a:rPr lang="fr-FR" dirty="0"/>
              <a:t> style</a:t>
            </a:r>
          </a:p>
        </p:txBody>
      </p:sp>
      <p:sp>
        <p:nvSpPr>
          <p:cNvPr id="18" name="Title">
            <a:extLst>
              <a:ext uri="{FF2B5EF4-FFF2-40B4-BE49-F238E27FC236}">
                <a16:creationId xmlns:a16="http://schemas.microsoft.com/office/drawing/2014/main" id="{46FFFED1-69E7-44C0-86EC-45A8A36DB3EC}"/>
              </a:ext>
            </a:extLst>
          </p:cNvPr>
          <p:cNvSpPr>
            <a:spLocks noGrp="1"/>
          </p:cNvSpPr>
          <p:nvPr>
            <p:ph type="title"/>
            <p:custDataLst>
              <p:tags r:id="rId6"/>
            </p:custDataLst>
          </p:nvPr>
        </p:nvSpPr>
        <p:spPr>
          <a:xfrm>
            <a:off x="550291" y="3363775"/>
            <a:ext cx="5201159" cy="1354217"/>
          </a:xfrm>
          <a:prstGeom prst="rect">
            <a:avLst/>
          </a:prstGeom>
        </p:spPr>
        <p:txBody>
          <a:bodyPr vert="horz" wrap="square" lIns="0" tIns="0" rIns="0" bIns="0" rtlCol="0" anchor="b" anchorCtr="0">
            <a:noAutofit/>
          </a:bodyPr>
          <a:lstStyle>
            <a:lvl1pPr>
              <a:defRPr lang="en-US" sz="4400" dirty="0"/>
            </a:lvl1pPr>
          </a:lstStyle>
          <a:p>
            <a:pPr lvl="0"/>
            <a:r>
              <a:rPr lang="fr-FR" dirty="0"/>
              <a:t>Click to </a:t>
            </a:r>
            <a:r>
              <a:rPr lang="fr-FR" dirty="0" err="1"/>
              <a:t>edit</a:t>
            </a:r>
            <a:r>
              <a:rPr lang="fr-FR" dirty="0"/>
              <a:t> Master </a:t>
            </a:r>
            <a:r>
              <a:rPr lang="fr-FR" dirty="0" err="1"/>
              <a:t>title</a:t>
            </a:r>
            <a:r>
              <a:rPr lang="fr-FR" dirty="0"/>
              <a:t> style</a:t>
            </a:r>
          </a:p>
        </p:txBody>
      </p:sp>
      <p:sp>
        <p:nvSpPr>
          <p:cNvPr id="7" name="Rectangle 6">
            <a:extLst>
              <a:ext uri="{FF2B5EF4-FFF2-40B4-BE49-F238E27FC236}">
                <a16:creationId xmlns:a16="http://schemas.microsoft.com/office/drawing/2014/main" id="{F4E504FE-9819-4C57-9519-735177381AA2}"/>
              </a:ext>
            </a:extLst>
          </p:cNvPr>
          <p:cNvSpPr/>
          <p:nvPr userDrawn="1"/>
        </p:nvSpPr>
        <p:spPr>
          <a:xfrm>
            <a:off x="-30480" y="1615440"/>
            <a:ext cx="6362700" cy="4853659"/>
          </a:xfrm>
          <a:prstGeom prst="rect">
            <a:avLst/>
          </a:prstGeom>
          <a:ln w="3810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Tree>
    <p:extLst>
      <p:ext uri="{BB962C8B-B14F-4D97-AF65-F5344CB8AC3E}">
        <p14:creationId xmlns:p14="http://schemas.microsoft.com/office/powerpoint/2010/main" val="2688593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extLst>
              <p:ext uri="{D42A27DB-BD31-4B8C-83A1-F6EECF244321}">
                <p14:modId xmlns:p14="http://schemas.microsoft.com/office/powerpoint/2010/main" val="3950053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5" name="think-cell Slide" r:id="rId10" imgW="413" imgH="416" progId="TCLayout.ActiveDocument.1">
                  <p:embed/>
                </p:oleObj>
              </mc:Choice>
              <mc:Fallback>
                <p:oleObj name="think-cell Slide" r:id="rId10" imgW="413" imgH="416"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err="1">
              <a:solidFill>
                <a:schemeClr val="bg1"/>
              </a:solidFill>
              <a:latin typeface="Calibri" panose="020F0502020204030204" pitchFamily="34" charset="0"/>
              <a:ea typeface="+mj-ea"/>
              <a:cs typeface="+mj-cs"/>
              <a:sym typeface="Calibri" panose="020F0502020204030204" pitchFamily="34"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4"/>
            </p:custDataLst>
          </p:nvPr>
        </p:nvSpPr>
        <p:spPr>
          <a:xfrm>
            <a:off x="554736" y="519011"/>
            <a:ext cx="11082528" cy="384721"/>
          </a:xfrm>
        </p:spPr>
        <p:txBody>
          <a:bodyPr vert="horz" wrap="square" lIns="0" tIns="0" rIns="0" bIns="0" rtlCol="0" anchor="b" anchorCtr="0">
            <a:spAutoFit/>
          </a:bodyPr>
          <a:lstStyle>
            <a:lvl1pPr>
              <a:defRPr lang="en-US" dirty="0"/>
            </a:lvl1pPr>
          </a:lstStyle>
          <a:p>
            <a:pPr lvl="0"/>
            <a:r>
              <a:rPr lang="fr-FR" dirty="0"/>
              <a:t>Click to </a:t>
            </a:r>
            <a:r>
              <a:rPr lang="fr-FR" dirty="0" err="1"/>
              <a:t>edit</a:t>
            </a:r>
            <a:r>
              <a:rPr lang="fr-FR" dirty="0"/>
              <a:t> Master </a:t>
            </a:r>
            <a:r>
              <a:rPr lang="fr-FR" dirty="0" err="1"/>
              <a:t>title</a:t>
            </a:r>
            <a:r>
              <a:rPr lang="fr-FR" dirty="0"/>
              <a:t>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fr-FR" dirty="0"/>
              <a:t>Click to </a:t>
            </a:r>
            <a:r>
              <a:rPr lang="fr-FR" dirty="0" err="1"/>
              <a:t>edit</a:t>
            </a:r>
            <a:r>
              <a:rPr lang="fr-FR" dirty="0"/>
              <a:t> Master </a:t>
            </a:r>
            <a:r>
              <a:rPr lang="fr-FR" dirty="0" err="1"/>
              <a:t>subtitle</a:t>
            </a:r>
            <a:r>
              <a:rPr lang="fr-FR" dirty="0"/>
              <a:t> style</a:t>
            </a: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fr-FR" sz="900" smtClean="0">
                <a:solidFill>
                  <a:schemeClr val="tx1"/>
                </a:solidFill>
                <a:latin typeface="+mn-lt"/>
                <a:ea typeface="+mn-ea"/>
                <a:cs typeface="Arial" panose="020B0604020202020204" pitchFamily="34" charset="0"/>
              </a:rPr>
              <a:pPr algn="r" defTabSz="610744" fontAlgn="auto">
                <a:spcBef>
                  <a:spcPts val="0"/>
                </a:spcBef>
                <a:spcAft>
                  <a:spcPts val="0"/>
                </a:spcAft>
                <a:defRPr/>
              </a:pPr>
              <a:t>‹nr.›</a:t>
            </a:fld>
            <a:endParaRPr lang="fr-FR" sz="90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7"/>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fr-FR"/>
              <a:t>Bron: …</a:t>
            </a:r>
          </a:p>
        </p:txBody>
      </p:sp>
      <p:sp>
        <p:nvSpPr>
          <p:cNvPr id="11" name="1. On-page tracker">
            <a:extLst>
              <a:ext uri="{FF2B5EF4-FFF2-40B4-BE49-F238E27FC236}">
                <a16:creationId xmlns:a16="http://schemas.microsoft.com/office/drawing/2014/main" id="{0364ABB4-AE33-4DE9-A20C-DBDBFEC0CA11}"/>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fr-FR" dirty="0" err="1"/>
              <a:t>Add</a:t>
            </a:r>
            <a:r>
              <a:rPr lang="fr-FR" dirty="0"/>
              <a:t> tracker</a:t>
            </a:r>
          </a:p>
        </p:txBody>
      </p:sp>
    </p:spTree>
    <p:extLst>
      <p:ext uri="{BB962C8B-B14F-4D97-AF65-F5344CB8AC3E}">
        <p14:creationId xmlns:p14="http://schemas.microsoft.com/office/powerpoint/2010/main" val="385451508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EDB0C68-81D8-4BCB-8FED-587D098337DD}"/>
              </a:ext>
            </a:extLst>
          </p:cNvPr>
          <p:cNvGraphicFramePr>
            <a:graphicFrameLocks noChangeAspect="1"/>
          </p:cNvGraphicFramePr>
          <p:nvPr userDrawn="1">
            <p:custDataLst>
              <p:tags r:id="rId2"/>
            </p:custDataLst>
            <p:extLst>
              <p:ext uri="{D42A27DB-BD31-4B8C-83A1-F6EECF244321}">
                <p14:modId xmlns:p14="http://schemas.microsoft.com/office/powerpoint/2010/main" val="41697496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9" name="think-cell Slide" r:id="rId9" imgW="592" imgH="591" progId="TCLayout.ActiveDocument.1">
                  <p:embed/>
                </p:oleObj>
              </mc:Choice>
              <mc:Fallback>
                <p:oleObj name="think-cell Slide" r:id="rId9" imgW="592" imgH="591"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EAA134-9792-4D41-898E-A83D3A4E3D69}"/>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err="1">
              <a:solidFill>
                <a:schemeClr val="bg1"/>
              </a:solidFill>
              <a:latin typeface="Calibri" panose="020F0502020204030204" pitchFamily="34" charset="0"/>
              <a:ea typeface="+mj-ea"/>
              <a:cs typeface="+mj-cs"/>
              <a:sym typeface="Calibri" panose="020F050202020403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706563"/>
            <a:ext cx="3813048" cy="769441"/>
          </a:xfrm>
          <a:prstGeom prst="rect">
            <a:avLst/>
          </a:prstGeom>
        </p:spPr>
        <p:txBody>
          <a:bodyPr anchor="t">
            <a:spAutoFit/>
          </a:bodyPr>
          <a:lstStyle>
            <a:lvl1pPr>
              <a:defRPr>
                <a:ln w="6350" cap="flat">
                  <a:noFill/>
                  <a:miter lim="800000"/>
                </a:ln>
              </a:defRPr>
            </a:lvl1pPr>
          </a:lstStyle>
          <a:p>
            <a:r>
              <a:rPr lang="fr-FR" dirty="0"/>
              <a:t>Click to </a:t>
            </a:r>
            <a:r>
              <a:rPr lang="fr-FR" dirty="0" err="1"/>
              <a:t>edit</a:t>
            </a:r>
            <a:r>
              <a:rPr lang="fr-FR" dirty="0"/>
              <a:t> Master </a:t>
            </a:r>
            <a:r>
              <a:rPr lang="fr-FR" dirty="0" err="1"/>
              <a:t>title</a:t>
            </a:r>
            <a:r>
              <a:rPr lang="fr-FR" dirty="0"/>
              <a:t>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fr-FR" sz="900" smtClean="0">
                <a:solidFill>
                  <a:schemeClr val="tx1"/>
                </a:solidFill>
                <a:latin typeface="+mn-lt"/>
                <a:ea typeface="+mn-ea"/>
                <a:cs typeface="Arial" panose="020B0604020202020204" pitchFamily="34" charset="0"/>
              </a:rPr>
              <a:pPr algn="r" defTabSz="610744" fontAlgn="auto">
                <a:spcBef>
                  <a:spcPts val="0"/>
                </a:spcBef>
                <a:spcAft>
                  <a:spcPts val="0"/>
                </a:spcAft>
                <a:defRPr/>
              </a:pPr>
              <a:t>‹nr.›</a:t>
            </a:fld>
            <a:endParaRPr lang="fr-FR"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6"/>
            </p:custDataLst>
          </p:nvPr>
        </p:nvSpPr>
        <p:spPr>
          <a:xfrm>
            <a:off x="554735"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800"/>
              <a:t>Bron: …</a:t>
            </a:r>
          </a:p>
        </p:txBody>
      </p:sp>
      <p:sp>
        <p:nvSpPr>
          <p:cNvPr id="9" name="1. On-page tracker">
            <a:extLst>
              <a:ext uri="{FF2B5EF4-FFF2-40B4-BE49-F238E27FC236}">
                <a16:creationId xmlns:a16="http://schemas.microsoft.com/office/drawing/2014/main" id="{79744E48-04EF-4FA7-AF06-13E2E4A9BC59}"/>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fr-FR" dirty="0" err="1"/>
              <a:t>Add</a:t>
            </a:r>
            <a:r>
              <a:rPr lang="fr-FR" dirty="0"/>
              <a:t> tracker</a:t>
            </a:r>
          </a:p>
        </p:txBody>
      </p:sp>
    </p:spTree>
    <p:extLst>
      <p:ext uri="{BB962C8B-B14F-4D97-AF65-F5344CB8AC3E}">
        <p14:creationId xmlns:p14="http://schemas.microsoft.com/office/powerpoint/2010/main" val="92196645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0AAB5F-CF0A-4C58-81CA-92C1A8CB9003}"/>
              </a:ext>
            </a:extLst>
          </p:cNvPr>
          <p:cNvGraphicFramePr>
            <a:graphicFrameLocks noChangeAspect="1"/>
          </p:cNvGraphicFramePr>
          <p:nvPr userDrawn="1">
            <p:custDataLst>
              <p:tags r:id="rId2"/>
            </p:custDataLst>
            <p:extLst>
              <p:ext uri="{D42A27DB-BD31-4B8C-83A1-F6EECF244321}">
                <p14:modId xmlns:p14="http://schemas.microsoft.com/office/powerpoint/2010/main" val="2366987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3" name="think-cell Slide" r:id="rId9" imgW="592" imgH="591" progId="TCLayout.ActiveDocument.1">
                  <p:embed/>
                </p:oleObj>
              </mc:Choice>
              <mc:Fallback>
                <p:oleObj name="think-cell Slide" r:id="rId9" imgW="592" imgH="591"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A53433-5DFE-4583-A5C0-DE3F3C3DDE88}"/>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err="1">
              <a:solidFill>
                <a:schemeClr val="bg1"/>
              </a:solidFill>
              <a:latin typeface="Calibri" panose="020F0502020204030204" pitchFamily="34" charset="0"/>
              <a:ea typeface="+mj-ea"/>
              <a:cs typeface="+mj-cs"/>
              <a:sym typeface="Calibri" panose="020F050202020403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236640"/>
            <a:ext cx="5065776" cy="384721"/>
          </a:xfrm>
          <a:prstGeom prst="rect">
            <a:avLst/>
          </a:prstGeom>
        </p:spPr>
        <p:txBody>
          <a:bodyPr rIns="365760" anchor="ctr">
            <a:spAutoFit/>
          </a:bodyPr>
          <a:lstStyle>
            <a:lvl1pPr>
              <a:defRPr>
                <a:ln w="6350" cap="flat">
                  <a:noFill/>
                  <a:miter lim="800000"/>
                </a:ln>
              </a:defRPr>
            </a:lvl1pPr>
          </a:lstStyle>
          <a:p>
            <a:r>
              <a:rPr lang="fr-FR" dirty="0"/>
              <a:t>Click to </a:t>
            </a:r>
            <a:r>
              <a:rPr lang="fr-FR" dirty="0" err="1"/>
              <a:t>edit</a:t>
            </a:r>
            <a:r>
              <a:rPr lang="fr-FR" dirty="0"/>
              <a:t> Master </a:t>
            </a:r>
            <a:r>
              <a:rPr lang="fr-FR" dirty="0" err="1"/>
              <a:t>title</a:t>
            </a:r>
            <a:r>
              <a:rPr lang="fr-FR" dirty="0"/>
              <a:t>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fr-FR" sz="900" smtClean="0">
                <a:solidFill>
                  <a:schemeClr val="tx1"/>
                </a:solidFill>
                <a:latin typeface="+mn-lt"/>
                <a:ea typeface="+mn-ea"/>
                <a:cs typeface="Arial" panose="020B0604020202020204" pitchFamily="34" charset="0"/>
              </a:rPr>
              <a:pPr algn="r" defTabSz="610744" fontAlgn="auto">
                <a:spcBef>
                  <a:spcPts val="0"/>
                </a:spcBef>
                <a:spcAft>
                  <a:spcPts val="0"/>
                </a:spcAft>
                <a:defRPr/>
              </a:pPr>
              <a:t>‹nr.›</a:t>
            </a:fld>
            <a:endParaRPr lang="fr-FR"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800"/>
              <a:t>Bron: …</a:t>
            </a:r>
          </a:p>
        </p:txBody>
      </p:sp>
      <p:sp>
        <p:nvSpPr>
          <p:cNvPr id="10" name="1. On-page tracker">
            <a:extLst>
              <a:ext uri="{FF2B5EF4-FFF2-40B4-BE49-F238E27FC236}">
                <a16:creationId xmlns:a16="http://schemas.microsoft.com/office/drawing/2014/main" id="{29A5BC72-B58B-4282-B0EA-EE79CC589D7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fr-FR" dirty="0" err="1"/>
              <a:t>Add</a:t>
            </a:r>
            <a:r>
              <a:rPr lang="fr-FR" dirty="0"/>
              <a:t> tracker</a:t>
            </a:r>
          </a:p>
        </p:txBody>
      </p:sp>
    </p:spTree>
    <p:extLst>
      <p:ext uri="{BB962C8B-B14F-4D97-AF65-F5344CB8AC3E}">
        <p14:creationId xmlns:p14="http://schemas.microsoft.com/office/powerpoint/2010/main" val="352829456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8064E9-3153-4628-A7D5-81F8DEADB0D6}"/>
              </a:ext>
            </a:extLst>
          </p:cNvPr>
          <p:cNvGraphicFramePr>
            <a:graphicFrameLocks noChangeAspect="1"/>
          </p:cNvGraphicFramePr>
          <p:nvPr userDrawn="1">
            <p:custDataLst>
              <p:tags r:id="rId2"/>
            </p:custDataLst>
            <p:extLst>
              <p:ext uri="{D42A27DB-BD31-4B8C-83A1-F6EECF244321}">
                <p14:modId xmlns:p14="http://schemas.microsoft.com/office/powerpoint/2010/main" val="1512441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7" name="think-cell Slide" r:id="rId9" imgW="592" imgH="591" progId="TCLayout.ActiveDocument.1">
                  <p:embed/>
                </p:oleObj>
              </mc:Choice>
              <mc:Fallback>
                <p:oleObj name="think-cell Slide" r:id="rId9" imgW="592" imgH="591"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4FCABF2-1291-4CAB-A39C-0FDD2FD8A1F5}"/>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100000"/>
              </a:lnSpc>
              <a:defRPr sz="4400"/>
            </a:lvl1pPr>
          </a:lstStyle>
          <a:p>
            <a:r>
              <a:rPr lang="fr-FR" dirty="0"/>
              <a:t>Click to </a:t>
            </a:r>
            <a:r>
              <a:rPr lang="fr-FR" dirty="0" err="1"/>
              <a:t>edit</a:t>
            </a:r>
            <a:r>
              <a:rPr lang="fr-FR" dirty="0"/>
              <a:t> Master </a:t>
            </a:r>
            <a:r>
              <a:rPr lang="fr-FR" dirty="0" err="1"/>
              <a:t>title</a:t>
            </a:r>
            <a:r>
              <a:rPr lang="fr-FR" dirty="0"/>
              <a:t>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fr-FR" sz="900" smtClean="0">
                <a:solidFill>
                  <a:schemeClr val="tx1"/>
                </a:solidFill>
                <a:latin typeface="+mn-lt"/>
                <a:ea typeface="+mn-ea"/>
                <a:cs typeface="Arial" panose="020B0604020202020204" pitchFamily="34" charset="0"/>
              </a:rPr>
              <a:pPr algn="r" defTabSz="610744" fontAlgn="auto">
                <a:spcBef>
                  <a:spcPts val="0"/>
                </a:spcBef>
                <a:spcAft>
                  <a:spcPts val="0"/>
                </a:spcAft>
                <a:defRPr/>
              </a:pPr>
              <a:t>‹nr.›</a:t>
            </a:fld>
            <a:endParaRPr lang="fr-FR"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800"/>
              <a:t>Bron: …</a:t>
            </a:r>
          </a:p>
        </p:txBody>
      </p:sp>
      <p:sp>
        <p:nvSpPr>
          <p:cNvPr id="9" name="1. On-page tracker">
            <a:extLst>
              <a:ext uri="{FF2B5EF4-FFF2-40B4-BE49-F238E27FC236}">
                <a16:creationId xmlns:a16="http://schemas.microsoft.com/office/drawing/2014/main" id="{8F89071A-FCD4-4931-B959-81108D770B1E}"/>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fr-FR" dirty="0" err="1"/>
              <a:t>Add</a:t>
            </a:r>
            <a:r>
              <a:rPr lang="fr-FR" dirty="0"/>
              <a:t> tracker</a:t>
            </a:r>
          </a:p>
        </p:txBody>
      </p:sp>
    </p:spTree>
    <p:extLst>
      <p:ext uri="{BB962C8B-B14F-4D97-AF65-F5344CB8AC3E}">
        <p14:creationId xmlns:p14="http://schemas.microsoft.com/office/powerpoint/2010/main" val="377501537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2273FB-3270-4181-86FF-C1D92782D49D}"/>
              </a:ext>
            </a:extLst>
          </p:cNvPr>
          <p:cNvGraphicFramePr>
            <a:graphicFrameLocks noChangeAspect="1"/>
          </p:cNvGraphicFramePr>
          <p:nvPr userDrawn="1">
            <p:custDataLst>
              <p:tags r:id="rId2"/>
            </p:custDataLst>
            <p:extLst>
              <p:ext uri="{D42A27DB-BD31-4B8C-83A1-F6EECF244321}">
                <p14:modId xmlns:p14="http://schemas.microsoft.com/office/powerpoint/2010/main" val="15769193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1" name="think-cell Slide" r:id="rId10" imgW="592" imgH="591" progId="TCLayout.ActiveDocument.1">
                  <p:embed/>
                </p:oleObj>
              </mc:Choice>
              <mc:Fallback>
                <p:oleObj name="think-cell Slide" r:id="rId10" imgW="592" imgH="591"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E3D51E-EFF4-4CED-8D1C-0D351D7D3278}"/>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3400" b="1" i="0" baseline="0" err="1">
              <a:solidFill>
                <a:schemeClr val="bg1"/>
              </a:solidFill>
              <a:latin typeface="Calibri" panose="020F0502020204030204" pitchFamily="34" charset="0"/>
              <a:ea typeface="+mj-ea"/>
              <a:cs typeface="+mj-cs"/>
              <a:sym typeface="Calibri" panose="020F0502020204030204" pitchFamily="34"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4"/>
            </p:custDataLst>
          </p:nvPr>
        </p:nvSpPr>
        <p:spPr>
          <a:xfrm>
            <a:off x="1505712" y="3556229"/>
            <a:ext cx="9180576" cy="523220"/>
          </a:xfrm>
          <a:prstGeom prst="rect">
            <a:avLst/>
          </a:prstGeom>
        </p:spPr>
        <p:txBody>
          <a:bodyPr>
            <a:spAutoFit/>
          </a:bodyPr>
          <a:lstStyle>
            <a:lvl1pPr>
              <a:lnSpc>
                <a:spcPct val="105000"/>
              </a:lnSpc>
              <a:defRPr sz="3400"/>
            </a:lvl1pPr>
          </a:lstStyle>
          <a:p>
            <a:r>
              <a:rPr lang="fr-FR" dirty="0"/>
              <a:t>“Click to </a:t>
            </a:r>
            <a:r>
              <a:rPr lang="fr-FR" dirty="0" err="1"/>
              <a:t>add</a:t>
            </a:r>
            <a:r>
              <a:rPr lang="fr-FR" dirty="0"/>
              <a:t> </a:t>
            </a:r>
            <a:r>
              <a:rPr lang="fr-FR" dirty="0" err="1"/>
              <a:t>quote</a:t>
            </a:r>
            <a:endParaRPr lang="fr-FR" dirty="0"/>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5"/>
            </p:custDataLst>
          </p:nvPr>
        </p:nvSpPr>
        <p:spPr>
          <a:xfrm>
            <a:off x="1505712" y="4284630"/>
            <a:ext cx="91805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dirty="0"/>
              <a:t>Click to </a:t>
            </a:r>
            <a:r>
              <a:rPr lang="fr-FR" dirty="0" err="1"/>
              <a:t>add</a:t>
            </a:r>
            <a:r>
              <a:rPr lang="fr-FR" dirty="0"/>
              <a:t> </a:t>
            </a:r>
            <a:r>
              <a:rPr lang="fr-FR" dirty="0" err="1"/>
              <a:t>quote</a:t>
            </a:r>
            <a:r>
              <a:rPr lang="fr-FR" dirty="0"/>
              <a:t>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fr-FR" sz="900" smtClean="0">
                <a:solidFill>
                  <a:schemeClr val="tx1"/>
                </a:solidFill>
                <a:latin typeface="+mn-lt"/>
                <a:ea typeface="+mn-ea"/>
                <a:cs typeface="Arial" panose="020B0604020202020204" pitchFamily="34" charset="0"/>
              </a:rPr>
              <a:pPr algn="r" defTabSz="610744" fontAlgn="auto">
                <a:spcBef>
                  <a:spcPts val="0"/>
                </a:spcBef>
                <a:spcAft>
                  <a:spcPts val="0"/>
                </a:spcAft>
                <a:defRPr/>
              </a:pPr>
              <a:t>‹nr.›</a:t>
            </a:fld>
            <a:endParaRPr lang="fr-FR" sz="90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800"/>
              <a:t>Bron: …</a:t>
            </a:r>
          </a:p>
        </p:txBody>
      </p:sp>
      <p:sp>
        <p:nvSpPr>
          <p:cNvPr id="10" name="1. On-page tracker">
            <a:extLst>
              <a:ext uri="{FF2B5EF4-FFF2-40B4-BE49-F238E27FC236}">
                <a16:creationId xmlns:a16="http://schemas.microsoft.com/office/drawing/2014/main" id="{878CBA30-A797-424E-A56B-F43F015ECE96}"/>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fr-FR" dirty="0" err="1"/>
              <a:t>Add</a:t>
            </a:r>
            <a:r>
              <a:rPr lang="fr-FR" dirty="0"/>
              <a:t> tracker</a:t>
            </a:r>
          </a:p>
        </p:txBody>
      </p:sp>
    </p:spTree>
    <p:extLst>
      <p:ext uri="{BB962C8B-B14F-4D97-AF65-F5344CB8AC3E}">
        <p14:creationId xmlns:p14="http://schemas.microsoft.com/office/powerpoint/2010/main" val="231267882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2"/>
            </p:custDataLst>
            <p:extLst>
              <p:ext uri="{D42A27DB-BD31-4B8C-83A1-F6EECF244321}">
                <p14:modId xmlns:p14="http://schemas.microsoft.com/office/powerpoint/2010/main" val="3049614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5" name="think-cell Slide" r:id="rId12" imgW="413" imgH="416" progId="TCLayout.ActiveDocument.1">
                  <p:embed/>
                </p:oleObj>
              </mc:Choice>
              <mc:Fallback>
                <p:oleObj name="think-cell Slide" r:id="rId12" imgW="413" imgH="416" progId="TCLayout.ActiveDocument.1">
                  <p:embed/>
                  <p:pic>
                    <p:nvPicPr>
                      <p:cNvPr id="0" name=""/>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2BA1E0C-CA9F-489D-B144-727B655BD190}"/>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err="1">
              <a:solidFill>
                <a:schemeClr val="bg1"/>
              </a:solidFill>
              <a:latin typeface="Calibri" panose="020F0502020204030204" pitchFamily="34" charset="0"/>
              <a:ea typeface="+mj-ea"/>
              <a:cs typeface="+mj-cs"/>
              <a:sym typeface="Calibri" panose="020F050202020403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chemeClr val="bg2"/>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fr-FR" sz="900" smtClean="0">
                <a:solidFill>
                  <a:schemeClr val="tx1"/>
                </a:solidFill>
                <a:latin typeface="+mn-lt"/>
                <a:ea typeface="+mn-ea"/>
                <a:cs typeface="Arial" panose="020B0604020202020204" pitchFamily="34" charset="0"/>
              </a:rPr>
              <a:pPr algn="r" defTabSz="610744" fontAlgn="auto">
                <a:spcBef>
                  <a:spcPts val="0"/>
                </a:spcBef>
                <a:spcAft>
                  <a:spcPts val="0"/>
                </a:spcAft>
                <a:defRPr/>
              </a:pPr>
              <a:t>‹nr.›</a:t>
            </a:fld>
            <a:endParaRPr lang="fr-FR" sz="90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6"/>
            </p:custDataLst>
          </p:nvPr>
        </p:nvSpPr>
        <p:spPr>
          <a:xfrm>
            <a:off x="554736" y="2744369"/>
            <a:ext cx="2514600" cy="769441"/>
          </a:xfrm>
        </p:spPr>
        <p:txBody>
          <a:bodyPr anchor="b">
            <a:noAutofit/>
          </a:bodyPr>
          <a:lstStyle>
            <a:lvl1pPr>
              <a:defRPr>
                <a:solidFill>
                  <a:schemeClr val="accent2"/>
                </a:solidFill>
              </a:defRPr>
            </a:lvl1pPr>
          </a:lstStyle>
          <a:p>
            <a:r>
              <a:rPr lang="fr-FR" dirty="0"/>
              <a:t>Click to </a:t>
            </a:r>
            <a:r>
              <a:rPr lang="fr-FR" dirty="0" err="1"/>
              <a:t>edit</a:t>
            </a:r>
            <a:r>
              <a:rPr lang="fr-FR" dirty="0"/>
              <a:t> Master </a:t>
            </a:r>
            <a:r>
              <a:rPr lang="fr-FR" dirty="0" err="1"/>
              <a:t>title</a:t>
            </a:r>
            <a:endParaRPr lang="fr-FR" dirty="0"/>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7"/>
            </p:custDataLst>
          </p:nvPr>
        </p:nvSpPr>
        <p:spPr>
          <a:xfrm>
            <a:off x="554736" y="3659644"/>
            <a:ext cx="2514600" cy="553998"/>
          </a:xfrm>
          <a:prstGeom prst="rect">
            <a:avLst/>
          </a:prstGeom>
        </p:spPr>
        <p:txBody>
          <a:bodyPr wrap="square">
            <a:spAutoFit/>
          </a:bodyPr>
          <a:lstStyle>
            <a:lvl1pPr marL="0" indent="0" algn="l">
              <a:buNone/>
              <a:defRPr sz="18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fr-FR" dirty="0"/>
              <a:t>Click to </a:t>
            </a:r>
            <a:r>
              <a:rPr lang="fr-FR" dirty="0" err="1"/>
              <a:t>edit</a:t>
            </a:r>
            <a:r>
              <a:rPr lang="fr-FR" dirty="0"/>
              <a:t> Master </a:t>
            </a:r>
            <a:r>
              <a:rPr lang="fr-FR" dirty="0" err="1"/>
              <a:t>subtitle</a:t>
            </a:r>
            <a:r>
              <a:rPr lang="fr-FR" dirty="0"/>
              <a:t>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800">
                <a:solidFill>
                  <a:schemeClr val="bg2"/>
                </a:solidFill>
              </a:rPr>
              <a:t>Bron: …</a:t>
            </a:r>
          </a:p>
        </p:txBody>
      </p:sp>
      <p:sp>
        <p:nvSpPr>
          <p:cNvPr id="10" name="1. On-page tracker">
            <a:extLst>
              <a:ext uri="{FF2B5EF4-FFF2-40B4-BE49-F238E27FC236}">
                <a16:creationId xmlns:a16="http://schemas.microsoft.com/office/drawing/2014/main" id="{7E97B40B-AFF2-4819-823D-9831ADC756CA}"/>
              </a:ext>
            </a:extLst>
          </p:cNvPr>
          <p:cNvSpPr>
            <a:spLocks noGrp="1"/>
          </p:cNvSpPr>
          <p:nvPr>
            <p:ph type="body" sz="quarter" idx="10" hasCustomPrompt="1"/>
            <p:custDataLst>
              <p:tags r:id="rId9"/>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fr-FR" dirty="0" err="1"/>
              <a:t>Add</a:t>
            </a:r>
            <a:r>
              <a:rPr lang="fr-FR" dirty="0"/>
              <a:t> tracker</a:t>
            </a:r>
          </a:p>
        </p:txBody>
      </p:sp>
      <p:cxnSp>
        <p:nvCxnSpPr>
          <p:cNvPr id="11" name="TopLine">
            <a:extLst>
              <a:ext uri="{FF2B5EF4-FFF2-40B4-BE49-F238E27FC236}">
                <a16:creationId xmlns:a16="http://schemas.microsoft.com/office/drawing/2014/main" id="{EF0CC78C-5871-4BDF-B129-523852D2768C}"/>
              </a:ext>
            </a:extLst>
          </p:cNvPr>
          <p:cNvCxnSpPr>
            <a:cxnSpLocks/>
          </p:cNvCxnSpPr>
          <p:nvPr userDrawn="1">
            <p:custDataLst>
              <p:tags r:id="rId10"/>
            </p:custDataLst>
          </p:nvPr>
        </p:nvCxnSpPr>
        <p:spPr>
          <a:xfrm>
            <a:off x="554737" y="1181906"/>
            <a:ext cx="2514601" cy="0"/>
          </a:xfrm>
          <a:prstGeom prst="line">
            <a:avLst/>
          </a:prstGeom>
          <a:ln w="38100">
            <a:solidFill>
              <a:schemeClr val="accent2"/>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4380772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2"/>
            </p:custDataLst>
            <p:extLst>
              <p:ext uri="{D42A27DB-BD31-4B8C-83A1-F6EECF244321}">
                <p14:modId xmlns:p14="http://schemas.microsoft.com/office/powerpoint/2010/main" val="24236800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9" name="think-cell Slide" r:id="rId12" imgW="413" imgH="416" progId="TCLayout.ActiveDocument.1">
                  <p:embed/>
                </p:oleObj>
              </mc:Choice>
              <mc:Fallback>
                <p:oleObj name="think-cell Slide" r:id="rId12" imgW="413" imgH="416" progId="TCLayout.ActiveDocument.1">
                  <p:embed/>
                  <p:pic>
                    <p:nvPicPr>
                      <p:cNvPr id="0" name=""/>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FA1A46-CC63-4D80-904D-B75922926F0D}"/>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err="1">
              <a:solidFill>
                <a:schemeClr val="bg1"/>
              </a:solidFill>
              <a:latin typeface="Calibri" panose="020F0502020204030204" pitchFamily="34" charset="0"/>
              <a:ea typeface="+mj-ea"/>
              <a:cs typeface="+mj-cs"/>
              <a:sym typeface="Calibri" panose="020F050202020403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chemeClr val="bg2"/>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fr-FR" sz="900" smtClean="0">
                <a:solidFill>
                  <a:schemeClr val="tx1"/>
                </a:solidFill>
                <a:latin typeface="+mn-lt"/>
                <a:ea typeface="+mn-ea"/>
                <a:cs typeface="Arial" panose="020B0604020202020204" pitchFamily="34" charset="0"/>
              </a:rPr>
              <a:pPr algn="r" defTabSz="610744" fontAlgn="auto">
                <a:spcBef>
                  <a:spcPts val="0"/>
                </a:spcBef>
                <a:spcAft>
                  <a:spcPts val="0"/>
                </a:spcAft>
                <a:defRPr/>
              </a:pPr>
              <a:t>‹nr.›</a:t>
            </a:fld>
            <a:endParaRPr lang="fr-FR" sz="900">
              <a:solidFill>
                <a:schemeClr val="tx1"/>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6"/>
            </p:custDataLst>
          </p:nvPr>
        </p:nvSpPr>
        <p:spPr>
          <a:xfrm>
            <a:off x="554736" y="2744369"/>
            <a:ext cx="3465576" cy="769441"/>
          </a:xfrm>
          <a:prstGeom prst="rect">
            <a:avLst/>
          </a:prstGeom>
        </p:spPr>
        <p:txBody>
          <a:bodyPr wrap="square" anchor="b">
            <a:noAutofit/>
          </a:bodyPr>
          <a:lstStyle>
            <a:lvl1pPr algn="l">
              <a:defRPr>
                <a:solidFill>
                  <a:schemeClr val="accent2"/>
                </a:solidFill>
              </a:defRPr>
            </a:lvl1pPr>
          </a:lstStyle>
          <a:p>
            <a:r>
              <a:rPr lang="fr-FR" dirty="0"/>
              <a:t>Click to </a:t>
            </a:r>
            <a:r>
              <a:rPr lang="fr-FR" dirty="0" err="1"/>
              <a:t>edit</a:t>
            </a:r>
            <a:r>
              <a:rPr lang="fr-FR" dirty="0"/>
              <a:t> Master </a:t>
            </a:r>
            <a:r>
              <a:rPr lang="fr-FR" dirty="0" err="1"/>
              <a:t>title</a:t>
            </a:r>
            <a:r>
              <a:rPr lang="fr-FR" dirty="0"/>
              <a:t>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7"/>
            </p:custDataLst>
          </p:nvPr>
        </p:nvSpPr>
        <p:spPr>
          <a:xfrm>
            <a:off x="554735" y="3659644"/>
            <a:ext cx="3465575" cy="276999"/>
          </a:xfrm>
          <a:prstGeom prst="rect">
            <a:avLst/>
          </a:prstGeom>
        </p:spPr>
        <p:txBody>
          <a:bodyPr wrap="square">
            <a:spAutoFit/>
          </a:bodyPr>
          <a:lstStyle>
            <a:lvl1pPr marL="0" indent="0" algn="l">
              <a:buNone/>
              <a:defRPr sz="18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fr-FR" dirty="0"/>
              <a:t>Click to </a:t>
            </a:r>
            <a:r>
              <a:rPr lang="fr-FR" dirty="0" err="1"/>
              <a:t>edit</a:t>
            </a:r>
            <a:r>
              <a:rPr lang="fr-FR" dirty="0"/>
              <a:t> Master </a:t>
            </a:r>
            <a:r>
              <a:rPr lang="fr-FR" dirty="0" err="1"/>
              <a:t>subtitle</a:t>
            </a:r>
            <a:r>
              <a:rPr lang="fr-FR" dirty="0"/>
              <a:t>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800">
                <a:solidFill>
                  <a:schemeClr val="bg2"/>
                </a:solidFill>
              </a:rPr>
              <a:t>Bron: …</a:t>
            </a:r>
          </a:p>
        </p:txBody>
      </p:sp>
      <p:sp>
        <p:nvSpPr>
          <p:cNvPr id="10" name="1. On-page tracker">
            <a:extLst>
              <a:ext uri="{FF2B5EF4-FFF2-40B4-BE49-F238E27FC236}">
                <a16:creationId xmlns:a16="http://schemas.microsoft.com/office/drawing/2014/main" id="{2635D98B-97DC-4A80-82A3-A8B3C701B736}"/>
              </a:ext>
            </a:extLst>
          </p:cNvPr>
          <p:cNvSpPr>
            <a:spLocks noGrp="1"/>
          </p:cNvSpPr>
          <p:nvPr>
            <p:ph type="body" sz="quarter" idx="10" hasCustomPrompt="1"/>
            <p:custDataLst>
              <p:tags r:id="rId9"/>
            </p:custDataLst>
          </p:nvPr>
        </p:nvSpPr>
        <p:spPr>
          <a:xfrm>
            <a:off x="554735" y="41597"/>
            <a:ext cx="3465575"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fr-FR" dirty="0" err="1"/>
              <a:t>Add</a:t>
            </a:r>
            <a:r>
              <a:rPr lang="fr-FR" dirty="0"/>
              <a:t> tracker</a:t>
            </a:r>
          </a:p>
        </p:txBody>
      </p:sp>
      <p:cxnSp>
        <p:nvCxnSpPr>
          <p:cNvPr id="11" name="TopLine">
            <a:extLst>
              <a:ext uri="{FF2B5EF4-FFF2-40B4-BE49-F238E27FC236}">
                <a16:creationId xmlns:a16="http://schemas.microsoft.com/office/drawing/2014/main" id="{565D49AE-5D4F-48BE-B15A-A406C8F7A04C}"/>
              </a:ext>
            </a:extLst>
          </p:cNvPr>
          <p:cNvCxnSpPr>
            <a:cxnSpLocks/>
          </p:cNvCxnSpPr>
          <p:nvPr userDrawn="1">
            <p:custDataLst>
              <p:tags r:id="rId10"/>
            </p:custDataLst>
          </p:nvPr>
        </p:nvCxnSpPr>
        <p:spPr>
          <a:xfrm>
            <a:off x="554736" y="1181906"/>
            <a:ext cx="3465576" cy="0"/>
          </a:xfrm>
          <a:prstGeom prst="line">
            <a:avLst/>
          </a:prstGeom>
          <a:ln w="38100">
            <a:solidFill>
              <a:schemeClr val="accent2"/>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2878802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2"/>
            </p:custDataLst>
            <p:extLst>
              <p:ext uri="{D42A27DB-BD31-4B8C-83A1-F6EECF244321}">
                <p14:modId xmlns:p14="http://schemas.microsoft.com/office/powerpoint/2010/main" val="20936489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3" name="think-cell Slide" r:id="rId12" imgW="592" imgH="591" progId="TCLayout.ActiveDocument.1">
                  <p:embed/>
                </p:oleObj>
              </mc:Choice>
              <mc:Fallback>
                <p:oleObj name="think-cell Slide" r:id="rId12" imgW="592" imgH="591" progId="TCLayout.ActiveDocument.1">
                  <p:embed/>
                  <p:pic>
                    <p:nvPicPr>
                      <p:cNvPr id="0" name=""/>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err="1">
              <a:solidFill>
                <a:schemeClr val="bg1"/>
              </a:solidFill>
              <a:latin typeface="Calibri" panose="020F0502020204030204" pitchFamily="34" charset="0"/>
              <a:ea typeface="+mj-ea"/>
              <a:cs typeface="+mj-cs"/>
              <a:sym typeface="Calibri" panose="020F050202020403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fr-FR" sz="900" smtClean="0">
                <a:solidFill>
                  <a:schemeClr val="tx1"/>
                </a:solidFill>
                <a:latin typeface="+mn-lt"/>
                <a:ea typeface="+mn-ea"/>
                <a:cs typeface="Arial" panose="020B0604020202020204" pitchFamily="34" charset="0"/>
              </a:rPr>
              <a:pPr algn="r" defTabSz="610744" fontAlgn="auto">
                <a:spcBef>
                  <a:spcPts val="0"/>
                </a:spcBef>
                <a:spcAft>
                  <a:spcPts val="0"/>
                </a:spcAft>
                <a:defRPr/>
              </a:pPr>
              <a:t>‹nr.›</a:t>
            </a:fld>
            <a:endParaRPr lang="fr-FR" sz="900">
              <a:solidFill>
                <a:schemeClr val="tx1"/>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6"/>
            </p:custDataLst>
          </p:nvPr>
        </p:nvSpPr>
        <p:spPr>
          <a:xfrm>
            <a:off x="554736" y="172212"/>
            <a:ext cx="5065776" cy="731520"/>
          </a:xfrm>
        </p:spPr>
        <p:txBody>
          <a:bodyPr>
            <a:noAutofit/>
          </a:bodyPr>
          <a:lstStyle>
            <a:lvl1pPr>
              <a:defRPr>
                <a:solidFill>
                  <a:schemeClr val="accent2"/>
                </a:solidFill>
              </a:defRPr>
            </a:lvl1pPr>
          </a:lstStyle>
          <a:p>
            <a:r>
              <a:rPr lang="fr-FR" dirty="0"/>
              <a:t>Click to </a:t>
            </a:r>
            <a:r>
              <a:rPr lang="fr-FR" dirty="0" err="1"/>
              <a:t>edit</a:t>
            </a:r>
            <a:r>
              <a:rPr lang="fr-FR" dirty="0"/>
              <a:t> Master </a:t>
            </a:r>
            <a:r>
              <a:rPr lang="fr-FR" dirty="0" err="1"/>
              <a:t>title</a:t>
            </a:r>
            <a:r>
              <a:rPr lang="fr-FR" dirty="0"/>
              <a:t>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7"/>
            </p:custDataLst>
          </p:nvPr>
        </p:nvSpPr>
        <p:spPr>
          <a:xfrm>
            <a:off x="554736" y="884725"/>
            <a:ext cx="5065776" cy="276999"/>
          </a:xfrm>
          <a:prstGeom prst="rect">
            <a:avLst/>
          </a:prstGeom>
        </p:spPr>
        <p:txBody>
          <a:bodyPr wrap="square">
            <a:spAutoFit/>
          </a:bodyPr>
          <a:lstStyle>
            <a:lvl1pPr marL="0" indent="0" algn="l">
              <a:buNone/>
              <a:defRPr sz="1800" b="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dirty="0"/>
              <a:t>Click to </a:t>
            </a:r>
            <a:r>
              <a:rPr lang="fr-FR" dirty="0" err="1"/>
              <a:t>edit</a:t>
            </a:r>
            <a:r>
              <a:rPr lang="fr-FR" dirty="0"/>
              <a:t> Master </a:t>
            </a:r>
            <a:r>
              <a:rPr lang="fr-FR" dirty="0" err="1"/>
              <a:t>subtitle</a:t>
            </a:r>
            <a:r>
              <a:rPr lang="fr-FR" dirty="0"/>
              <a:t>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800">
                <a:solidFill>
                  <a:schemeClr val="bg2"/>
                </a:solidFill>
              </a:rPr>
              <a:t>Bron: …</a:t>
            </a:r>
          </a:p>
        </p:txBody>
      </p:sp>
      <p:sp>
        <p:nvSpPr>
          <p:cNvPr id="10" name="1. On-page tracker">
            <a:extLst>
              <a:ext uri="{FF2B5EF4-FFF2-40B4-BE49-F238E27FC236}">
                <a16:creationId xmlns:a16="http://schemas.microsoft.com/office/drawing/2014/main" id="{A6404B0A-A2B8-4CC0-AACE-22B9A9D22DC4}"/>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fr-FR" dirty="0" err="1"/>
              <a:t>Add</a:t>
            </a:r>
            <a:r>
              <a:rPr lang="fr-FR" dirty="0"/>
              <a:t> tracker</a:t>
            </a:r>
          </a:p>
        </p:txBody>
      </p:sp>
      <p:cxnSp>
        <p:nvCxnSpPr>
          <p:cNvPr id="11" name="TopLine">
            <a:extLst>
              <a:ext uri="{FF2B5EF4-FFF2-40B4-BE49-F238E27FC236}">
                <a16:creationId xmlns:a16="http://schemas.microsoft.com/office/drawing/2014/main" id="{2E1289A5-EA19-448E-A071-E79648884EFC}"/>
              </a:ext>
            </a:extLst>
          </p:cNvPr>
          <p:cNvCxnSpPr>
            <a:cxnSpLocks/>
          </p:cNvCxnSpPr>
          <p:nvPr userDrawn="1">
            <p:custDataLst>
              <p:tags r:id="rId10"/>
            </p:custDataLst>
          </p:nvPr>
        </p:nvCxnSpPr>
        <p:spPr>
          <a:xfrm>
            <a:off x="554736" y="1181906"/>
            <a:ext cx="5065776" cy="0"/>
          </a:xfrm>
          <a:prstGeom prst="line">
            <a:avLst/>
          </a:prstGeom>
          <a:ln w="38100">
            <a:solidFill>
              <a:schemeClr val="accent2"/>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2471934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2721010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3" name="think-cell Slide" r:id="rId9" imgW="592" imgH="591" progId="TCLayout.ActiveDocument.1">
                  <p:embed/>
                </p:oleObj>
              </mc:Choice>
              <mc:Fallback>
                <p:oleObj name="think-cell Slide" r:id="rId9"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Calibri" panose="020F0502020204030204" pitchFamily="34" charset="0"/>
              <a:ea typeface="+mj-ea"/>
              <a:cs typeface="+mj-cs"/>
              <a:sym typeface="Calibri" panose="020F0502020204030204" pitchFamily="34" charset="0"/>
            </a:endParaRPr>
          </a:p>
        </p:txBody>
      </p:sp>
      <p:pic>
        <p:nvPicPr>
          <p:cNvPr id="4" name="Picture 3">
            <a:extLst>
              <a:ext uri="{FF2B5EF4-FFF2-40B4-BE49-F238E27FC236}">
                <a16:creationId xmlns:a16="http://schemas.microsoft.com/office/drawing/2014/main" id="{F9912E12-345A-43CB-9B47-C5A159E4101B}"/>
              </a:ext>
            </a:extLst>
          </p:cNvPr>
          <p:cNvPicPr>
            <a:picLocks noChangeAspect="1"/>
          </p:cNvPicPr>
          <p:nvPr userDrawn="1"/>
        </p:nvPicPr>
        <p:blipFill rotWithShape="1">
          <a:blip r:embed="rId11" cstate="print">
            <a:extLst>
              <a:ext uri="{28A0092B-C50C-407E-A947-70E740481C1C}">
                <a14:useLocalDpi xmlns:a14="http://schemas.microsoft.com/office/drawing/2010/main"/>
              </a:ext>
            </a:extLst>
          </a:blip>
          <a:srcRect/>
          <a:stretch/>
        </p:blipFill>
        <p:spPr>
          <a:xfrm>
            <a:off x="5834234" y="0"/>
            <a:ext cx="6357765" cy="6858000"/>
          </a:xfrm>
          <a:prstGeom prst="rect">
            <a:avLst/>
          </a:prstGeom>
        </p:spPr>
      </p:pic>
      <p:sp>
        <p:nvSpPr>
          <p:cNvPr id="15" name="Rectangle 14">
            <a:extLst>
              <a:ext uri="{FF2B5EF4-FFF2-40B4-BE49-F238E27FC236}">
                <a16:creationId xmlns:a16="http://schemas.microsoft.com/office/drawing/2014/main" id="{930421B2-398F-4F92-B6BD-250D26EA1334}"/>
              </a:ext>
            </a:extLst>
          </p:cNvPr>
          <p:cNvSpPr/>
          <p:nvPr userDrawn="1">
            <p:custDataLst>
              <p:tags r:id="rId4"/>
            </p:custDataLst>
          </p:nvPr>
        </p:nvSpPr>
        <p:spPr>
          <a:xfrm>
            <a:off x="5834235" y="3177"/>
            <a:ext cx="1127915" cy="1130298"/>
          </a:xfrm>
          <a:prstGeom prst="rect">
            <a:avLst/>
          </a:prstGeom>
          <a:gradFill flip="none" rotWithShape="1">
            <a:gsLst>
              <a:gs pos="0">
                <a:schemeClr val="bg1"/>
              </a:gs>
              <a:gs pos="100000">
                <a:schemeClr val="bg1">
                  <a:alpha val="0"/>
                </a:scheme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5"/>
            </p:custDataLst>
          </p:nvPr>
        </p:nvSpPr>
        <p:spPr>
          <a:xfrm>
            <a:off x="550291" y="5256647"/>
            <a:ext cx="520115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vl1pPr>
          </a:lstStyle>
          <a:p>
            <a:pPr lvl="0">
              <a:buNone/>
            </a:pPr>
            <a:r>
              <a:rPr lang="fr-FR" dirty="0"/>
              <a:t>Edit date or </a:t>
            </a:r>
            <a:r>
              <a:rPr lang="fr-FR" dirty="0" err="1"/>
              <a:t>title</a:t>
            </a:r>
            <a:r>
              <a:rPr lang="fr-FR" dirty="0"/>
              <a:t>/</a:t>
            </a:r>
            <a:r>
              <a:rPr lang="fr-FR" dirty="0" err="1"/>
              <a:t>role</a:t>
            </a:r>
            <a:endParaRPr lang="fr-FR" dirty="0"/>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6"/>
            </p:custDataLst>
          </p:nvPr>
        </p:nvSpPr>
        <p:spPr>
          <a:xfrm>
            <a:off x="550291" y="4839038"/>
            <a:ext cx="520115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lvl1pPr>
          </a:lstStyle>
          <a:p>
            <a:pPr lvl="0">
              <a:buNone/>
            </a:pPr>
            <a:r>
              <a:rPr lang="en-US"/>
              <a:t>Click to edit Master subtitle style</a:t>
            </a:r>
            <a:endParaRPr lang="fr-FR"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7"/>
            </p:custDataLst>
          </p:nvPr>
        </p:nvSpPr>
        <p:spPr>
          <a:xfrm>
            <a:off x="550291" y="3363775"/>
            <a:ext cx="520115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400" dirty="0"/>
            </a:lvl1pPr>
          </a:lstStyle>
          <a:p>
            <a:pPr lvl="0"/>
            <a:r>
              <a:rPr lang="en-US" dirty="0"/>
              <a:t>Click to edit Master title style</a:t>
            </a:r>
            <a:endParaRPr lang="fr-FR" dirty="0"/>
          </a:p>
        </p:txBody>
      </p:sp>
      <p:cxnSp>
        <p:nvCxnSpPr>
          <p:cNvPr id="14" name="Straight Connector 13">
            <a:extLst>
              <a:ext uri="{FF2B5EF4-FFF2-40B4-BE49-F238E27FC236}">
                <a16:creationId xmlns:a16="http://schemas.microsoft.com/office/drawing/2014/main" id="{408EE392-DF76-42AB-92BD-5703D54BEAC8}"/>
              </a:ext>
            </a:extLst>
          </p:cNvPr>
          <p:cNvCxnSpPr>
            <a:cxnSpLocks/>
          </p:cNvCxnSpPr>
          <p:nvPr userDrawn="1"/>
        </p:nvCxnSpPr>
        <p:spPr>
          <a:xfrm>
            <a:off x="5834235" y="1384300"/>
            <a:ext cx="0" cy="5473700"/>
          </a:xfrm>
          <a:prstGeom prst="line">
            <a:avLst/>
          </a:prstGeom>
          <a:ln w="6350" cap="flat">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C7EB3598-7F05-46B4-9CA0-550443E361B9}"/>
              </a:ext>
            </a:extLst>
          </p:cNvPr>
          <p:cNvSpPr/>
          <p:nvPr userDrawn="1"/>
        </p:nvSpPr>
        <p:spPr>
          <a:xfrm>
            <a:off x="5834234" y="1166813"/>
            <a:ext cx="1159497" cy="223837"/>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err="1">
              <a:solidFill>
                <a:schemeClr val="bg1"/>
              </a:solidFill>
            </a:endParaRPr>
          </a:p>
        </p:txBody>
      </p:sp>
      <p:pic>
        <p:nvPicPr>
          <p:cNvPr id="13" name="Picture 406" descr="Stichting leerKRACHT">
            <a:extLst>
              <a:ext uri="{FF2B5EF4-FFF2-40B4-BE49-F238E27FC236}">
                <a16:creationId xmlns:a16="http://schemas.microsoft.com/office/drawing/2014/main" id="{E0AD3919-01C7-4F6C-AEB8-40859AD68989}"/>
              </a:ext>
            </a:extLst>
          </p:cNvPr>
          <p:cNvPicPr>
            <a:picLocks noChangeAspect="1" noChangeArrowheads="1"/>
          </p:cNvPicPr>
          <p:nvPr userDrawn="1"/>
        </p:nvPicPr>
        <p:blipFill>
          <a:blip r:embed="rId12">
            <a:clrChange>
              <a:clrFrom>
                <a:srgbClr val="FFFFFF"/>
              </a:clrFrom>
              <a:clrTo>
                <a:srgbClr val="FFFFFF">
                  <a:alpha val="0"/>
                </a:srgbClr>
              </a:clrTo>
            </a:clrChange>
            <a:extLst>
              <a:ext uri="{BEBA8EAE-BF5A-486C-A8C5-ECC9F3942E4B}">
                <a14:imgProps xmlns:a14="http://schemas.microsoft.com/office/drawing/2010/main">
                  <a14:imgLayer r:embed="rId13">
                    <a14:imgEffect>
                      <a14:saturation sat="200000"/>
                    </a14:imgEffect>
                  </a14:imgLayer>
                </a14:imgProps>
              </a:ext>
              <a:ext uri="{28A0092B-C50C-407E-A947-70E740481C1C}">
                <a14:useLocalDpi xmlns:a14="http://schemas.microsoft.com/office/drawing/2010/main" val="0"/>
              </a:ext>
            </a:extLst>
          </a:blip>
          <a:srcRect/>
          <a:stretch>
            <a:fillRect/>
          </a:stretch>
        </p:blipFill>
        <p:spPr bwMode="auto">
          <a:xfrm>
            <a:off x="5229225" y="0"/>
            <a:ext cx="2465560" cy="24655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1318978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2929638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7" name="think-cell Slide" r:id="rId12" imgW="413" imgH="416" progId="TCLayout.ActiveDocument.1">
                  <p:embed/>
                </p:oleObj>
              </mc:Choice>
              <mc:Fallback>
                <p:oleObj name="think-cell Slide" r:id="rId12" imgW="413" imgH="416" progId="TCLayout.ActiveDocument.1">
                  <p:embed/>
                  <p:pic>
                    <p:nvPicPr>
                      <p:cNvPr id="0" name=""/>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err="1">
              <a:solidFill>
                <a:schemeClr val="bg1"/>
              </a:solidFill>
              <a:latin typeface="Calibri" panose="020F0502020204030204" pitchFamily="34" charset="0"/>
              <a:ea typeface="+mj-ea"/>
              <a:cs typeface="+mj-cs"/>
              <a:sym typeface="Calibri" panose="020F0502020204030204" pitchFamily="34" charset="0"/>
            </a:endParaRPr>
          </a:p>
        </p:txBody>
      </p:sp>
      <p:sp>
        <p:nvSpPr>
          <p:cNvPr id="20" name="2. Slide Title">
            <a:extLst>
              <a:ext uri="{FF2B5EF4-FFF2-40B4-BE49-F238E27FC236}">
                <a16:creationId xmlns:a16="http://schemas.microsoft.com/office/drawing/2014/main" id="{E1D61C74-F3E2-42EF-998D-BEC7B3EBD0BC}"/>
              </a:ext>
            </a:extLst>
          </p:cNvPr>
          <p:cNvSpPr>
            <a:spLocks noGrp="1"/>
          </p:cNvSpPr>
          <p:nvPr>
            <p:ph type="title"/>
            <p:custDataLst>
              <p:tags r:id="rId4"/>
            </p:custDataLst>
          </p:nvPr>
        </p:nvSpPr>
        <p:spPr>
          <a:xfrm>
            <a:off x="554736" y="172212"/>
            <a:ext cx="6967728" cy="731520"/>
          </a:xfrm>
        </p:spPr>
        <p:txBody>
          <a:bodyPr>
            <a:noAutofit/>
          </a:bodyPr>
          <a:lstStyle>
            <a:lvl1pPr>
              <a:defRPr>
                <a:solidFill>
                  <a:schemeClr val="accent2"/>
                </a:solidFill>
              </a:defRPr>
            </a:lvl1pPr>
          </a:lstStyle>
          <a:p>
            <a:r>
              <a:rPr lang="fr-FR" dirty="0"/>
              <a:t>Click to </a:t>
            </a:r>
            <a:r>
              <a:rPr lang="fr-FR" dirty="0" err="1"/>
              <a:t>edit</a:t>
            </a:r>
            <a:r>
              <a:rPr lang="fr-FR" dirty="0"/>
              <a:t> Master </a:t>
            </a:r>
            <a:r>
              <a:rPr lang="fr-FR" dirty="0" err="1"/>
              <a:t>title</a:t>
            </a:r>
            <a:r>
              <a:rPr lang="fr-FR" dirty="0"/>
              <a:t> style</a:t>
            </a: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fr-FR" sz="900" smtClean="0">
                <a:solidFill>
                  <a:schemeClr val="tx1"/>
                </a:solidFill>
                <a:latin typeface="+mn-lt"/>
                <a:ea typeface="+mn-ea"/>
                <a:cs typeface="Arial" panose="020B0604020202020204" pitchFamily="34" charset="0"/>
              </a:rPr>
              <a:pPr algn="r" defTabSz="610744" fontAlgn="auto">
                <a:spcBef>
                  <a:spcPts val="0"/>
                </a:spcBef>
                <a:spcAft>
                  <a:spcPts val="0"/>
                </a:spcAft>
                <a:defRPr/>
              </a:pPr>
              <a:t>‹nr.›</a:t>
            </a:fld>
            <a:endParaRPr lang="fr-FR" sz="900">
              <a:solidFill>
                <a:schemeClr val="tx1"/>
              </a:solidFill>
              <a:latin typeface="+mn-lt"/>
              <a:ea typeface="+mn-ea"/>
              <a:cs typeface="Arial" panose="020B0604020202020204" pitchFamily="34" charset="0"/>
            </a:endParaRPr>
          </a:p>
        </p:txBody>
      </p:sp>
      <p:sp>
        <p:nvSpPr>
          <p:cNvPr id="21" name="3. Subtitle">
            <a:extLst>
              <a:ext uri="{FF2B5EF4-FFF2-40B4-BE49-F238E27FC236}">
                <a16:creationId xmlns:a16="http://schemas.microsoft.com/office/drawing/2014/main" id="{48CA3F7F-79C3-4776-BD80-2B6BECA0AF60}"/>
              </a:ext>
            </a:extLst>
          </p:cNvPr>
          <p:cNvSpPr>
            <a:spLocks noGrp="1"/>
          </p:cNvSpPr>
          <p:nvPr>
            <p:ph type="subTitle" idx="1"/>
            <p:custDataLst>
              <p:tags r:id="rId7"/>
            </p:custDataLst>
          </p:nvPr>
        </p:nvSpPr>
        <p:spPr>
          <a:xfrm>
            <a:off x="554736" y="884725"/>
            <a:ext cx="6967728" cy="276999"/>
          </a:xfrm>
          <a:prstGeom prst="rect">
            <a:avLst/>
          </a:prstGeom>
        </p:spPr>
        <p:txBody>
          <a:bodyPr wrap="square">
            <a:spAutoFit/>
          </a:bodyPr>
          <a:lstStyle>
            <a:lvl1pPr marL="0" indent="0" algn="l">
              <a:buNone/>
              <a:defRPr sz="1800" b="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dirty="0"/>
              <a:t>Click to </a:t>
            </a:r>
            <a:r>
              <a:rPr lang="fr-FR" dirty="0" err="1"/>
              <a:t>edit</a:t>
            </a:r>
            <a:r>
              <a:rPr lang="fr-FR" dirty="0"/>
              <a:t> Master </a:t>
            </a:r>
            <a:r>
              <a:rPr lang="fr-FR" dirty="0" err="1"/>
              <a:t>subtitle</a:t>
            </a:r>
            <a:r>
              <a:rPr lang="fr-FR" dirty="0"/>
              <a:t> style</a:t>
            </a: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8"/>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800">
                <a:solidFill>
                  <a:schemeClr val="bg2"/>
                </a:solidFill>
              </a:rPr>
              <a:t>Bron: …</a:t>
            </a: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fr-FR" dirty="0" err="1"/>
              <a:t>Add</a:t>
            </a:r>
            <a:r>
              <a:rPr lang="fr-FR" dirty="0"/>
              <a:t> tracker</a:t>
            </a:r>
          </a:p>
        </p:txBody>
      </p:sp>
      <p:cxnSp>
        <p:nvCxnSpPr>
          <p:cNvPr id="11" name="TopLine">
            <a:extLst>
              <a:ext uri="{FF2B5EF4-FFF2-40B4-BE49-F238E27FC236}">
                <a16:creationId xmlns:a16="http://schemas.microsoft.com/office/drawing/2014/main" id="{06525DFD-5521-4B12-A13C-C8E7B3CD17CE}"/>
              </a:ext>
            </a:extLst>
          </p:cNvPr>
          <p:cNvCxnSpPr>
            <a:cxnSpLocks/>
          </p:cNvCxnSpPr>
          <p:nvPr userDrawn="1">
            <p:custDataLst>
              <p:tags r:id="rId10"/>
            </p:custDataLst>
          </p:nvPr>
        </p:nvCxnSpPr>
        <p:spPr>
          <a:xfrm>
            <a:off x="554736" y="1181906"/>
            <a:ext cx="6967728" cy="0"/>
          </a:xfrm>
          <a:prstGeom prst="line">
            <a:avLst/>
          </a:prstGeom>
          <a:ln w="38100">
            <a:solidFill>
              <a:schemeClr val="accent2"/>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6950300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2"/>
            </p:custDataLst>
            <p:extLst>
              <p:ext uri="{D42A27DB-BD31-4B8C-83A1-F6EECF244321}">
                <p14:modId xmlns:p14="http://schemas.microsoft.com/office/powerpoint/2010/main" val="36238735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1" name="think-cell Slide" r:id="rId12" imgW="473" imgH="473" progId="TCLayout.ActiveDocument.1">
                  <p:embed/>
                </p:oleObj>
              </mc:Choice>
              <mc:Fallback>
                <p:oleObj name="think-cell Slide" r:id="rId12"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err="1">
              <a:solidFill>
                <a:schemeClr val="bg1"/>
              </a:solidFill>
              <a:latin typeface="Calibri" panose="020F0502020204030204" pitchFamily="34" charset="0"/>
              <a:ea typeface="+mj-ea"/>
              <a:cs typeface="+mj-cs"/>
              <a:sym typeface="Calibri" panose="020F050202020403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4"/>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fr-FR" sz="900" b="0" i="0" u="none" strike="noStrike" kern="1200" cap="none" spc="0" normalizeH="0" baseline="0" noProof="0" smtClean="0">
                <a:ln>
                  <a:noFill/>
                </a:ln>
                <a:solidFill>
                  <a:schemeClr val="tx1"/>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nr.›</a:t>
            </a:fld>
            <a:endParaRPr kumimoji="0" lang="fr-FR" sz="900" b="0" i="0" u="none" strike="noStrike" kern="1200" cap="none" spc="0" normalizeH="0" baseline="0" noProof="0">
              <a:ln>
                <a:noFill/>
              </a:ln>
              <a:solidFill>
                <a:schemeClr val="tx1"/>
              </a:solidFill>
              <a:effectLst/>
              <a:uLnTx/>
              <a:uFillTx/>
              <a:latin typeface="Arial"/>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6"/>
            </p:custDataLst>
          </p:nvPr>
        </p:nvSpPr>
        <p:spPr>
          <a:xfrm>
            <a:off x="554736" y="172212"/>
            <a:ext cx="7918704" cy="731520"/>
          </a:xfrm>
        </p:spPr>
        <p:txBody>
          <a:bodyPr>
            <a:noAutofit/>
          </a:bodyPr>
          <a:lstStyle>
            <a:lvl1pPr>
              <a:defRPr>
                <a:solidFill>
                  <a:schemeClr val="accent2"/>
                </a:solidFill>
              </a:defRPr>
            </a:lvl1pPr>
          </a:lstStyle>
          <a:p>
            <a:r>
              <a:rPr lang="fr-FR" dirty="0"/>
              <a:t>Click to </a:t>
            </a:r>
            <a:r>
              <a:rPr lang="fr-FR" dirty="0" err="1"/>
              <a:t>edit</a:t>
            </a:r>
            <a:r>
              <a:rPr lang="fr-FR" dirty="0"/>
              <a:t> Master </a:t>
            </a:r>
            <a:r>
              <a:rPr lang="fr-FR" dirty="0" err="1"/>
              <a:t>title</a:t>
            </a:r>
            <a:r>
              <a:rPr lang="fr-FR" dirty="0"/>
              <a:t>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7"/>
            </p:custDataLst>
          </p:nvPr>
        </p:nvSpPr>
        <p:spPr>
          <a:xfrm>
            <a:off x="554736" y="884725"/>
            <a:ext cx="7918704" cy="276999"/>
          </a:xfrm>
          <a:prstGeom prst="rect">
            <a:avLst/>
          </a:prstGeom>
        </p:spPr>
        <p:txBody>
          <a:bodyPr wrap="square">
            <a:spAutoFit/>
          </a:bodyPr>
          <a:lstStyle>
            <a:lvl1pPr marL="0" indent="0" algn="l">
              <a:buNone/>
              <a:defRPr sz="1800" b="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dirty="0"/>
              <a:t>Click to </a:t>
            </a:r>
            <a:r>
              <a:rPr lang="fr-FR" dirty="0" err="1"/>
              <a:t>edit</a:t>
            </a:r>
            <a:r>
              <a:rPr lang="fr-FR" dirty="0"/>
              <a:t> Master </a:t>
            </a:r>
            <a:r>
              <a:rPr lang="fr-FR" dirty="0" err="1"/>
              <a:t>subtitle</a:t>
            </a:r>
            <a:r>
              <a:rPr lang="fr-FR" dirty="0"/>
              <a:t>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fr-FR" sz="800" b="0" i="0" u="none" strike="noStrike" kern="1200" cap="none" spc="0" normalizeH="0" baseline="0" noProof="0">
                <a:ln>
                  <a:noFill/>
                </a:ln>
                <a:solidFill>
                  <a:srgbClr val="000000"/>
                </a:solidFill>
                <a:effectLst/>
                <a:uLnTx/>
                <a:uFillTx/>
                <a:latin typeface="+mn-lt"/>
                <a:ea typeface="+mn-ea"/>
                <a:cs typeface="Arial" panose="020B0604020202020204" pitchFamily="34" charset="0"/>
              </a:rPr>
              <a:t>Bron: …</a:t>
            </a: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fr-FR" dirty="0" err="1"/>
              <a:t>Add</a:t>
            </a:r>
            <a:r>
              <a:rPr lang="fr-FR" dirty="0"/>
              <a:t> tracker</a:t>
            </a:r>
          </a:p>
        </p:txBody>
      </p:sp>
      <p:cxnSp>
        <p:nvCxnSpPr>
          <p:cNvPr id="11" name="TopLine">
            <a:extLst>
              <a:ext uri="{FF2B5EF4-FFF2-40B4-BE49-F238E27FC236}">
                <a16:creationId xmlns:a16="http://schemas.microsoft.com/office/drawing/2014/main" id="{F5D2E318-CE66-49FA-962A-33DAB9180572}"/>
              </a:ext>
            </a:extLst>
          </p:cNvPr>
          <p:cNvCxnSpPr>
            <a:cxnSpLocks/>
          </p:cNvCxnSpPr>
          <p:nvPr userDrawn="1">
            <p:custDataLst>
              <p:tags r:id="rId10"/>
            </p:custDataLst>
          </p:nvPr>
        </p:nvCxnSpPr>
        <p:spPr>
          <a:xfrm>
            <a:off x="554736" y="1181906"/>
            <a:ext cx="7918704" cy="0"/>
          </a:xfrm>
          <a:prstGeom prst="line">
            <a:avLst/>
          </a:prstGeom>
          <a:ln w="38100">
            <a:solidFill>
              <a:schemeClr val="accent2"/>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1309816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937BF69-DBBB-44FA-AA65-8999BD8B4E5F}"/>
              </a:ext>
            </a:extLst>
          </p:cNvPr>
          <p:cNvGraphicFramePr>
            <a:graphicFrameLocks noChangeAspect="1"/>
          </p:cNvGraphicFramePr>
          <p:nvPr userDrawn="1">
            <p:custDataLst>
              <p:tags r:id="rId2"/>
            </p:custDataLst>
            <p:extLst>
              <p:ext uri="{D42A27DB-BD31-4B8C-83A1-F6EECF244321}">
                <p14:modId xmlns:p14="http://schemas.microsoft.com/office/powerpoint/2010/main" val="10154222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5" name="think-cell Slide" r:id="rId10" imgW="592" imgH="591" progId="TCLayout.ActiveDocument.1">
                  <p:embed/>
                </p:oleObj>
              </mc:Choice>
              <mc:Fallback>
                <p:oleObj name="think-cell Slide" r:id="rId10" imgW="592" imgH="591"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440E0BC-D285-4CB0-BC8F-8E2C57BF2A20}"/>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err="1">
              <a:solidFill>
                <a:schemeClr val="bg1"/>
              </a:solidFill>
              <a:latin typeface="Calibri" panose="020F0502020204030204" pitchFamily="34" charset="0"/>
              <a:ea typeface="+mj-ea"/>
              <a:cs typeface="+mj-cs"/>
              <a:sym typeface="Calibri" panose="020F050202020403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fr-FR" sz="900" smtClean="0">
                <a:solidFill>
                  <a:schemeClr val="tx1"/>
                </a:solidFill>
                <a:latin typeface="+mn-lt"/>
                <a:ea typeface="+mn-ea"/>
                <a:cs typeface="Arial" panose="020B0604020202020204" pitchFamily="34" charset="0"/>
              </a:rPr>
              <a:pPr algn="r" defTabSz="610744" fontAlgn="auto">
                <a:spcBef>
                  <a:spcPts val="0"/>
                </a:spcBef>
                <a:spcAft>
                  <a:spcPts val="0"/>
                </a:spcAft>
                <a:defRPr/>
              </a:pPr>
              <a:t>‹nr.›</a:t>
            </a:fld>
            <a:endParaRPr lang="fr-FR"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818434"/>
            <a:ext cx="11082528" cy="346249"/>
          </a:xfrm>
        </p:spPr>
        <p:txBody>
          <a:bodyPr>
            <a:spAutoFit/>
          </a:bodyPr>
          <a:lstStyle>
            <a:lvl1pPr>
              <a:lnSpc>
                <a:spcPct val="90000"/>
              </a:lnSpc>
              <a:defRPr/>
            </a:lvl1pPr>
          </a:lstStyle>
          <a:p>
            <a:r>
              <a:rPr lang="fr-FR" dirty="0"/>
              <a:t>Click to </a:t>
            </a:r>
            <a:r>
              <a:rPr lang="fr-FR" dirty="0" err="1"/>
              <a:t>edit</a:t>
            </a:r>
            <a:r>
              <a:rPr lang="fr-FR" dirty="0"/>
              <a:t> Master </a:t>
            </a:r>
            <a:r>
              <a:rPr lang="fr-FR" dirty="0" err="1"/>
              <a:t>title</a:t>
            </a:r>
            <a:r>
              <a:rPr lang="fr-FR" dirty="0"/>
              <a:t>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800"/>
              <a:t>Bron: …</a:t>
            </a:r>
          </a:p>
        </p:txBody>
      </p:sp>
      <p:sp>
        <p:nvSpPr>
          <p:cNvPr id="8" name="1. On-page tracker">
            <a:extLst>
              <a:ext uri="{FF2B5EF4-FFF2-40B4-BE49-F238E27FC236}">
                <a16:creationId xmlns:a16="http://schemas.microsoft.com/office/drawing/2014/main" id="{B5C5F547-1B1B-411D-99AF-7DE767A71F19}"/>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fr-FR" dirty="0" err="1"/>
              <a:t>Add</a:t>
            </a:r>
            <a:r>
              <a:rPr lang="fr-FR" dirty="0"/>
              <a:t> tracker</a:t>
            </a:r>
          </a:p>
        </p:txBody>
      </p:sp>
      <p:cxnSp>
        <p:nvCxnSpPr>
          <p:cNvPr id="9" name="TopLine">
            <a:extLst>
              <a:ext uri="{FF2B5EF4-FFF2-40B4-BE49-F238E27FC236}">
                <a16:creationId xmlns:a16="http://schemas.microsoft.com/office/drawing/2014/main" id="{37B7CDEE-E71C-4818-A15A-74318E95682C}"/>
              </a:ext>
            </a:extLst>
          </p:cNvPr>
          <p:cNvCxnSpPr>
            <a:cxnSpLocks/>
          </p:cNvCxnSpPr>
          <p:nvPr userDrawn="1">
            <p:custDataLst>
              <p:tags r:id="rId8"/>
            </p:custDataLst>
          </p:nvPr>
        </p:nvCxnSpPr>
        <p:spPr>
          <a:xfrm>
            <a:off x="554736" y="1181906"/>
            <a:ext cx="11082528" cy="0"/>
          </a:xfrm>
          <a:prstGeom prst="line">
            <a:avLst/>
          </a:prstGeom>
          <a:ln w="3810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4640795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D2BF5E-92A7-41C4-93AE-C72274D09CB7}"/>
              </a:ext>
            </a:extLst>
          </p:cNvPr>
          <p:cNvGraphicFramePr>
            <a:graphicFrameLocks noChangeAspect="1"/>
          </p:cNvGraphicFramePr>
          <p:nvPr userDrawn="1">
            <p:custDataLst>
              <p:tags r:id="rId2"/>
            </p:custDataLst>
            <p:extLst>
              <p:ext uri="{D42A27DB-BD31-4B8C-83A1-F6EECF244321}">
                <p14:modId xmlns:p14="http://schemas.microsoft.com/office/powerpoint/2010/main" val="1849499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19" name="think-cell Slide" r:id="rId7" imgW="592" imgH="591" progId="TCLayout.ActiveDocument.1">
                  <p:embed/>
                </p:oleObj>
              </mc:Choice>
              <mc:Fallback>
                <p:oleObj name="think-cell Slide" r:id="rId7" imgW="592" imgH="591"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fr-FR" sz="900" smtClean="0">
                <a:solidFill>
                  <a:schemeClr val="tx1"/>
                </a:solidFill>
                <a:latin typeface="+mn-lt"/>
                <a:ea typeface="+mn-ea"/>
                <a:cs typeface="Arial" panose="020B0604020202020204" pitchFamily="34" charset="0"/>
              </a:rPr>
              <a:pPr algn="r" defTabSz="610744" fontAlgn="auto">
                <a:spcBef>
                  <a:spcPts val="0"/>
                </a:spcBef>
                <a:spcAft>
                  <a:spcPts val="0"/>
                </a:spcAft>
                <a:defRPr/>
              </a:pPr>
              <a:t>‹nr.›</a:t>
            </a:fld>
            <a:endParaRPr lang="fr-FR"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800"/>
              <a:t>Bron: …</a:t>
            </a:r>
          </a:p>
        </p:txBody>
      </p:sp>
      <p:sp>
        <p:nvSpPr>
          <p:cNvPr id="7" name="1. On-page tracker">
            <a:extLst>
              <a:ext uri="{FF2B5EF4-FFF2-40B4-BE49-F238E27FC236}">
                <a16:creationId xmlns:a16="http://schemas.microsoft.com/office/drawing/2014/main" id="{E9E206AB-587F-4AC2-9EF7-AA339899F4BB}"/>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fr-FR" dirty="0" err="1"/>
              <a:t>Add</a:t>
            </a:r>
            <a:r>
              <a:rPr lang="fr-FR" dirty="0"/>
              <a:t> tracker</a:t>
            </a:r>
          </a:p>
        </p:txBody>
      </p:sp>
    </p:spTree>
    <p:extLst>
      <p:ext uri="{BB962C8B-B14F-4D97-AF65-F5344CB8AC3E}">
        <p14:creationId xmlns:p14="http://schemas.microsoft.com/office/powerpoint/2010/main" val="31964906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A9CF6F9-3F22-4C1D-8F1F-9500FF412228}"/>
              </a:ext>
            </a:extLst>
          </p:cNvPr>
          <p:cNvGraphicFramePr>
            <a:graphicFrameLocks noChangeAspect="1"/>
          </p:cNvGraphicFramePr>
          <p:nvPr userDrawn="1">
            <p:custDataLst>
              <p:tags r:id="rId2"/>
            </p:custDataLst>
            <p:extLst>
              <p:ext uri="{D42A27DB-BD31-4B8C-83A1-F6EECF244321}">
                <p14:modId xmlns:p14="http://schemas.microsoft.com/office/powerpoint/2010/main" val="1162545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3" name="think-cell Slide" r:id="rId5" imgW="592" imgH="591" progId="TCLayout.ActiveDocument.1">
                  <p:embed/>
                </p:oleObj>
              </mc:Choice>
              <mc:Fallback>
                <p:oleObj name="think-cell Slide" r:id="rId5" imgW="592" imgH="59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2C0F0369-A05A-4C71-BEF4-919325CA87CA}"/>
              </a:ext>
            </a:extLst>
          </p:cNvPr>
          <p:cNvSpPr/>
          <p:nvPr userDrawn="1"/>
        </p:nvSpPr>
        <p:spPr>
          <a:xfrm>
            <a:off x="1181100" y="1002171"/>
            <a:ext cx="9829800" cy="4853659"/>
          </a:xfrm>
          <a:prstGeom prst="rect">
            <a:avLst/>
          </a:prstGeom>
          <a:solidFill>
            <a:schemeClr val="tx1"/>
          </a:solidFill>
          <a:ln w="3810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0" name="5. Source" hidden="1">
            <a:extLst>
              <a:ext uri="{FF2B5EF4-FFF2-40B4-BE49-F238E27FC236}">
                <a16:creationId xmlns:a16="http://schemas.microsoft.com/office/drawing/2014/main" id="{EED9D83D-9CC3-45F3-876D-CC42BC0B70E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800"/>
              <a:t>Bron: …</a:t>
            </a:r>
          </a:p>
        </p:txBody>
      </p:sp>
      <p:sp>
        <p:nvSpPr>
          <p:cNvPr id="4" name="TextBox 3">
            <a:extLst>
              <a:ext uri="{FF2B5EF4-FFF2-40B4-BE49-F238E27FC236}">
                <a16:creationId xmlns:a16="http://schemas.microsoft.com/office/drawing/2014/main" id="{EFE4B0DD-C87F-42ED-8766-3A6165CEF729}"/>
              </a:ext>
            </a:extLst>
          </p:cNvPr>
          <p:cNvSpPr txBox="1"/>
          <p:nvPr userDrawn="1"/>
        </p:nvSpPr>
        <p:spPr>
          <a:xfrm>
            <a:off x="4064000" y="2367171"/>
            <a:ext cx="4064000" cy="212365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fr-FR" sz="13800">
                <a:solidFill>
                  <a:schemeClr val="bg1"/>
                </a:solidFill>
              </a:rPr>
              <a:t>END</a:t>
            </a:r>
          </a:p>
        </p:txBody>
      </p:sp>
    </p:spTree>
    <p:extLst>
      <p:ext uri="{BB962C8B-B14F-4D97-AF65-F5344CB8AC3E}">
        <p14:creationId xmlns:p14="http://schemas.microsoft.com/office/powerpoint/2010/main" val="36779002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911083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7" name="think-cell Slide" r:id="rId10" imgW="413" imgH="416" progId="TCLayout.ActiveDocument.1">
                  <p:embed/>
                </p:oleObj>
              </mc:Choice>
              <mc:Fallback>
                <p:oleObj name="think-cell Slide" r:id="rId10" imgW="413" imgH="416"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err="1">
              <a:solidFill>
                <a:schemeClr val="bg1"/>
              </a:solidFill>
              <a:latin typeface="Calibri" panose="020F0502020204030204" pitchFamily="34" charset="0"/>
              <a:ea typeface="+mj-ea"/>
              <a:cs typeface="+mj-cs"/>
              <a:sym typeface="Calibri" panose="020F050202020403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519011"/>
            <a:ext cx="11082528" cy="384721"/>
          </a:xfrm>
        </p:spPr>
        <p:txBody>
          <a:bodyPr vert="horz" wrap="square" lIns="0" tIns="0" rIns="0" bIns="0" rtlCol="0" anchor="b" anchorCtr="0">
            <a:spAutoFit/>
          </a:bodyPr>
          <a:lstStyle>
            <a:lvl1pPr>
              <a:defRPr lang="en-US" dirty="0">
                <a:solidFill>
                  <a:schemeClr val="accent2"/>
                </a:solidFill>
              </a:defRPr>
            </a:lvl1pPr>
          </a:lstStyle>
          <a:p>
            <a:pPr lvl="0"/>
            <a:r>
              <a:rPr lang="en-US"/>
              <a:t>Click to edit Master title style</a:t>
            </a:r>
            <a:endParaRPr lang="fr-FR"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endParaRPr lang="fr-FR"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fr-FR"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r.›</a:t>
            </a:fld>
            <a:endParaRPr lang="fr-FR"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fr-FR"/>
              <a:t>Bron: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fr-FR" dirty="0" err="1"/>
              <a:t>Add</a:t>
            </a:r>
            <a:r>
              <a:rPr lang="fr-FR" dirty="0"/>
              <a:t> tracker</a:t>
            </a:r>
          </a:p>
        </p:txBody>
      </p:sp>
    </p:spTree>
    <p:extLst>
      <p:ext uri="{BB962C8B-B14F-4D97-AF65-F5344CB8AC3E}">
        <p14:creationId xmlns:p14="http://schemas.microsoft.com/office/powerpoint/2010/main" val="160822432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extLst>
              <p:ext uri="{D42A27DB-BD31-4B8C-83A1-F6EECF244321}">
                <p14:modId xmlns:p14="http://schemas.microsoft.com/office/powerpoint/2010/main" val="20572535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1" name="think-cell Slide" r:id="rId9" imgW="592" imgH="591" progId="TCLayout.ActiveDocument.1">
                  <p:embed/>
                </p:oleObj>
              </mc:Choice>
              <mc:Fallback>
                <p:oleObj name="think-cell Slide" r:id="rId9" imgW="592" imgH="591"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err="1">
              <a:solidFill>
                <a:schemeClr val="bg1"/>
              </a:solidFill>
              <a:latin typeface="Calibri" panose="020F0502020204030204" pitchFamily="34" charset="0"/>
              <a:ea typeface="+mj-ea"/>
              <a:cs typeface="+mj-cs"/>
              <a:sym typeface="Calibri" panose="020F050202020403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706563"/>
            <a:ext cx="3813048" cy="769441"/>
          </a:xfrm>
          <a:prstGeom prst="rect">
            <a:avLst/>
          </a:prstGeom>
        </p:spPr>
        <p:txBody>
          <a:bodyPr anchor="t">
            <a:spAutoFit/>
          </a:bodyPr>
          <a:lstStyle>
            <a:lvl1pPr>
              <a:lnSpc>
                <a:spcPct val="100000"/>
              </a:lnSpc>
              <a:defRPr>
                <a:ln w="6350" cap="flat">
                  <a:noFill/>
                  <a:miter lim="800000"/>
                </a:ln>
              </a:defRPr>
            </a:lvl1pPr>
          </a:lstStyle>
          <a:p>
            <a:r>
              <a:rPr lang="en-US"/>
              <a:t>Click to edit Master title style</a:t>
            </a:r>
            <a:endParaRPr lang="fr-FR"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fr-FR"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r.›</a:t>
            </a:fld>
            <a:endParaRPr lang="fr-FR" sz="900" b="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6"/>
            </p:custDataLst>
          </p:nvPr>
        </p:nvSpPr>
        <p:spPr>
          <a:xfrm>
            <a:off x="554735"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800"/>
              <a:t>Bron: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fr-FR" dirty="0" err="1"/>
              <a:t>Add</a:t>
            </a:r>
            <a:r>
              <a:rPr lang="fr-FR" dirty="0"/>
              <a:t> tracker</a:t>
            </a:r>
          </a:p>
        </p:txBody>
      </p:sp>
    </p:spTree>
    <p:extLst>
      <p:ext uri="{BB962C8B-B14F-4D97-AF65-F5344CB8AC3E}">
        <p14:creationId xmlns:p14="http://schemas.microsoft.com/office/powerpoint/2010/main" val="38524986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extLst>
              <p:ext uri="{D42A27DB-BD31-4B8C-83A1-F6EECF244321}">
                <p14:modId xmlns:p14="http://schemas.microsoft.com/office/powerpoint/2010/main" val="28381023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5" name="think-cell Slide" r:id="rId9" imgW="592" imgH="591" progId="TCLayout.ActiveDocument.1">
                  <p:embed/>
                </p:oleObj>
              </mc:Choice>
              <mc:Fallback>
                <p:oleObj name="think-cell Slide" r:id="rId9" imgW="592" imgH="591"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err="1">
              <a:solidFill>
                <a:schemeClr val="bg1"/>
              </a:solidFill>
              <a:latin typeface="Calibri" panose="020F0502020204030204" pitchFamily="34" charset="0"/>
              <a:ea typeface="+mj-ea"/>
              <a:cs typeface="+mj-cs"/>
              <a:sym typeface="Calibri" panose="020F050202020403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236640"/>
            <a:ext cx="5065776" cy="384721"/>
          </a:xfrm>
          <a:prstGeom prst="rect">
            <a:avLst/>
          </a:prstGeom>
        </p:spPr>
        <p:txBody>
          <a:bodyPr rIns="365760" anchor="ctr">
            <a:spAutoFit/>
          </a:bodyPr>
          <a:lstStyle>
            <a:lvl1pPr>
              <a:defRPr>
                <a:ln w="6350" cap="flat">
                  <a:noFill/>
                  <a:miter lim="800000"/>
                </a:ln>
              </a:defRPr>
            </a:lvl1pPr>
          </a:lstStyle>
          <a:p>
            <a:r>
              <a:rPr lang="en-US"/>
              <a:t>Click to edit Master title style</a:t>
            </a:r>
            <a:endParaRPr lang="fr-FR"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fr-FR"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r.›</a:t>
            </a:fld>
            <a:endParaRPr lang="fr-FR"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800"/>
              <a:t>Bron: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fr-FR" dirty="0" err="1"/>
              <a:t>Add</a:t>
            </a:r>
            <a:r>
              <a:rPr lang="fr-FR" dirty="0"/>
              <a:t> tracker</a:t>
            </a:r>
          </a:p>
        </p:txBody>
      </p:sp>
    </p:spTree>
    <p:extLst>
      <p:ext uri="{BB962C8B-B14F-4D97-AF65-F5344CB8AC3E}">
        <p14:creationId xmlns:p14="http://schemas.microsoft.com/office/powerpoint/2010/main" val="307970749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extLst>
              <p:ext uri="{D42A27DB-BD31-4B8C-83A1-F6EECF244321}">
                <p14:modId xmlns:p14="http://schemas.microsoft.com/office/powerpoint/2010/main" val="20311698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9" name="think-cell Slide" r:id="rId9" imgW="592" imgH="591" progId="TCLayout.ActiveDocument.1">
                  <p:embed/>
                </p:oleObj>
              </mc:Choice>
              <mc:Fallback>
                <p:oleObj name="think-cell Slide" r:id="rId9" imgW="592" imgH="591"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4400" b="1" i="0" baseline="0" err="1">
              <a:solidFill>
                <a:schemeClr val="bg1"/>
              </a:solidFill>
              <a:latin typeface="Calibri" panose="020F0502020204030204" pitchFamily="34" charset="0"/>
              <a:ea typeface="+mj-ea"/>
              <a:cs typeface="+mj-cs"/>
              <a:sym typeface="Calibri" panose="020F050202020403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spAutoFit/>
          </a:bodyPr>
          <a:lstStyle>
            <a:lvl1pPr>
              <a:lnSpc>
                <a:spcPct val="100000"/>
              </a:lnSpc>
              <a:defRPr sz="4400"/>
            </a:lvl1pPr>
          </a:lstStyle>
          <a:p>
            <a:r>
              <a:rPr lang="en-US"/>
              <a:t>Click to edit Master title style</a:t>
            </a:r>
            <a:endParaRPr lang="fr-FR"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fr-FR"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r.›</a:t>
            </a:fld>
            <a:endParaRPr lang="fr-FR" sz="900" b="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800"/>
              <a:t>Bron: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fr-FR" dirty="0" err="1"/>
              <a:t>Add</a:t>
            </a:r>
            <a:r>
              <a:rPr lang="fr-FR" dirty="0"/>
              <a:t> tracker</a:t>
            </a:r>
          </a:p>
        </p:txBody>
      </p:sp>
    </p:spTree>
    <p:extLst>
      <p:ext uri="{BB962C8B-B14F-4D97-AF65-F5344CB8AC3E}">
        <p14:creationId xmlns:p14="http://schemas.microsoft.com/office/powerpoint/2010/main" val="24970631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extLst>
              <p:ext uri="{D42A27DB-BD31-4B8C-83A1-F6EECF244321}">
                <p14:modId xmlns:p14="http://schemas.microsoft.com/office/powerpoint/2010/main" val="2074673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3" name="think-cell Slide" r:id="rId10" imgW="592" imgH="591" progId="TCLayout.ActiveDocument.1">
                  <p:embed/>
                </p:oleObj>
              </mc:Choice>
              <mc:Fallback>
                <p:oleObj name="think-cell Slide" r:id="rId10" imgW="592" imgH="591"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a:spAutoFit/>
          </a:bodyPr>
          <a:lstStyle>
            <a:lvl1pPr>
              <a:lnSpc>
                <a:spcPct val="105000"/>
              </a:lnSpc>
              <a:defRPr sz="3400"/>
            </a:lvl1pPr>
          </a:lstStyle>
          <a:p>
            <a:r>
              <a:rPr lang="fr-FR" dirty="0"/>
              <a:t>“Click to </a:t>
            </a:r>
            <a:r>
              <a:rPr lang="fr-FR" dirty="0" err="1"/>
              <a:t>add</a:t>
            </a:r>
            <a:r>
              <a:rPr lang="fr-FR" dirty="0"/>
              <a:t> </a:t>
            </a:r>
            <a:r>
              <a:rPr lang="fr-FR" dirty="0" err="1"/>
              <a:t>quote</a:t>
            </a:r>
            <a:endParaRPr lang="fr-FR" dirty="0"/>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dirty="0"/>
              <a:t>Click to </a:t>
            </a:r>
            <a:r>
              <a:rPr lang="fr-FR" dirty="0" err="1"/>
              <a:t>add</a:t>
            </a:r>
            <a:r>
              <a:rPr lang="fr-FR" dirty="0"/>
              <a:t> </a:t>
            </a:r>
            <a:r>
              <a:rPr lang="fr-FR" dirty="0" err="1"/>
              <a:t>quote</a:t>
            </a:r>
            <a:r>
              <a:rPr lang="fr-FR" dirty="0"/>
              <a:t>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fr-FR"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r.›</a:t>
            </a:fld>
            <a:endParaRPr lang="fr-FR" sz="900" b="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800"/>
              <a:t>Bron: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fr-FR" dirty="0" err="1"/>
              <a:t>Add</a:t>
            </a:r>
            <a:r>
              <a:rPr lang="fr-FR" dirty="0"/>
              <a:t> tracker</a:t>
            </a:r>
          </a:p>
        </p:txBody>
      </p:sp>
    </p:spTree>
    <p:extLst>
      <p:ext uri="{BB962C8B-B14F-4D97-AF65-F5344CB8AC3E}">
        <p14:creationId xmlns:p14="http://schemas.microsoft.com/office/powerpoint/2010/main" val="24116976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1344122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7" name="think-cell Slide" r:id="rId12" imgW="413" imgH="416" progId="TCLayout.ActiveDocument.1">
                  <p:embed/>
                </p:oleObj>
              </mc:Choice>
              <mc:Fallback>
                <p:oleObj name="think-cell Slide" r:id="rId12" imgW="413" imgH="416" progId="TCLayout.ActiveDocument.1">
                  <p:embed/>
                  <p:pic>
                    <p:nvPicPr>
                      <p:cNvPr id="0" name=""/>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err="1">
              <a:solidFill>
                <a:schemeClr val="bg1"/>
              </a:solidFill>
              <a:latin typeface="Calibri" panose="020F0502020204030204" pitchFamily="34" charset="0"/>
              <a:ea typeface="+mj-ea"/>
              <a:cs typeface="+mj-cs"/>
              <a:sym typeface="Calibri" panose="020F050202020403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tx2">
              <a:lumMod val="95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fr-FR"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r.›</a:t>
            </a:fld>
            <a:endParaRPr lang="fr-FR"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6"/>
            </p:custDataLst>
          </p:nvPr>
        </p:nvSpPr>
        <p:spPr>
          <a:xfrm>
            <a:off x="554736" y="2744369"/>
            <a:ext cx="2514600" cy="769441"/>
          </a:xfrm>
        </p:spPr>
        <p:txBody>
          <a:bodyPr anchor="b">
            <a:noAutofit/>
          </a:bodyPr>
          <a:lstStyle>
            <a:lvl1pPr>
              <a:defRPr>
                <a:solidFill>
                  <a:schemeClr val="accent2"/>
                </a:solidFill>
              </a:defRPr>
            </a:lvl1pPr>
          </a:lstStyle>
          <a:p>
            <a:r>
              <a:rPr lang="en-US"/>
              <a:t>Click to edit Master title style</a:t>
            </a:r>
            <a:endParaRPr lang="fr-FR"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7"/>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fr-FR"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800"/>
              <a:t>Bron: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9"/>
            </p:custDataLst>
          </p:nvPr>
        </p:nvSpPr>
        <p:spPr>
          <a:xfrm>
            <a:off x="554735" y="41597"/>
            <a:ext cx="2514601" cy="123111"/>
          </a:xfrm>
          <a:prstGeom prst="rect">
            <a:avLst/>
          </a:prstGeom>
          <a:ln w="6350">
            <a:noFill/>
            <a:miter lim="800000"/>
          </a:ln>
        </p:spPr>
        <p:txBody>
          <a:bodyPr vert="horz" wrap="square" lIns="0" tIns="0" rIns="0" bIns="0" rtlCol="0">
            <a:noAutofit/>
          </a:bodyPr>
          <a:lstStyle>
            <a:lvl1pPr>
              <a:defRPr lang="en-US" sz="800" b="0" dirty="0">
                <a:cs typeface="+mn-cs"/>
              </a:defRPr>
            </a:lvl1pPr>
          </a:lstStyle>
          <a:p>
            <a:pPr lvl="0">
              <a:buNone/>
            </a:pPr>
            <a:r>
              <a:rPr lang="fr-FR" dirty="0" err="1"/>
              <a:t>Add</a:t>
            </a:r>
            <a:r>
              <a:rPr lang="fr-FR" dirty="0"/>
              <a:t> tracker</a:t>
            </a:r>
          </a:p>
        </p:txBody>
      </p:sp>
      <p:cxnSp>
        <p:nvCxnSpPr>
          <p:cNvPr id="11" name="TopLine">
            <a:extLst>
              <a:ext uri="{FF2B5EF4-FFF2-40B4-BE49-F238E27FC236}">
                <a16:creationId xmlns:a16="http://schemas.microsoft.com/office/drawing/2014/main" id="{CB700A58-F250-411B-A5E3-21A0759C9E8F}"/>
              </a:ext>
            </a:extLst>
          </p:cNvPr>
          <p:cNvCxnSpPr>
            <a:cxnSpLocks/>
          </p:cNvCxnSpPr>
          <p:nvPr userDrawn="1">
            <p:custDataLst>
              <p:tags r:id="rId10"/>
            </p:custDataLst>
          </p:nvPr>
        </p:nvCxnSpPr>
        <p:spPr>
          <a:xfrm>
            <a:off x="554737" y="1181906"/>
            <a:ext cx="2514601" cy="0"/>
          </a:xfrm>
          <a:prstGeom prst="line">
            <a:avLst/>
          </a:prstGeom>
          <a:ln w="38100">
            <a:solidFill>
              <a:schemeClr val="accent2"/>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7036955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5.xml"/><Relationship Id="rId39" Type="http://schemas.openxmlformats.org/officeDocument/2006/relationships/tags" Target="../tags/tag18.xml"/><Relationship Id="rId21" Type="http://schemas.openxmlformats.org/officeDocument/2006/relationships/theme" Target="../theme/theme1.xml"/><Relationship Id="rId34" Type="http://schemas.openxmlformats.org/officeDocument/2006/relationships/tags" Target="../tags/tag13.xml"/><Relationship Id="rId42" Type="http://schemas.openxmlformats.org/officeDocument/2006/relationships/tags" Target="../tags/tag21.xml"/><Relationship Id="rId47" Type="http://schemas.openxmlformats.org/officeDocument/2006/relationships/tags" Target="../tags/tag26.xml"/><Relationship Id="rId50" Type="http://schemas.openxmlformats.org/officeDocument/2006/relationships/tags" Target="../tags/tag29.xml"/><Relationship Id="rId55"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tags" Target="../tags/tag8.xml"/><Relationship Id="rId11" Type="http://schemas.openxmlformats.org/officeDocument/2006/relationships/slideLayout" Target="../slideLayouts/slideLayout11.xml"/><Relationship Id="rId24" Type="http://schemas.openxmlformats.org/officeDocument/2006/relationships/tags" Target="../tags/tag3.xml"/><Relationship Id="rId32" Type="http://schemas.openxmlformats.org/officeDocument/2006/relationships/tags" Target="../tags/tag11.xml"/><Relationship Id="rId37" Type="http://schemas.openxmlformats.org/officeDocument/2006/relationships/tags" Target="../tags/tag16.xml"/><Relationship Id="rId40" Type="http://schemas.openxmlformats.org/officeDocument/2006/relationships/tags" Target="../tags/tag19.xml"/><Relationship Id="rId45" Type="http://schemas.openxmlformats.org/officeDocument/2006/relationships/tags" Target="../tags/tag24.xml"/><Relationship Id="rId53" Type="http://schemas.openxmlformats.org/officeDocument/2006/relationships/tags" Target="../tags/tag32.xml"/><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10.xml"/><Relationship Id="rId44" Type="http://schemas.openxmlformats.org/officeDocument/2006/relationships/tags" Target="../tags/tag23.xml"/><Relationship Id="rId52" Type="http://schemas.openxmlformats.org/officeDocument/2006/relationships/tags" Target="../tags/tag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vmlDrawing" Target="../drawings/vmlDrawing1.vml"/><Relationship Id="rId27" Type="http://schemas.openxmlformats.org/officeDocument/2006/relationships/tags" Target="../tags/tag6.xml"/><Relationship Id="rId30" Type="http://schemas.openxmlformats.org/officeDocument/2006/relationships/tags" Target="../tags/tag9.xml"/><Relationship Id="rId35" Type="http://schemas.openxmlformats.org/officeDocument/2006/relationships/tags" Target="../tags/tag14.xml"/><Relationship Id="rId43" Type="http://schemas.openxmlformats.org/officeDocument/2006/relationships/tags" Target="../tags/tag22.xml"/><Relationship Id="rId48" Type="http://schemas.openxmlformats.org/officeDocument/2006/relationships/tags" Target="../tags/tag27.xml"/><Relationship Id="rId56" Type="http://schemas.openxmlformats.org/officeDocument/2006/relationships/image" Target="../media/image1.emf"/><Relationship Id="rId8" Type="http://schemas.openxmlformats.org/officeDocument/2006/relationships/slideLayout" Target="../slideLayouts/slideLayout8.xml"/><Relationship Id="rId51" Type="http://schemas.openxmlformats.org/officeDocument/2006/relationships/tags" Target="../tags/tag30.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4.xml"/><Relationship Id="rId33" Type="http://schemas.openxmlformats.org/officeDocument/2006/relationships/tags" Target="../tags/tag12.xml"/><Relationship Id="rId38" Type="http://schemas.openxmlformats.org/officeDocument/2006/relationships/tags" Target="../tags/tag17.xml"/><Relationship Id="rId46" Type="http://schemas.openxmlformats.org/officeDocument/2006/relationships/tags" Target="../tags/tag25.xml"/><Relationship Id="rId20" Type="http://schemas.openxmlformats.org/officeDocument/2006/relationships/slideLayout" Target="../slideLayouts/slideLayout20.xml"/><Relationship Id="rId41" Type="http://schemas.openxmlformats.org/officeDocument/2006/relationships/tags" Target="../tags/tag20.xml"/><Relationship Id="rId54" Type="http://schemas.openxmlformats.org/officeDocument/2006/relationships/tags" Target="../tags/tag33.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tags" Target="../tags/tag2.xml"/><Relationship Id="rId28" Type="http://schemas.openxmlformats.org/officeDocument/2006/relationships/tags" Target="../tags/tag7.xml"/><Relationship Id="rId36" Type="http://schemas.openxmlformats.org/officeDocument/2006/relationships/tags" Target="../tags/tag15.xml"/><Relationship Id="rId49" Type="http://schemas.openxmlformats.org/officeDocument/2006/relationships/tags" Target="../tags/tag2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3.xml"/><Relationship Id="rId18" Type="http://schemas.openxmlformats.org/officeDocument/2006/relationships/tags" Target="../tags/tag155.xml"/><Relationship Id="rId26" Type="http://schemas.openxmlformats.org/officeDocument/2006/relationships/tags" Target="../tags/tag163.xml"/><Relationship Id="rId39" Type="http://schemas.openxmlformats.org/officeDocument/2006/relationships/oleObject" Target="../embeddings/oleObject20.bin"/><Relationship Id="rId21" Type="http://schemas.openxmlformats.org/officeDocument/2006/relationships/tags" Target="../tags/tag158.xml"/><Relationship Id="rId34" Type="http://schemas.openxmlformats.org/officeDocument/2006/relationships/tags" Target="../tags/tag171.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tags" Target="../tags/tag154.xml"/><Relationship Id="rId25" Type="http://schemas.openxmlformats.org/officeDocument/2006/relationships/tags" Target="../tags/tag162.xml"/><Relationship Id="rId33" Type="http://schemas.openxmlformats.org/officeDocument/2006/relationships/tags" Target="../tags/tag170.xml"/><Relationship Id="rId38" Type="http://schemas.openxmlformats.org/officeDocument/2006/relationships/tags" Target="../tags/tag175.xml"/><Relationship Id="rId2" Type="http://schemas.openxmlformats.org/officeDocument/2006/relationships/slideLayout" Target="../slideLayouts/slideLayout22.xml"/><Relationship Id="rId16" Type="http://schemas.openxmlformats.org/officeDocument/2006/relationships/vmlDrawing" Target="../drawings/vmlDrawing20.vml"/><Relationship Id="rId20" Type="http://schemas.openxmlformats.org/officeDocument/2006/relationships/tags" Target="../tags/tag157.xml"/><Relationship Id="rId29" Type="http://schemas.openxmlformats.org/officeDocument/2006/relationships/tags" Target="../tags/tag166.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24" Type="http://schemas.openxmlformats.org/officeDocument/2006/relationships/tags" Target="../tags/tag161.xml"/><Relationship Id="rId32" Type="http://schemas.openxmlformats.org/officeDocument/2006/relationships/tags" Target="../tags/tag169.xml"/><Relationship Id="rId37" Type="http://schemas.openxmlformats.org/officeDocument/2006/relationships/tags" Target="../tags/tag174.xml"/><Relationship Id="rId40" Type="http://schemas.openxmlformats.org/officeDocument/2006/relationships/image" Target="../media/image2.emf"/><Relationship Id="rId5" Type="http://schemas.openxmlformats.org/officeDocument/2006/relationships/slideLayout" Target="../slideLayouts/slideLayout25.xml"/><Relationship Id="rId15" Type="http://schemas.openxmlformats.org/officeDocument/2006/relationships/theme" Target="../theme/theme2.xml"/><Relationship Id="rId23" Type="http://schemas.openxmlformats.org/officeDocument/2006/relationships/tags" Target="../tags/tag160.xml"/><Relationship Id="rId28" Type="http://schemas.openxmlformats.org/officeDocument/2006/relationships/tags" Target="../tags/tag165.xml"/><Relationship Id="rId36" Type="http://schemas.openxmlformats.org/officeDocument/2006/relationships/tags" Target="../tags/tag173.xml"/><Relationship Id="rId10" Type="http://schemas.openxmlformats.org/officeDocument/2006/relationships/slideLayout" Target="../slideLayouts/slideLayout30.xml"/><Relationship Id="rId19" Type="http://schemas.openxmlformats.org/officeDocument/2006/relationships/tags" Target="../tags/tag156.xml"/><Relationship Id="rId31" Type="http://schemas.openxmlformats.org/officeDocument/2006/relationships/tags" Target="../tags/tag168.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 Id="rId22" Type="http://schemas.openxmlformats.org/officeDocument/2006/relationships/tags" Target="../tags/tag159.xml"/><Relationship Id="rId27" Type="http://schemas.openxmlformats.org/officeDocument/2006/relationships/tags" Target="../tags/tag164.xml"/><Relationship Id="rId30" Type="http://schemas.openxmlformats.org/officeDocument/2006/relationships/tags" Target="../tags/tag167.xml"/><Relationship Id="rId35" Type="http://schemas.openxmlformats.org/officeDocument/2006/relationships/tags" Target="../tags/tag172.xml"/><Relationship Id="rId8" Type="http://schemas.openxmlformats.org/officeDocument/2006/relationships/slideLayout" Target="../slideLayouts/slideLayout28.xml"/><Relationship Id="rId3" Type="http://schemas.openxmlformats.org/officeDocument/2006/relationships/slideLayout" Target="../slideLayouts/slideLayout2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3"/>
            </p:custDataLst>
            <p:extLst>
              <p:ext uri="{D42A27DB-BD31-4B8C-83A1-F6EECF244321}">
                <p14:modId xmlns:p14="http://schemas.microsoft.com/office/powerpoint/2010/main" val="24803475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1" name="think-cell Slide" r:id="rId55" imgW="413" imgH="416" progId="TCLayout.ActiveDocument.1">
                  <p:embed/>
                </p:oleObj>
              </mc:Choice>
              <mc:Fallback>
                <p:oleObj name="think-cell Slide" r:id="rId55" imgW="413" imgH="416" progId="TCLayout.ActiveDocument.1">
                  <p:embed/>
                  <p:pic>
                    <p:nvPicPr>
                      <p:cNvPr id="0" name=""/>
                      <p:cNvPicPr/>
                      <p:nvPr/>
                    </p:nvPicPr>
                    <p:blipFill>
                      <a:blip r:embed="rId5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err="1">
              <a:solidFill>
                <a:schemeClr val="bg1"/>
              </a:solidFill>
              <a:latin typeface="Calibri" panose="020F0502020204030204" pitchFamily="34" charset="0"/>
              <a:ea typeface="+mj-ea"/>
              <a:cs typeface="+mj-cs"/>
              <a:sym typeface="Calibri" panose="020F050202020403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5"/>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fr-F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6"/>
            </p:custDataLst>
          </p:nvPr>
        </p:nvSpPr>
        <p:spPr>
          <a:xfrm>
            <a:off x="554736" y="172212"/>
            <a:ext cx="11082528" cy="731520"/>
          </a:xfrm>
          <a:prstGeom prst="rect">
            <a:avLst/>
          </a:prstGeom>
        </p:spPr>
        <p:txBody>
          <a:bodyPr vert="horz" wrap="square" lIns="0" tIns="0" rIns="0" bIns="0" rtlCol="0" anchor="b" anchorCtr="0">
            <a:noAutofit/>
          </a:bodyPr>
          <a:lstStyle/>
          <a:p>
            <a:pPr lvl="0"/>
            <a:r>
              <a:rPr lang="en-US"/>
              <a:t>Click to edit Master title style</a:t>
            </a:r>
            <a:endParaRPr lang="fr-FR"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89273"/>
            <a:ext cx="344646"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fr-FR"/>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7"/>
            </p:custDataLst>
          </p:nvPr>
        </p:nvSpPr>
        <p:spPr>
          <a:xfrm>
            <a:off x="5987739" y="2170800"/>
            <a:ext cx="2580590" cy="461665"/>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fr-FR" err="1"/>
              <a:t>Titel</a:t>
            </a:r>
            <a:br>
              <a:rPr lang="fr-FR" sz="1600" b="1"/>
            </a:br>
            <a:r>
              <a:rPr lang="fr-FR" sz="1400" b="0" err="1"/>
              <a:t>Meeteenheid</a:t>
            </a:r>
            <a:endParaRPr lang="fr-FR" sz="1400" b="0"/>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5" y="2170800"/>
            <a:ext cx="2607809"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grpSp>
        <p:nvGrpSpPr>
          <p:cNvPr id="170" name="LegendLines" hidden="1">
            <a:extLst>
              <a:ext uri="{FF2B5EF4-FFF2-40B4-BE49-F238E27FC236}">
                <a16:creationId xmlns:a16="http://schemas.microsoft.com/office/drawing/2014/main" id="{1CE0964D-664F-494F-9336-7D3A30AF4B7A}"/>
              </a:ext>
            </a:extLst>
          </p:cNvPr>
          <p:cNvGrpSpPr/>
          <p:nvPr userDrawn="1"/>
        </p:nvGrpSpPr>
        <p:grpSpPr>
          <a:xfrm>
            <a:off x="10217918" y="3150223"/>
            <a:ext cx="1337722" cy="958286"/>
            <a:chOff x="10162879" y="3243772"/>
            <a:chExt cx="1337722" cy="958286"/>
          </a:xfrm>
        </p:grpSpPr>
        <p:sp>
          <p:nvSpPr>
            <p:cNvPr id="171" name="Legend1" hidden="1">
              <a:extLst>
                <a:ext uri="{FF2B5EF4-FFF2-40B4-BE49-F238E27FC236}">
                  <a16:creationId xmlns:a16="http://schemas.microsoft.com/office/drawing/2014/main" id="{0CBFA5E3-8260-4E79-B8AF-B6C66BB95302}"/>
                </a:ext>
              </a:extLst>
            </p:cNvPr>
            <p:cNvSpPr txBox="1"/>
            <p:nvPr/>
          </p:nvSpPr>
          <p:spPr>
            <a:xfrm>
              <a:off x="10886522" y="3243772"/>
              <a:ext cx="614079" cy="215444"/>
            </a:xfrm>
            <a:prstGeom prst="rect">
              <a:avLst/>
            </a:prstGeom>
            <a:noFill/>
            <a:ln>
              <a:noFill/>
              <a:miter lim="800000"/>
            </a:ln>
          </p:spPr>
          <p:txBody>
            <a:bodyPr wrap="none" lIns="0" tIns="0" rIns="0" bIns="0" rtlCol="0" anchor="t" anchorCtr="0">
              <a:spAutoFit/>
            </a:bodyPr>
            <a:lstStyle/>
            <a:p>
              <a:pPr>
                <a:spcAft>
                  <a:spcPts val="600"/>
                </a:spcAft>
              </a:pPr>
              <a:r>
                <a:rPr lang="en-US" sz="1400" err="1"/>
                <a:t>Legenda</a:t>
              </a:r>
              <a:endParaRPr lang="en-US" sz="1400"/>
            </a:p>
          </p:txBody>
        </p:sp>
        <p:sp>
          <p:nvSpPr>
            <p:cNvPr id="172" name="Legend2" hidden="1">
              <a:extLst>
                <a:ext uri="{FF2B5EF4-FFF2-40B4-BE49-F238E27FC236}">
                  <a16:creationId xmlns:a16="http://schemas.microsoft.com/office/drawing/2014/main" id="{0296D65A-E039-4526-B849-8CB11B580033}"/>
                </a:ext>
              </a:extLst>
            </p:cNvPr>
            <p:cNvSpPr txBox="1"/>
            <p:nvPr/>
          </p:nvSpPr>
          <p:spPr>
            <a:xfrm>
              <a:off x="10886522" y="3615193"/>
              <a:ext cx="614079" cy="215444"/>
            </a:xfrm>
            <a:prstGeom prst="rect">
              <a:avLst/>
            </a:prstGeom>
            <a:noFill/>
            <a:ln>
              <a:noFill/>
              <a:miter lim="800000"/>
            </a:ln>
          </p:spPr>
          <p:txBody>
            <a:bodyPr wrap="none" lIns="0" tIns="0" rIns="0" bIns="0" rtlCol="0" anchor="t" anchorCtr="0">
              <a:spAutoFit/>
            </a:bodyPr>
            <a:lstStyle/>
            <a:p>
              <a:pPr>
                <a:spcAft>
                  <a:spcPts val="600"/>
                </a:spcAft>
              </a:pPr>
              <a:r>
                <a:rPr lang="en-US" sz="1400" err="1"/>
                <a:t>Legenda</a:t>
              </a:r>
              <a:endParaRPr lang="en-US" sz="1400"/>
            </a:p>
          </p:txBody>
        </p:sp>
        <p:sp>
          <p:nvSpPr>
            <p:cNvPr id="173" name="Legend3" hidden="1">
              <a:extLst>
                <a:ext uri="{FF2B5EF4-FFF2-40B4-BE49-F238E27FC236}">
                  <a16:creationId xmlns:a16="http://schemas.microsoft.com/office/drawing/2014/main" id="{E0345A24-F8F0-44F0-9EE7-50E9EC26C137}"/>
                </a:ext>
              </a:extLst>
            </p:cNvPr>
            <p:cNvSpPr txBox="1"/>
            <p:nvPr/>
          </p:nvSpPr>
          <p:spPr>
            <a:xfrm>
              <a:off x="10886522" y="3986614"/>
              <a:ext cx="614079" cy="215444"/>
            </a:xfrm>
            <a:prstGeom prst="rect">
              <a:avLst/>
            </a:prstGeom>
            <a:noFill/>
            <a:ln>
              <a:noFill/>
              <a:miter lim="800000"/>
            </a:ln>
          </p:spPr>
          <p:txBody>
            <a:bodyPr wrap="none" lIns="0" tIns="0" rIns="0" bIns="0" rtlCol="0" anchor="t" anchorCtr="0">
              <a:spAutoFit/>
            </a:bodyPr>
            <a:lstStyle/>
            <a:p>
              <a:pPr>
                <a:spcAft>
                  <a:spcPts val="600"/>
                </a:spcAft>
              </a:pPr>
              <a:r>
                <a:rPr lang="en-US" sz="1400" err="1"/>
                <a:t>Legenda</a:t>
              </a:r>
              <a:endParaRPr lang="en-US" sz="1400"/>
            </a:p>
          </p:txBody>
        </p:sp>
        <p:sp>
          <p:nvSpPr>
            <p:cNvPr id="174" name="LineLegend3" hidden="1">
              <a:extLst>
                <a:ext uri="{FF2B5EF4-FFF2-40B4-BE49-F238E27FC236}">
                  <a16:creationId xmlns:a16="http://schemas.microsoft.com/office/drawing/2014/main" id="{E2CF605D-4FB6-469E-8F2D-E57C4C2FA8E2}"/>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5" name="LineLegend2" hidden="1">
              <a:extLst>
                <a:ext uri="{FF2B5EF4-FFF2-40B4-BE49-F238E27FC236}">
                  <a16:creationId xmlns:a16="http://schemas.microsoft.com/office/drawing/2014/main" id="{38751331-2B98-46D3-9A7C-10B29F66D480}"/>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6" name="LineLegend1" hidden="1">
              <a:extLst>
                <a:ext uri="{FF2B5EF4-FFF2-40B4-BE49-F238E27FC236}">
                  <a16:creationId xmlns:a16="http://schemas.microsoft.com/office/drawing/2014/main" id="{A46A01C4-A58E-47F3-BA04-CFF73592B8AF}"/>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grpSp>
      <p:grpSp>
        <p:nvGrpSpPr>
          <p:cNvPr id="177" name="LegendMoons" hidden="1">
            <a:extLst>
              <a:ext uri="{FF2B5EF4-FFF2-40B4-BE49-F238E27FC236}">
                <a16:creationId xmlns:a16="http://schemas.microsoft.com/office/drawing/2014/main" id="{DB217F77-AB35-4987-B171-E47613719FE9}"/>
              </a:ext>
            </a:extLst>
          </p:cNvPr>
          <p:cNvGrpSpPr/>
          <p:nvPr userDrawn="1"/>
        </p:nvGrpSpPr>
        <p:grpSpPr>
          <a:xfrm>
            <a:off x="10588929" y="1145373"/>
            <a:ext cx="966711" cy="1731859"/>
            <a:chOff x="7723680" y="1702457"/>
            <a:chExt cx="966711" cy="1731859"/>
          </a:xfrm>
        </p:grpSpPr>
        <p:sp>
          <p:nvSpPr>
            <p:cNvPr id="178" name="Legend1" hidden="1">
              <a:extLst>
                <a:ext uri="{FF2B5EF4-FFF2-40B4-BE49-F238E27FC236}">
                  <a16:creationId xmlns:a16="http://schemas.microsoft.com/office/drawing/2014/main" id="{AD124C0D-B0E5-4D13-89DE-D95F3B0529F6}"/>
                </a:ext>
              </a:extLst>
            </p:cNvPr>
            <p:cNvSpPr txBox="1"/>
            <p:nvPr/>
          </p:nvSpPr>
          <p:spPr>
            <a:xfrm>
              <a:off x="8076312" y="1709816"/>
              <a:ext cx="614079" cy="215444"/>
            </a:xfrm>
            <a:prstGeom prst="rect">
              <a:avLst/>
            </a:prstGeom>
            <a:noFill/>
            <a:ln>
              <a:noFill/>
              <a:miter lim="800000"/>
            </a:ln>
          </p:spPr>
          <p:txBody>
            <a:bodyPr wrap="none" lIns="0" tIns="0" rIns="0" bIns="0" rtlCol="0" anchor="t" anchorCtr="0">
              <a:spAutoFit/>
            </a:bodyPr>
            <a:lstStyle/>
            <a:p>
              <a:pPr>
                <a:spcAft>
                  <a:spcPts val="600"/>
                </a:spcAft>
              </a:pPr>
              <a:r>
                <a:rPr lang="en-US" sz="1400" err="1"/>
                <a:t>Legenda</a:t>
              </a:r>
              <a:endParaRPr lang="en-US" sz="1400"/>
            </a:p>
          </p:txBody>
        </p:sp>
        <p:sp>
          <p:nvSpPr>
            <p:cNvPr id="186" name="Legend2" hidden="1">
              <a:extLst>
                <a:ext uri="{FF2B5EF4-FFF2-40B4-BE49-F238E27FC236}">
                  <a16:creationId xmlns:a16="http://schemas.microsoft.com/office/drawing/2014/main" id="{A999C02B-2AA4-4A9E-938D-B6649449D02D}"/>
                </a:ext>
              </a:extLst>
            </p:cNvPr>
            <p:cNvSpPr txBox="1"/>
            <p:nvPr/>
          </p:nvSpPr>
          <p:spPr>
            <a:xfrm>
              <a:off x="8076312" y="2085275"/>
              <a:ext cx="614079" cy="215444"/>
            </a:xfrm>
            <a:prstGeom prst="rect">
              <a:avLst/>
            </a:prstGeom>
            <a:noFill/>
            <a:ln>
              <a:noFill/>
              <a:miter lim="800000"/>
            </a:ln>
          </p:spPr>
          <p:txBody>
            <a:bodyPr wrap="none" lIns="0" tIns="0" rIns="0" bIns="0" rtlCol="0" anchor="t" anchorCtr="0">
              <a:spAutoFit/>
            </a:bodyPr>
            <a:lstStyle/>
            <a:p>
              <a:pPr>
                <a:spcAft>
                  <a:spcPts val="600"/>
                </a:spcAft>
              </a:pPr>
              <a:r>
                <a:rPr lang="en-US" sz="1400" err="1"/>
                <a:t>Legenda</a:t>
              </a:r>
              <a:endParaRPr lang="en-US" sz="1400"/>
            </a:p>
          </p:txBody>
        </p:sp>
        <p:sp>
          <p:nvSpPr>
            <p:cNvPr id="198" name="Legend3" hidden="1">
              <a:extLst>
                <a:ext uri="{FF2B5EF4-FFF2-40B4-BE49-F238E27FC236}">
                  <a16:creationId xmlns:a16="http://schemas.microsoft.com/office/drawing/2014/main" id="{49991531-F673-4DAA-9180-9098CF57BBC5}"/>
                </a:ext>
              </a:extLst>
            </p:cNvPr>
            <p:cNvSpPr txBox="1"/>
            <p:nvPr/>
          </p:nvSpPr>
          <p:spPr>
            <a:xfrm>
              <a:off x="8076312" y="2460734"/>
              <a:ext cx="614079" cy="215444"/>
            </a:xfrm>
            <a:prstGeom prst="rect">
              <a:avLst/>
            </a:prstGeom>
            <a:noFill/>
            <a:ln>
              <a:noFill/>
              <a:miter lim="800000"/>
            </a:ln>
          </p:spPr>
          <p:txBody>
            <a:bodyPr wrap="none" lIns="0" tIns="0" rIns="0" bIns="0" rtlCol="0" anchor="t" anchorCtr="0">
              <a:spAutoFit/>
            </a:bodyPr>
            <a:lstStyle/>
            <a:p>
              <a:pPr>
                <a:spcAft>
                  <a:spcPts val="600"/>
                </a:spcAft>
              </a:pPr>
              <a:r>
                <a:rPr lang="en-US" sz="1400" err="1"/>
                <a:t>Legenda</a:t>
              </a:r>
              <a:endParaRPr lang="en-US" sz="1400"/>
            </a:p>
          </p:txBody>
        </p:sp>
        <p:sp>
          <p:nvSpPr>
            <p:cNvPr id="199" name="Legend4" hidden="1">
              <a:extLst>
                <a:ext uri="{FF2B5EF4-FFF2-40B4-BE49-F238E27FC236}">
                  <a16:creationId xmlns:a16="http://schemas.microsoft.com/office/drawing/2014/main" id="{9FABCBC1-C5CC-47C2-9181-D45FDAC38F3B}"/>
                </a:ext>
              </a:extLst>
            </p:cNvPr>
            <p:cNvSpPr txBox="1"/>
            <p:nvPr/>
          </p:nvSpPr>
          <p:spPr>
            <a:xfrm>
              <a:off x="8076312" y="2836193"/>
              <a:ext cx="614079" cy="215444"/>
            </a:xfrm>
            <a:prstGeom prst="rect">
              <a:avLst/>
            </a:prstGeom>
            <a:noFill/>
            <a:ln>
              <a:noFill/>
              <a:miter lim="800000"/>
            </a:ln>
          </p:spPr>
          <p:txBody>
            <a:bodyPr wrap="none" lIns="0" tIns="0" rIns="0" bIns="0" rtlCol="0" anchor="t" anchorCtr="0">
              <a:spAutoFit/>
            </a:bodyPr>
            <a:lstStyle/>
            <a:p>
              <a:pPr>
                <a:spcAft>
                  <a:spcPts val="600"/>
                </a:spcAft>
              </a:pPr>
              <a:r>
                <a:rPr lang="en-US" sz="1400" err="1"/>
                <a:t>Legenda</a:t>
              </a:r>
              <a:endParaRPr lang="en-US" sz="1400"/>
            </a:p>
          </p:txBody>
        </p:sp>
        <p:sp>
          <p:nvSpPr>
            <p:cNvPr id="200" name="Legend5" hidden="1">
              <a:extLst>
                <a:ext uri="{FF2B5EF4-FFF2-40B4-BE49-F238E27FC236}">
                  <a16:creationId xmlns:a16="http://schemas.microsoft.com/office/drawing/2014/main" id="{AC9EFBAE-6B4B-4F36-BB5C-137CBDDB1EDB}"/>
                </a:ext>
              </a:extLst>
            </p:cNvPr>
            <p:cNvSpPr txBox="1"/>
            <p:nvPr/>
          </p:nvSpPr>
          <p:spPr>
            <a:xfrm>
              <a:off x="8076312" y="3211654"/>
              <a:ext cx="614079" cy="215444"/>
            </a:xfrm>
            <a:prstGeom prst="rect">
              <a:avLst/>
            </a:prstGeom>
            <a:noFill/>
            <a:ln>
              <a:noFill/>
              <a:miter lim="800000"/>
            </a:ln>
          </p:spPr>
          <p:txBody>
            <a:bodyPr wrap="none" lIns="0" tIns="0" rIns="0" bIns="0" rtlCol="0" anchor="t" anchorCtr="0">
              <a:spAutoFit/>
            </a:bodyPr>
            <a:lstStyle/>
            <a:p>
              <a:pPr>
                <a:spcAft>
                  <a:spcPts val="600"/>
                </a:spcAft>
              </a:pPr>
              <a:r>
                <a:rPr lang="en-US" sz="1400" err="1"/>
                <a:t>Legenda</a:t>
              </a:r>
              <a:endParaRPr lang="en-US" sz="1400"/>
            </a:p>
          </p:txBody>
        </p:sp>
        <p:grpSp>
          <p:nvGrpSpPr>
            <p:cNvPr id="201" name="MoonLegend1" hidden="1">
              <a:extLst>
                <a:ext uri="{FF2B5EF4-FFF2-40B4-BE49-F238E27FC236}">
                  <a16:creationId xmlns:a16="http://schemas.microsoft.com/office/drawing/2014/main" id="{F402C89D-403F-4E3E-B6A3-FAC1DD0B6F8F}"/>
                </a:ext>
              </a:extLst>
            </p:cNvPr>
            <p:cNvGrpSpPr>
              <a:grpSpLocks noChangeAspect="1"/>
            </p:cNvGrpSpPr>
            <p:nvPr>
              <p:custDataLst>
                <p:tags r:id="rId40"/>
              </p:custDataLst>
            </p:nvPr>
          </p:nvGrpSpPr>
          <p:grpSpPr>
            <a:xfrm>
              <a:off x="7723680" y="1702457"/>
              <a:ext cx="228600" cy="228600"/>
              <a:chOff x="762000" y="1270000"/>
              <a:chExt cx="254000" cy="254000"/>
            </a:xfrm>
          </p:grpSpPr>
          <p:sp>
            <p:nvSpPr>
              <p:cNvPr id="214" name="Oval 213" hidden="1">
                <a:extLst>
                  <a:ext uri="{FF2B5EF4-FFF2-40B4-BE49-F238E27FC236}">
                    <a16:creationId xmlns:a16="http://schemas.microsoft.com/office/drawing/2014/main" id="{197F6723-9D32-490E-B6D1-F4F44E97F8A1}"/>
                  </a:ext>
                </a:extLst>
              </p:cNvPr>
              <p:cNvSpPr/>
              <p:nvPr>
                <p:custDataLst>
                  <p:tags r:id="rId5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15" name="Arc 214" hidden="1">
                <a:extLst>
                  <a:ext uri="{FF2B5EF4-FFF2-40B4-BE49-F238E27FC236}">
                    <a16:creationId xmlns:a16="http://schemas.microsoft.com/office/drawing/2014/main" id="{628F1878-8762-4214-AE87-0A301BFBF740}"/>
                  </a:ext>
                </a:extLst>
              </p:cNvPr>
              <p:cNvSpPr/>
              <p:nvPr>
                <p:custDataLst>
                  <p:tags r:id="rId5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2" name="MoonLegend2" hidden="1">
              <a:extLst>
                <a:ext uri="{FF2B5EF4-FFF2-40B4-BE49-F238E27FC236}">
                  <a16:creationId xmlns:a16="http://schemas.microsoft.com/office/drawing/2014/main" id="{0D8786CF-DE00-4309-B71C-679DD943CD83}"/>
                </a:ext>
              </a:extLst>
            </p:cNvPr>
            <p:cNvGrpSpPr>
              <a:grpSpLocks noChangeAspect="1"/>
            </p:cNvGrpSpPr>
            <p:nvPr>
              <p:custDataLst>
                <p:tags r:id="rId41"/>
              </p:custDataLst>
            </p:nvPr>
          </p:nvGrpSpPr>
          <p:grpSpPr>
            <a:xfrm>
              <a:off x="7723680" y="2078270"/>
              <a:ext cx="228600" cy="228600"/>
              <a:chOff x="762000" y="1270000"/>
              <a:chExt cx="254000" cy="254000"/>
            </a:xfrm>
          </p:grpSpPr>
          <p:sp>
            <p:nvSpPr>
              <p:cNvPr id="212" name="Oval 211" hidden="1">
                <a:extLst>
                  <a:ext uri="{FF2B5EF4-FFF2-40B4-BE49-F238E27FC236}">
                    <a16:creationId xmlns:a16="http://schemas.microsoft.com/office/drawing/2014/main" id="{38741316-E97B-4E97-A1C0-F4318D760FCB}"/>
                  </a:ext>
                </a:extLst>
              </p:cNvPr>
              <p:cNvSpPr/>
              <p:nvPr>
                <p:custDataLst>
                  <p:tags r:id="rId5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13" name="Arc 212" hidden="1">
                <a:extLst>
                  <a:ext uri="{FF2B5EF4-FFF2-40B4-BE49-F238E27FC236}">
                    <a16:creationId xmlns:a16="http://schemas.microsoft.com/office/drawing/2014/main" id="{A90CB099-F12A-4C79-B7E9-0470D2B3A56E}"/>
                  </a:ext>
                </a:extLst>
              </p:cNvPr>
              <p:cNvSpPr/>
              <p:nvPr>
                <p:custDataLst>
                  <p:tags r:id="rId52"/>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3" name="MoonLegend3" hidden="1">
              <a:extLst>
                <a:ext uri="{FF2B5EF4-FFF2-40B4-BE49-F238E27FC236}">
                  <a16:creationId xmlns:a16="http://schemas.microsoft.com/office/drawing/2014/main" id="{8B5CCEDB-3899-4273-B00E-6696531DC0B4}"/>
                </a:ext>
              </a:extLst>
            </p:cNvPr>
            <p:cNvGrpSpPr>
              <a:grpSpLocks noChangeAspect="1"/>
            </p:cNvGrpSpPr>
            <p:nvPr>
              <p:custDataLst>
                <p:tags r:id="rId42"/>
              </p:custDataLst>
            </p:nvPr>
          </p:nvGrpSpPr>
          <p:grpSpPr>
            <a:xfrm>
              <a:off x="7723680" y="2454085"/>
              <a:ext cx="228600" cy="228600"/>
              <a:chOff x="762000" y="1270000"/>
              <a:chExt cx="254000" cy="254000"/>
            </a:xfrm>
          </p:grpSpPr>
          <p:sp>
            <p:nvSpPr>
              <p:cNvPr id="210" name="Oval 209" hidden="1">
                <a:extLst>
                  <a:ext uri="{FF2B5EF4-FFF2-40B4-BE49-F238E27FC236}">
                    <a16:creationId xmlns:a16="http://schemas.microsoft.com/office/drawing/2014/main" id="{92CCFCFC-F173-4DC7-ADCB-93558150EB41}"/>
                  </a:ext>
                </a:extLst>
              </p:cNvPr>
              <p:cNvSpPr/>
              <p:nvPr>
                <p:custDataLst>
                  <p:tags r:id="rId4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11" name="Arc 210" hidden="1">
                <a:extLst>
                  <a:ext uri="{FF2B5EF4-FFF2-40B4-BE49-F238E27FC236}">
                    <a16:creationId xmlns:a16="http://schemas.microsoft.com/office/drawing/2014/main" id="{4054E54F-819D-45FF-81C6-C6F62A8EB1B4}"/>
                  </a:ext>
                </a:extLst>
              </p:cNvPr>
              <p:cNvSpPr/>
              <p:nvPr>
                <p:custDataLst>
                  <p:tags r:id="rId50"/>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4" name="MoonLegend4" hidden="1">
              <a:extLst>
                <a:ext uri="{FF2B5EF4-FFF2-40B4-BE49-F238E27FC236}">
                  <a16:creationId xmlns:a16="http://schemas.microsoft.com/office/drawing/2014/main" id="{5EF954ED-1831-4576-B0E1-1CEFA27B6E2B}"/>
                </a:ext>
              </a:extLst>
            </p:cNvPr>
            <p:cNvGrpSpPr>
              <a:grpSpLocks noChangeAspect="1"/>
            </p:cNvGrpSpPr>
            <p:nvPr>
              <p:custDataLst>
                <p:tags r:id="rId43"/>
              </p:custDataLst>
            </p:nvPr>
          </p:nvGrpSpPr>
          <p:grpSpPr>
            <a:xfrm>
              <a:off x="7723680" y="2829900"/>
              <a:ext cx="228600" cy="228600"/>
              <a:chOff x="762000" y="1270000"/>
              <a:chExt cx="254000" cy="254000"/>
            </a:xfrm>
          </p:grpSpPr>
          <p:sp>
            <p:nvSpPr>
              <p:cNvPr id="208" name="Oval 207" hidden="1">
                <a:extLst>
                  <a:ext uri="{FF2B5EF4-FFF2-40B4-BE49-F238E27FC236}">
                    <a16:creationId xmlns:a16="http://schemas.microsoft.com/office/drawing/2014/main" id="{084DE1CF-85C3-40D2-96C9-9061CA577B81}"/>
                  </a:ext>
                </a:extLst>
              </p:cNvPr>
              <p:cNvSpPr/>
              <p:nvPr>
                <p:custDataLst>
                  <p:tags r:id="rId4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09" name="Arc 208" hidden="1">
                <a:extLst>
                  <a:ext uri="{FF2B5EF4-FFF2-40B4-BE49-F238E27FC236}">
                    <a16:creationId xmlns:a16="http://schemas.microsoft.com/office/drawing/2014/main" id="{D220EFE7-8D28-46E3-8649-E290DFFBB7B9}"/>
                  </a:ext>
                </a:extLst>
              </p:cNvPr>
              <p:cNvSpPr/>
              <p:nvPr>
                <p:custDataLst>
                  <p:tags r:id="rId48"/>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5" name="MoonLegend5" hidden="1">
              <a:extLst>
                <a:ext uri="{FF2B5EF4-FFF2-40B4-BE49-F238E27FC236}">
                  <a16:creationId xmlns:a16="http://schemas.microsoft.com/office/drawing/2014/main" id="{A349C1DD-B39B-4BDE-98CB-1BCDBF8D5501}"/>
                </a:ext>
              </a:extLst>
            </p:cNvPr>
            <p:cNvGrpSpPr>
              <a:grpSpLocks noChangeAspect="1"/>
            </p:cNvGrpSpPr>
            <p:nvPr>
              <p:custDataLst>
                <p:tags r:id="rId44"/>
              </p:custDataLst>
            </p:nvPr>
          </p:nvGrpSpPr>
          <p:grpSpPr>
            <a:xfrm>
              <a:off x="7723680" y="3205716"/>
              <a:ext cx="228600" cy="228600"/>
              <a:chOff x="762000" y="1270000"/>
              <a:chExt cx="254000" cy="254000"/>
            </a:xfrm>
          </p:grpSpPr>
          <p:sp>
            <p:nvSpPr>
              <p:cNvPr id="206" name="Oval 205" hidden="1">
                <a:extLst>
                  <a:ext uri="{FF2B5EF4-FFF2-40B4-BE49-F238E27FC236}">
                    <a16:creationId xmlns:a16="http://schemas.microsoft.com/office/drawing/2014/main" id="{12115149-4223-4EF3-B493-158C3E92D546}"/>
                  </a:ext>
                </a:extLst>
              </p:cNvPr>
              <p:cNvSpPr/>
              <p:nvPr>
                <p:custDataLst>
                  <p:tags r:id="rId4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07" name="Arc 206" hidden="1">
                <a:extLst>
                  <a:ext uri="{FF2B5EF4-FFF2-40B4-BE49-F238E27FC236}">
                    <a16:creationId xmlns:a16="http://schemas.microsoft.com/office/drawing/2014/main" id="{DFE253A6-C3D1-4158-B54C-B8F06D11FFB8}"/>
                  </a:ext>
                </a:extLst>
              </p:cNvPr>
              <p:cNvSpPr/>
              <p:nvPr>
                <p:custDataLst>
                  <p:tags r:id="rId46"/>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grpSp>
        <p:nvGrpSpPr>
          <p:cNvPr id="216" name="LegendBoxes" hidden="1">
            <a:extLst>
              <a:ext uri="{FF2B5EF4-FFF2-40B4-BE49-F238E27FC236}">
                <a16:creationId xmlns:a16="http://schemas.microsoft.com/office/drawing/2014/main" id="{19102189-83B0-4015-B9DC-A070F6BD111D}"/>
              </a:ext>
            </a:extLst>
          </p:cNvPr>
          <p:cNvGrpSpPr/>
          <p:nvPr userDrawn="1"/>
        </p:nvGrpSpPr>
        <p:grpSpPr>
          <a:xfrm>
            <a:off x="10615415" y="4381500"/>
            <a:ext cx="940225" cy="1717282"/>
            <a:chOff x="10652400" y="4322824"/>
            <a:chExt cx="940225" cy="1717282"/>
          </a:xfrm>
        </p:grpSpPr>
        <p:sp>
          <p:nvSpPr>
            <p:cNvPr id="217" name="RectangleLegend1" hidden="1">
              <a:extLst>
                <a:ext uri="{FF2B5EF4-FFF2-40B4-BE49-F238E27FC236}">
                  <a16:creationId xmlns:a16="http://schemas.microsoft.com/office/drawing/2014/main" id="{508941C0-19F2-458C-B15F-255A0444F9D2}"/>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18" name="RectangleLegend2" hidden="1">
              <a:extLst>
                <a:ext uri="{FF2B5EF4-FFF2-40B4-BE49-F238E27FC236}">
                  <a16:creationId xmlns:a16="http://schemas.microsoft.com/office/drawing/2014/main" id="{44958A6D-0ED2-40B6-AC4B-72BF624D1E61}"/>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19" name="RectangleLegend3" hidden="1">
              <a:extLst>
                <a:ext uri="{FF2B5EF4-FFF2-40B4-BE49-F238E27FC236}">
                  <a16:creationId xmlns:a16="http://schemas.microsoft.com/office/drawing/2014/main" id="{1196F045-7A9B-44FA-94B6-8B05DC5673BC}"/>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20" name="RectangleLegend4" hidden="1">
              <a:extLst>
                <a:ext uri="{FF2B5EF4-FFF2-40B4-BE49-F238E27FC236}">
                  <a16:creationId xmlns:a16="http://schemas.microsoft.com/office/drawing/2014/main" id="{F98DA322-9993-479C-92BE-E539AC1C328B}"/>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21" name="RectangleLegend5" hidden="1">
              <a:extLst>
                <a:ext uri="{FF2B5EF4-FFF2-40B4-BE49-F238E27FC236}">
                  <a16:creationId xmlns:a16="http://schemas.microsoft.com/office/drawing/2014/main" id="{6E02B823-977E-467C-8A32-36CA74BFEA31}"/>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22" name="Legend1" hidden="1">
              <a:extLst>
                <a:ext uri="{FF2B5EF4-FFF2-40B4-BE49-F238E27FC236}">
                  <a16:creationId xmlns:a16="http://schemas.microsoft.com/office/drawing/2014/main" id="{3A986BF3-B089-4A1C-BDD9-4641AC6D17EF}"/>
                </a:ext>
              </a:extLst>
            </p:cNvPr>
            <p:cNvSpPr txBox="1"/>
            <p:nvPr/>
          </p:nvSpPr>
          <p:spPr>
            <a:xfrm>
              <a:off x="10978546" y="4322824"/>
              <a:ext cx="614079" cy="215444"/>
            </a:xfrm>
            <a:prstGeom prst="rect">
              <a:avLst/>
            </a:prstGeom>
            <a:noFill/>
            <a:ln>
              <a:noFill/>
              <a:miter lim="800000"/>
            </a:ln>
          </p:spPr>
          <p:txBody>
            <a:bodyPr wrap="none" lIns="0" tIns="0" rIns="0" bIns="0" rtlCol="0" anchor="t" anchorCtr="0">
              <a:spAutoFit/>
            </a:bodyPr>
            <a:lstStyle/>
            <a:p>
              <a:pPr>
                <a:spcAft>
                  <a:spcPts val="600"/>
                </a:spcAft>
              </a:pPr>
              <a:r>
                <a:rPr lang="en-US" sz="1400" err="1"/>
                <a:t>Legenda</a:t>
              </a:r>
              <a:endParaRPr lang="en-US" sz="1400"/>
            </a:p>
          </p:txBody>
        </p:sp>
        <p:sp>
          <p:nvSpPr>
            <p:cNvPr id="223" name="Legend2" hidden="1">
              <a:extLst>
                <a:ext uri="{FF2B5EF4-FFF2-40B4-BE49-F238E27FC236}">
                  <a16:creationId xmlns:a16="http://schemas.microsoft.com/office/drawing/2014/main" id="{3AE4C351-CBCB-4104-A60A-A6D334FFD525}"/>
                </a:ext>
              </a:extLst>
            </p:cNvPr>
            <p:cNvSpPr txBox="1"/>
            <p:nvPr/>
          </p:nvSpPr>
          <p:spPr>
            <a:xfrm>
              <a:off x="10978546" y="4702322"/>
              <a:ext cx="614079" cy="215444"/>
            </a:xfrm>
            <a:prstGeom prst="rect">
              <a:avLst/>
            </a:prstGeom>
            <a:noFill/>
            <a:ln>
              <a:noFill/>
              <a:miter lim="800000"/>
            </a:ln>
          </p:spPr>
          <p:txBody>
            <a:bodyPr wrap="none" lIns="0" tIns="0" rIns="0" bIns="0" rtlCol="0" anchor="t" anchorCtr="0">
              <a:spAutoFit/>
            </a:bodyPr>
            <a:lstStyle/>
            <a:p>
              <a:pPr>
                <a:spcAft>
                  <a:spcPts val="600"/>
                </a:spcAft>
              </a:pPr>
              <a:r>
                <a:rPr lang="en-US" sz="1400" err="1"/>
                <a:t>Legenda</a:t>
              </a:r>
              <a:endParaRPr lang="en-US" sz="1400"/>
            </a:p>
          </p:txBody>
        </p:sp>
        <p:sp>
          <p:nvSpPr>
            <p:cNvPr id="224" name="Legend3" hidden="1">
              <a:extLst>
                <a:ext uri="{FF2B5EF4-FFF2-40B4-BE49-F238E27FC236}">
                  <a16:creationId xmlns:a16="http://schemas.microsoft.com/office/drawing/2014/main" id="{4A9AD527-F3BF-4F67-86A6-778E7DEF379E}"/>
                </a:ext>
              </a:extLst>
            </p:cNvPr>
            <p:cNvSpPr txBox="1"/>
            <p:nvPr/>
          </p:nvSpPr>
          <p:spPr>
            <a:xfrm>
              <a:off x="10978546" y="5081820"/>
              <a:ext cx="614079" cy="215444"/>
            </a:xfrm>
            <a:prstGeom prst="rect">
              <a:avLst/>
            </a:prstGeom>
            <a:noFill/>
            <a:ln>
              <a:noFill/>
              <a:miter lim="800000"/>
            </a:ln>
          </p:spPr>
          <p:txBody>
            <a:bodyPr wrap="none" lIns="0" tIns="0" rIns="0" bIns="0" rtlCol="0" anchor="t" anchorCtr="0">
              <a:spAutoFit/>
            </a:bodyPr>
            <a:lstStyle/>
            <a:p>
              <a:pPr>
                <a:spcAft>
                  <a:spcPts val="600"/>
                </a:spcAft>
              </a:pPr>
              <a:r>
                <a:rPr lang="en-US" sz="1400" err="1"/>
                <a:t>Legenda</a:t>
              </a:r>
              <a:endParaRPr lang="en-US" sz="1400"/>
            </a:p>
          </p:txBody>
        </p:sp>
        <p:sp>
          <p:nvSpPr>
            <p:cNvPr id="225" name="Legend4" hidden="1">
              <a:extLst>
                <a:ext uri="{FF2B5EF4-FFF2-40B4-BE49-F238E27FC236}">
                  <a16:creationId xmlns:a16="http://schemas.microsoft.com/office/drawing/2014/main" id="{3C53B91D-C822-4C07-AF62-1CC5811F5F97}"/>
                </a:ext>
              </a:extLst>
            </p:cNvPr>
            <p:cNvSpPr txBox="1"/>
            <p:nvPr/>
          </p:nvSpPr>
          <p:spPr>
            <a:xfrm>
              <a:off x="10978546" y="5453241"/>
              <a:ext cx="614079" cy="215444"/>
            </a:xfrm>
            <a:prstGeom prst="rect">
              <a:avLst/>
            </a:prstGeom>
            <a:noFill/>
            <a:ln>
              <a:noFill/>
              <a:miter lim="800000"/>
            </a:ln>
          </p:spPr>
          <p:txBody>
            <a:bodyPr wrap="none" lIns="0" tIns="0" rIns="0" bIns="0" rtlCol="0" anchor="t" anchorCtr="0">
              <a:spAutoFit/>
            </a:bodyPr>
            <a:lstStyle/>
            <a:p>
              <a:pPr>
                <a:spcAft>
                  <a:spcPts val="600"/>
                </a:spcAft>
              </a:pPr>
              <a:r>
                <a:rPr lang="en-US" sz="1400" err="1"/>
                <a:t>Legenda</a:t>
              </a:r>
              <a:endParaRPr lang="en-US" sz="1400"/>
            </a:p>
          </p:txBody>
        </p:sp>
        <p:sp>
          <p:nvSpPr>
            <p:cNvPr id="226" name="Legend5" hidden="1">
              <a:extLst>
                <a:ext uri="{FF2B5EF4-FFF2-40B4-BE49-F238E27FC236}">
                  <a16:creationId xmlns:a16="http://schemas.microsoft.com/office/drawing/2014/main" id="{B835FCD5-CFB8-47A4-A50C-A83B84D7070C}"/>
                </a:ext>
              </a:extLst>
            </p:cNvPr>
            <p:cNvSpPr txBox="1"/>
            <p:nvPr/>
          </p:nvSpPr>
          <p:spPr>
            <a:xfrm>
              <a:off x="10978545" y="5824662"/>
              <a:ext cx="614079" cy="215444"/>
            </a:xfrm>
            <a:prstGeom prst="rect">
              <a:avLst/>
            </a:prstGeom>
            <a:noFill/>
            <a:ln>
              <a:noFill/>
              <a:miter lim="800000"/>
            </a:ln>
          </p:spPr>
          <p:txBody>
            <a:bodyPr wrap="none" lIns="0" tIns="0" rIns="0" bIns="0" rtlCol="0" anchor="t" anchorCtr="0">
              <a:spAutoFit/>
            </a:bodyPr>
            <a:lstStyle/>
            <a:p>
              <a:pPr>
                <a:spcAft>
                  <a:spcPts val="600"/>
                </a:spcAft>
              </a:pPr>
              <a:r>
                <a:rPr lang="en-US" sz="1400" err="1"/>
                <a:t>Legenda</a:t>
              </a:r>
              <a:endParaRPr lang="en-US" sz="1400"/>
            </a:p>
          </p:txBody>
        </p:sp>
      </p:grpSp>
      <p:cxnSp>
        <p:nvCxnSpPr>
          <p:cNvPr id="148" name="TopLine">
            <a:extLst>
              <a:ext uri="{FF2B5EF4-FFF2-40B4-BE49-F238E27FC236}">
                <a16:creationId xmlns:a16="http://schemas.microsoft.com/office/drawing/2014/main" id="{FF04A8B0-D1A2-4C6D-80DE-E22B6CF708D7}"/>
              </a:ext>
            </a:extLst>
          </p:cNvPr>
          <p:cNvCxnSpPr>
            <a:cxnSpLocks/>
          </p:cNvCxnSpPr>
          <p:nvPr userDrawn="1">
            <p:custDataLst>
              <p:tags r:id="rId28"/>
            </p:custDataLst>
          </p:nvPr>
        </p:nvCxnSpPr>
        <p:spPr>
          <a:xfrm>
            <a:off x="554736" y="1181906"/>
            <a:ext cx="11082528" cy="0"/>
          </a:xfrm>
          <a:prstGeom prst="line">
            <a:avLst/>
          </a:prstGeom>
          <a:ln w="38100">
            <a:solidFill>
              <a:schemeClr val="accent2"/>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49" name="SplitFlowOF" hidden="1">
            <a:extLst>
              <a:ext uri="{FF2B5EF4-FFF2-40B4-BE49-F238E27FC236}">
                <a16:creationId xmlns:a16="http://schemas.microsoft.com/office/drawing/2014/main" id="{71FD7200-E325-4683-9865-D6ED34E557B5}"/>
              </a:ext>
            </a:extLst>
          </p:cNvPr>
          <p:cNvGrpSpPr/>
          <p:nvPr userDrawn="1">
            <p:custDataLst>
              <p:tags r:id="rId29"/>
            </p:custDataLst>
          </p:nvPr>
        </p:nvGrpSpPr>
        <p:grpSpPr>
          <a:xfrm>
            <a:off x="4023681" y="1384300"/>
            <a:ext cx="1828801" cy="914400"/>
            <a:chOff x="114299" y="1270000"/>
            <a:chExt cx="1828801" cy="914400"/>
          </a:xfrm>
        </p:grpSpPr>
        <p:sp>
          <p:nvSpPr>
            <p:cNvPr id="150" name="Freeform: Shape 149">
              <a:extLst>
                <a:ext uri="{FF2B5EF4-FFF2-40B4-BE49-F238E27FC236}">
                  <a16:creationId xmlns:a16="http://schemas.microsoft.com/office/drawing/2014/main" id="{98B881EE-12D9-4954-B178-3C199A152FB3}"/>
                </a:ext>
              </a:extLst>
            </p:cNvPr>
            <p:cNvSpPr/>
            <p:nvPr>
              <p:custDataLst>
                <p:tags r:id="rId34"/>
              </p:custDataLst>
            </p:nvPr>
          </p:nvSpPr>
          <p:spPr>
            <a:xfrm>
              <a:off x="114300" y="1270000"/>
              <a:ext cx="1828800"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97126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97126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97126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97126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1828800" h="457200">
                  <a:moveTo>
                    <a:pt x="0" y="0"/>
                  </a:moveTo>
                  <a:lnTo>
                    <a:pt x="1664208" y="0"/>
                  </a:lnTo>
                  <a:lnTo>
                    <a:pt x="1828800" y="457200"/>
                  </a:lnTo>
                  <a:lnTo>
                    <a:pt x="0" y="457200"/>
                  </a:lnTo>
                  <a:close/>
                </a:path>
              </a:pathLst>
            </a:custGeom>
            <a:solidFill>
              <a:schemeClr val="accent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51" name="TextBox 150">
              <a:extLst>
                <a:ext uri="{FF2B5EF4-FFF2-40B4-BE49-F238E27FC236}">
                  <a16:creationId xmlns:a16="http://schemas.microsoft.com/office/drawing/2014/main" id="{7DEED97D-395E-4993-99FD-1DD863944C1F}"/>
                </a:ext>
              </a:extLst>
            </p:cNvPr>
            <p:cNvSpPr txBox="1"/>
            <p:nvPr>
              <p:custDataLst>
                <p:tags r:id="rId35"/>
              </p:custDataLst>
            </p:nvPr>
          </p:nvSpPr>
          <p:spPr>
            <a:xfrm>
              <a:off x="177800" y="1327150"/>
              <a:ext cx="1600708" cy="342900"/>
            </a:xfrm>
            <a:prstGeom prst="rect">
              <a:avLst/>
            </a:prstGeom>
            <a:noFill/>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rgbClr val="FFFFFF"/>
                </a:buClr>
              </a:pPr>
              <a:r>
                <a:rPr lang="en-US" b="1">
                  <a:solidFill>
                    <a:srgbClr val="FFFFFF"/>
                  </a:solidFill>
                </a:rPr>
                <a:t>Text</a:t>
              </a:r>
            </a:p>
          </p:txBody>
        </p:sp>
        <p:sp>
          <p:nvSpPr>
            <p:cNvPr id="152" name="Freeform: Shape 151">
              <a:extLst>
                <a:ext uri="{FF2B5EF4-FFF2-40B4-BE49-F238E27FC236}">
                  <a16:creationId xmlns:a16="http://schemas.microsoft.com/office/drawing/2014/main" id="{0384C87F-ADD7-476B-AC80-820974576C76}"/>
                </a:ext>
              </a:extLst>
            </p:cNvPr>
            <p:cNvSpPr/>
            <p:nvPr>
              <p:custDataLst>
                <p:tags r:id="rId36"/>
              </p:custDataLst>
            </p:nvPr>
          </p:nvSpPr>
          <p:spPr>
            <a:xfrm>
              <a:off x="114299" y="1727200"/>
              <a:ext cx="996697"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30480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0 h 457200"/>
                <a:gd name="connsiteX1" fmla="*/ 1511808 w 1828800"/>
                <a:gd name="connsiteY1" fmla="*/ 457200 h 457200"/>
                <a:gd name="connsiteX2" fmla="*/ 1828800 w 1828800"/>
                <a:gd name="connsiteY2" fmla="*/ 152400 h 457200"/>
                <a:gd name="connsiteX3" fmla="*/ 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15240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0 w 1828800"/>
                <a:gd name="connsiteY3" fmla="*/ 0 h 457200"/>
                <a:gd name="connsiteX0" fmla="*/ 980237 w 1664208"/>
                <a:gd name="connsiteY0" fmla="*/ 0 h 457200"/>
                <a:gd name="connsiteX1" fmla="*/ 1664208 w 1664208"/>
                <a:gd name="connsiteY1" fmla="*/ 457200 h 457200"/>
                <a:gd name="connsiteX2" fmla="*/ 0 w 1664208"/>
                <a:gd name="connsiteY2" fmla="*/ 457200 h 457200"/>
                <a:gd name="connsiteX3" fmla="*/ 0 w 1664208"/>
                <a:gd name="connsiteY3" fmla="*/ 0 h 457200"/>
                <a:gd name="connsiteX0" fmla="*/ 980237 w 980237"/>
                <a:gd name="connsiteY0" fmla="*/ 0 h 457200"/>
                <a:gd name="connsiteX1" fmla="*/ 848563 w 980237"/>
                <a:gd name="connsiteY1" fmla="*/ 457200 h 457200"/>
                <a:gd name="connsiteX2" fmla="*/ 0 w 980237"/>
                <a:gd name="connsiteY2" fmla="*/ 457200 h 457200"/>
                <a:gd name="connsiteX3" fmla="*/ 0 w 980237"/>
                <a:gd name="connsiteY3" fmla="*/ 0 h 457200"/>
                <a:gd name="connsiteX0" fmla="*/ 980237 w 980237"/>
                <a:gd name="connsiteY0" fmla="*/ 0 h 457200"/>
                <a:gd name="connsiteX1" fmla="*/ 848563 w 980237"/>
                <a:gd name="connsiteY1" fmla="*/ 457200 h 457200"/>
                <a:gd name="connsiteX2" fmla="*/ 0 w 980237"/>
                <a:gd name="connsiteY2" fmla="*/ 457200 h 457200"/>
                <a:gd name="connsiteX3" fmla="*/ 0 w 980237"/>
                <a:gd name="connsiteY3" fmla="*/ 0 h 457200"/>
                <a:gd name="connsiteX0" fmla="*/ 980237 w 980237"/>
                <a:gd name="connsiteY0" fmla="*/ 0 h 457200"/>
                <a:gd name="connsiteX1" fmla="*/ 848563 w 980237"/>
                <a:gd name="connsiteY1" fmla="*/ 457200 h 457200"/>
                <a:gd name="connsiteX2" fmla="*/ 0 w 980237"/>
                <a:gd name="connsiteY2" fmla="*/ 457200 h 457200"/>
                <a:gd name="connsiteX3" fmla="*/ 0 w 980237"/>
                <a:gd name="connsiteY3" fmla="*/ 0 h 457200"/>
                <a:gd name="connsiteX0" fmla="*/ 996696 w 996696"/>
                <a:gd name="connsiteY0" fmla="*/ 0 h 457200"/>
                <a:gd name="connsiteX1" fmla="*/ 848563 w 996696"/>
                <a:gd name="connsiteY1" fmla="*/ 457200 h 457200"/>
                <a:gd name="connsiteX2" fmla="*/ 0 w 996696"/>
                <a:gd name="connsiteY2" fmla="*/ 457200 h 457200"/>
                <a:gd name="connsiteX3" fmla="*/ 0 w 996696"/>
                <a:gd name="connsiteY3" fmla="*/ 0 h 457200"/>
                <a:gd name="connsiteX0" fmla="*/ 996696 w 996696"/>
                <a:gd name="connsiteY0" fmla="*/ 0 h 457200"/>
                <a:gd name="connsiteX1" fmla="*/ 832103 w 996696"/>
                <a:gd name="connsiteY1" fmla="*/ 457200 h 457200"/>
                <a:gd name="connsiteX2" fmla="*/ 0 w 996696"/>
                <a:gd name="connsiteY2" fmla="*/ 457200 h 457200"/>
                <a:gd name="connsiteX3" fmla="*/ 0 w 996696"/>
                <a:gd name="connsiteY3" fmla="*/ 0 h 457200"/>
                <a:gd name="connsiteX0" fmla="*/ 996697 w 996697"/>
                <a:gd name="connsiteY0" fmla="*/ 0 h 457200"/>
                <a:gd name="connsiteX1" fmla="*/ 832104 w 996697"/>
                <a:gd name="connsiteY1" fmla="*/ 457200 h 457200"/>
                <a:gd name="connsiteX2" fmla="*/ 0 w 996697"/>
                <a:gd name="connsiteY2" fmla="*/ 457200 h 457200"/>
                <a:gd name="connsiteX3" fmla="*/ 1 w 996697"/>
                <a:gd name="connsiteY3" fmla="*/ 0 h 457200"/>
                <a:gd name="connsiteX0" fmla="*/ 996697 w 996697"/>
                <a:gd name="connsiteY0" fmla="*/ 0 h 457200"/>
                <a:gd name="connsiteX1" fmla="*/ 832104 w 996697"/>
                <a:gd name="connsiteY1" fmla="*/ 457200 h 457200"/>
                <a:gd name="connsiteX2" fmla="*/ 0 w 996697"/>
                <a:gd name="connsiteY2" fmla="*/ 457200 h 457200"/>
                <a:gd name="connsiteX3" fmla="*/ 1 w 996697"/>
                <a:gd name="connsiteY3" fmla="*/ 0 h 457200"/>
              </a:gdLst>
              <a:ahLst/>
              <a:cxnLst>
                <a:cxn ang="0">
                  <a:pos x="connsiteX0" y="connsiteY0"/>
                </a:cxn>
                <a:cxn ang="0">
                  <a:pos x="connsiteX1" y="connsiteY1"/>
                </a:cxn>
                <a:cxn ang="0">
                  <a:pos x="connsiteX2" y="connsiteY2"/>
                </a:cxn>
                <a:cxn ang="0">
                  <a:pos x="connsiteX3" y="connsiteY3"/>
                </a:cxn>
              </a:cxnLst>
              <a:rect l="l" t="t" r="r" b="b"/>
              <a:pathLst>
                <a:path w="996697" h="457200">
                  <a:moveTo>
                    <a:pt x="996697" y="0"/>
                  </a:moveTo>
                  <a:lnTo>
                    <a:pt x="832104" y="457200"/>
                  </a:lnTo>
                  <a:lnTo>
                    <a:pt x="0" y="457200"/>
                  </a:lnTo>
                  <a:lnTo>
                    <a:pt x="1" y="0"/>
                  </a:lnTo>
                  <a:close/>
                </a:path>
              </a:pathLst>
            </a:custGeom>
            <a:solidFill>
              <a:schemeClr val="accent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53" name="TextBox 152">
              <a:extLst>
                <a:ext uri="{FF2B5EF4-FFF2-40B4-BE49-F238E27FC236}">
                  <a16:creationId xmlns:a16="http://schemas.microsoft.com/office/drawing/2014/main" id="{B9C397FA-1B9D-4544-9C3E-E0C5B5577A84}"/>
                </a:ext>
              </a:extLst>
            </p:cNvPr>
            <p:cNvSpPr txBox="1"/>
            <p:nvPr>
              <p:custDataLst>
                <p:tags r:id="rId37"/>
              </p:custDataLst>
            </p:nvPr>
          </p:nvSpPr>
          <p:spPr>
            <a:xfrm>
              <a:off x="177800" y="1784350"/>
              <a:ext cx="768604" cy="342900"/>
            </a:xfrm>
            <a:prstGeom prst="rect">
              <a:avLst/>
            </a:prstGeom>
            <a:noFill/>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rgbClr val="FFFFFF"/>
                </a:buClr>
              </a:pPr>
              <a:r>
                <a:rPr lang="en-US" b="1">
                  <a:solidFill>
                    <a:srgbClr val="FFFFFF"/>
                  </a:solidFill>
                </a:rPr>
                <a:t>Text</a:t>
              </a:r>
            </a:p>
          </p:txBody>
        </p:sp>
        <p:sp>
          <p:nvSpPr>
            <p:cNvPr id="154" name="Freeform: Shape 153">
              <a:extLst>
                <a:ext uri="{FF2B5EF4-FFF2-40B4-BE49-F238E27FC236}">
                  <a16:creationId xmlns:a16="http://schemas.microsoft.com/office/drawing/2014/main" id="{16A16CBD-44EE-4C2E-83F7-9B81F7330ECA}"/>
                </a:ext>
              </a:extLst>
            </p:cNvPr>
            <p:cNvSpPr/>
            <p:nvPr>
              <p:custDataLst>
                <p:tags r:id="rId38"/>
              </p:custDataLst>
            </p:nvPr>
          </p:nvSpPr>
          <p:spPr>
            <a:xfrm>
              <a:off x="946404" y="1727200"/>
              <a:ext cx="996696"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30480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0 h 457200"/>
                <a:gd name="connsiteX1" fmla="*/ 1511808 w 1828800"/>
                <a:gd name="connsiteY1" fmla="*/ 457200 h 457200"/>
                <a:gd name="connsiteX2" fmla="*/ 1828800 w 1828800"/>
                <a:gd name="connsiteY2" fmla="*/ 152400 h 457200"/>
                <a:gd name="connsiteX3" fmla="*/ 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15240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0 w 1828800"/>
                <a:gd name="connsiteY3" fmla="*/ 0 h 457200"/>
                <a:gd name="connsiteX0" fmla="*/ 1828800 w 1828800"/>
                <a:gd name="connsiteY0" fmla="*/ 0 h 457200"/>
                <a:gd name="connsiteX1" fmla="*/ 1664208 w 1828800"/>
                <a:gd name="connsiteY1" fmla="*/ 457200 h 457200"/>
                <a:gd name="connsiteX2" fmla="*/ 0 w 1828800"/>
                <a:gd name="connsiteY2" fmla="*/ 457200 h 457200"/>
                <a:gd name="connsiteX3" fmla="*/ 0 w 1828800"/>
                <a:gd name="connsiteY3" fmla="*/ 0 h 457200"/>
                <a:gd name="connsiteX0" fmla="*/ 1828800 w 1828800"/>
                <a:gd name="connsiteY0" fmla="*/ 0 h 457200"/>
                <a:gd name="connsiteX1" fmla="*/ 1697126 w 1828800"/>
                <a:gd name="connsiteY1" fmla="*/ 457200 h 457200"/>
                <a:gd name="connsiteX2" fmla="*/ 0 w 1828800"/>
                <a:gd name="connsiteY2" fmla="*/ 457200 h 457200"/>
                <a:gd name="connsiteX3" fmla="*/ 0 w 1828800"/>
                <a:gd name="connsiteY3" fmla="*/ 0 h 457200"/>
                <a:gd name="connsiteX0" fmla="*/ 1828800 w 1828800"/>
                <a:gd name="connsiteY0" fmla="*/ 0 h 457200"/>
                <a:gd name="connsiteX1" fmla="*/ 1697126 w 1828800"/>
                <a:gd name="connsiteY1" fmla="*/ 457200 h 457200"/>
                <a:gd name="connsiteX2" fmla="*/ 848563 w 1828800"/>
                <a:gd name="connsiteY2" fmla="*/ 457200 h 457200"/>
                <a:gd name="connsiteX3" fmla="*/ 0 w 1828800"/>
                <a:gd name="connsiteY3" fmla="*/ 0 h 457200"/>
                <a:gd name="connsiteX0" fmla="*/ 980237 w 980237"/>
                <a:gd name="connsiteY0" fmla="*/ 0 h 457200"/>
                <a:gd name="connsiteX1" fmla="*/ 848563 w 980237"/>
                <a:gd name="connsiteY1" fmla="*/ 457200 h 457200"/>
                <a:gd name="connsiteX2" fmla="*/ 0 w 980237"/>
                <a:gd name="connsiteY2" fmla="*/ 457200 h 457200"/>
                <a:gd name="connsiteX3" fmla="*/ 131674 w 980237"/>
                <a:gd name="connsiteY3" fmla="*/ 0 h 457200"/>
                <a:gd name="connsiteX0" fmla="*/ 980237 w 980237"/>
                <a:gd name="connsiteY0" fmla="*/ 0 h 457200"/>
                <a:gd name="connsiteX1" fmla="*/ 848563 w 980237"/>
                <a:gd name="connsiteY1" fmla="*/ 457200 h 457200"/>
                <a:gd name="connsiteX2" fmla="*/ 0 w 980237"/>
                <a:gd name="connsiteY2" fmla="*/ 457200 h 457200"/>
                <a:gd name="connsiteX3" fmla="*/ 131674 w 980237"/>
                <a:gd name="connsiteY3" fmla="*/ 0 h 457200"/>
                <a:gd name="connsiteX0" fmla="*/ 980237 w 980237"/>
                <a:gd name="connsiteY0" fmla="*/ 0 h 457200"/>
                <a:gd name="connsiteX1" fmla="*/ 815645 w 980237"/>
                <a:gd name="connsiteY1" fmla="*/ 457200 h 457200"/>
                <a:gd name="connsiteX2" fmla="*/ 0 w 980237"/>
                <a:gd name="connsiteY2" fmla="*/ 457200 h 457200"/>
                <a:gd name="connsiteX3" fmla="*/ 131674 w 980237"/>
                <a:gd name="connsiteY3" fmla="*/ 0 h 457200"/>
                <a:gd name="connsiteX0" fmla="*/ 996696 w 996696"/>
                <a:gd name="connsiteY0" fmla="*/ 0 h 457200"/>
                <a:gd name="connsiteX1" fmla="*/ 832104 w 996696"/>
                <a:gd name="connsiteY1" fmla="*/ 457200 h 457200"/>
                <a:gd name="connsiteX2" fmla="*/ 0 w 996696"/>
                <a:gd name="connsiteY2" fmla="*/ 457200 h 457200"/>
                <a:gd name="connsiteX3" fmla="*/ 148133 w 996696"/>
                <a:gd name="connsiteY3" fmla="*/ 0 h 457200"/>
                <a:gd name="connsiteX0" fmla="*/ 996696 w 996696"/>
                <a:gd name="connsiteY0" fmla="*/ 0 h 457200"/>
                <a:gd name="connsiteX1" fmla="*/ 832104 w 996696"/>
                <a:gd name="connsiteY1" fmla="*/ 457200 h 457200"/>
                <a:gd name="connsiteX2" fmla="*/ 0 w 996696"/>
                <a:gd name="connsiteY2" fmla="*/ 457200 h 457200"/>
                <a:gd name="connsiteX3" fmla="*/ 164592 w 996696"/>
                <a:gd name="connsiteY3" fmla="*/ 0 h 457200"/>
              </a:gdLst>
              <a:ahLst/>
              <a:cxnLst>
                <a:cxn ang="0">
                  <a:pos x="connsiteX0" y="connsiteY0"/>
                </a:cxn>
                <a:cxn ang="0">
                  <a:pos x="connsiteX1" y="connsiteY1"/>
                </a:cxn>
                <a:cxn ang="0">
                  <a:pos x="connsiteX2" y="connsiteY2"/>
                </a:cxn>
                <a:cxn ang="0">
                  <a:pos x="connsiteX3" y="connsiteY3"/>
                </a:cxn>
              </a:cxnLst>
              <a:rect l="l" t="t" r="r" b="b"/>
              <a:pathLst>
                <a:path w="996696" h="457200">
                  <a:moveTo>
                    <a:pt x="996696" y="0"/>
                  </a:moveTo>
                  <a:lnTo>
                    <a:pt x="832104" y="457200"/>
                  </a:lnTo>
                  <a:lnTo>
                    <a:pt x="0" y="457200"/>
                  </a:lnTo>
                  <a:lnTo>
                    <a:pt x="164592" y="0"/>
                  </a:lnTo>
                  <a:close/>
                </a:path>
              </a:pathLst>
            </a:custGeom>
            <a:solidFill>
              <a:schemeClr val="accent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55" name="TextBox 154">
              <a:extLst>
                <a:ext uri="{FF2B5EF4-FFF2-40B4-BE49-F238E27FC236}">
                  <a16:creationId xmlns:a16="http://schemas.microsoft.com/office/drawing/2014/main" id="{110CDA6F-8094-4CAE-B729-DA9CD86F2627}"/>
                </a:ext>
              </a:extLst>
            </p:cNvPr>
            <p:cNvSpPr txBox="1"/>
            <p:nvPr>
              <p:custDataLst>
                <p:tags r:id="rId39"/>
              </p:custDataLst>
            </p:nvPr>
          </p:nvSpPr>
          <p:spPr>
            <a:xfrm>
              <a:off x="1149096" y="1784350"/>
              <a:ext cx="629412" cy="342900"/>
            </a:xfrm>
            <a:prstGeom prst="rect">
              <a:avLst/>
            </a:prstGeom>
            <a:noFill/>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rgbClr val="FFFFFF"/>
                </a:buClr>
              </a:pPr>
              <a:r>
                <a:rPr lang="en-US" b="1">
                  <a:solidFill>
                    <a:srgbClr val="FFFFFF"/>
                  </a:solidFill>
                </a:rPr>
                <a:t>Text</a:t>
              </a:r>
            </a:p>
          </p:txBody>
        </p:sp>
      </p:grpSp>
      <p:grpSp>
        <p:nvGrpSpPr>
          <p:cNvPr id="156" name="Group 155" hidden="1">
            <a:extLst>
              <a:ext uri="{FF2B5EF4-FFF2-40B4-BE49-F238E27FC236}">
                <a16:creationId xmlns:a16="http://schemas.microsoft.com/office/drawing/2014/main" id="{132BE263-7960-4865-BAF5-5FF6D17CEC66}"/>
              </a:ext>
            </a:extLst>
          </p:cNvPr>
          <p:cNvGrpSpPr/>
          <p:nvPr userDrawn="1">
            <p:custDataLst>
              <p:tags r:id="rId30"/>
            </p:custDataLst>
          </p:nvPr>
        </p:nvGrpSpPr>
        <p:grpSpPr>
          <a:xfrm>
            <a:off x="4023681" y="2527300"/>
            <a:ext cx="2971800" cy="908050"/>
            <a:chOff x="1016000" y="1016000"/>
            <a:chExt cx="2971800" cy="908050"/>
          </a:xfrm>
        </p:grpSpPr>
        <p:sp>
          <p:nvSpPr>
            <p:cNvPr id="157" name="Freeform: Shape 156">
              <a:extLst>
                <a:ext uri="{FF2B5EF4-FFF2-40B4-BE49-F238E27FC236}">
                  <a16:creationId xmlns:a16="http://schemas.microsoft.com/office/drawing/2014/main" id="{B92AD070-3CD8-4460-8993-BB878D5D3B1D}"/>
                </a:ext>
              </a:extLst>
            </p:cNvPr>
            <p:cNvSpPr/>
            <p:nvPr>
              <p:custDataLst>
                <p:tags r:id="rId32"/>
              </p:custDataLst>
            </p:nvPr>
          </p:nvSpPr>
          <p:spPr>
            <a:xfrm>
              <a:off x="1016000" y="1016000"/>
              <a:ext cx="2971800" cy="90805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28216" y="0"/>
                  </a:lnTo>
                  <a:lnTo>
                    <a:pt x="1828800" y="457200"/>
                  </a:lnTo>
                  <a:lnTo>
                    <a:pt x="1728216" y="914400"/>
                  </a:lnTo>
                  <a:lnTo>
                    <a:pt x="0" y="914400"/>
                  </a:lnTo>
                  <a:lnTo>
                    <a:pt x="0" y="457200"/>
                  </a:lnTo>
                  <a:close/>
                </a:path>
              </a:pathLst>
            </a:custGeom>
            <a:solidFill>
              <a:schemeClr val="accent1"/>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58" name="TextBox 157">
              <a:extLst>
                <a:ext uri="{FF2B5EF4-FFF2-40B4-BE49-F238E27FC236}">
                  <a16:creationId xmlns:a16="http://schemas.microsoft.com/office/drawing/2014/main" id="{A471780B-66EC-4F99-859A-7FE7063262E4}"/>
                </a:ext>
              </a:extLst>
            </p:cNvPr>
            <p:cNvSpPr txBox="1"/>
            <p:nvPr>
              <p:custDataLst>
                <p:tags r:id="rId33"/>
              </p:custDataLst>
            </p:nvPr>
          </p:nvSpPr>
          <p:spPr>
            <a:xfrm>
              <a:off x="1079500" y="1079059"/>
              <a:ext cx="2744851" cy="781932"/>
            </a:xfrm>
            <a:prstGeom prst="rect">
              <a:avLst/>
            </a:prstGeom>
          </p:spPr>
          <p:txBody>
            <a:bodyPr vert="horz" wrap="square" lIns="15240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rgbClr val="FFFFFF"/>
                </a:buClr>
              </a:pPr>
              <a:r>
                <a:rPr lang="en-US" b="1">
                  <a:solidFill>
                    <a:srgbClr val="FFFFFF"/>
                  </a:solidFill>
                </a:rPr>
                <a:t>Text</a:t>
              </a:r>
            </a:p>
          </p:txBody>
        </p:sp>
      </p:grpSp>
      <p:sp>
        <p:nvSpPr>
          <p:cNvPr id="159" name="TextBox 158" hidden="1">
            <a:extLst>
              <a:ext uri="{FF2B5EF4-FFF2-40B4-BE49-F238E27FC236}">
                <a16:creationId xmlns:a16="http://schemas.microsoft.com/office/drawing/2014/main" id="{10FCF6D8-C508-4C60-A963-CABB28B63CC7}"/>
              </a:ext>
            </a:extLst>
          </p:cNvPr>
          <p:cNvSpPr txBox="1"/>
          <p:nvPr userDrawn="1"/>
        </p:nvSpPr>
        <p:spPr>
          <a:xfrm>
            <a:off x="4245932" y="3562349"/>
            <a:ext cx="2586101" cy="2246768"/>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t>Text level one</a:t>
            </a:r>
          </a:p>
          <a:p>
            <a:pPr lvl="1"/>
            <a:r>
              <a:rPr lang="en-US"/>
              <a:t>Text level two </a:t>
            </a:r>
          </a:p>
        </p:txBody>
      </p:sp>
      <p:grpSp>
        <p:nvGrpSpPr>
          <p:cNvPr id="160" name="StrongCallout" hidden="1">
            <a:extLst>
              <a:ext uri="{FF2B5EF4-FFF2-40B4-BE49-F238E27FC236}">
                <a16:creationId xmlns:a16="http://schemas.microsoft.com/office/drawing/2014/main" id="{1BBBB622-9003-484F-94FB-110D5BE507BB}"/>
              </a:ext>
            </a:extLst>
          </p:cNvPr>
          <p:cNvGrpSpPr/>
          <p:nvPr userDrawn="1">
            <p:custDataLst>
              <p:tags r:id="rId31"/>
            </p:custDataLst>
          </p:nvPr>
        </p:nvGrpSpPr>
        <p:grpSpPr>
          <a:xfrm>
            <a:off x="7071681" y="3683000"/>
            <a:ext cx="3026228" cy="1497846"/>
            <a:chOff x="1016000" y="1016000"/>
            <a:chExt cx="3026228" cy="1497846"/>
          </a:xfrm>
        </p:grpSpPr>
        <p:sp>
          <p:nvSpPr>
            <p:cNvPr id="161" name="TextBox 160">
              <a:extLst>
                <a:ext uri="{FF2B5EF4-FFF2-40B4-BE49-F238E27FC236}">
                  <a16:creationId xmlns:a16="http://schemas.microsoft.com/office/drawing/2014/main" id="{07A45330-329F-4769-BC73-4A8EC33B86D4}"/>
                </a:ext>
              </a:extLst>
            </p:cNvPr>
            <p:cNvSpPr txBox="1"/>
            <p:nvPr/>
          </p:nvSpPr>
          <p:spPr>
            <a:xfrm>
              <a:off x="1016000" y="1016000"/>
              <a:ext cx="2645228" cy="1497846"/>
            </a:xfrm>
            <a:prstGeom prst="rect">
              <a:avLst/>
            </a:prstGeom>
            <a:solidFill>
              <a:schemeClr val="accent1"/>
            </a:solidFill>
            <a:ln w="6350">
              <a:solidFill>
                <a:schemeClr val="bg1"/>
              </a:solidFill>
            </a:ln>
          </p:spPr>
          <p:txBody>
            <a:bodyPr vert="horz" wrap="square" lIns="182880" tIns="182880" rIns="182880" bIns="18288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spcBef>
                  <a:spcPts val="0"/>
                </a:spcBef>
                <a:spcAft>
                  <a:spcPts val="400"/>
                </a:spcAft>
                <a:buClr>
                  <a:srgbClr val="FFFFFF"/>
                </a:buClr>
              </a:pPr>
              <a:r>
                <a:rPr lang="en-US" sz="1400" b="1">
                  <a:solidFill>
                    <a:srgbClr val="FFFFFF"/>
                  </a:solidFill>
                </a:rPr>
                <a:t>Callout title</a:t>
              </a:r>
            </a:p>
            <a:p>
              <a:pPr lvl="0">
                <a:spcBef>
                  <a:spcPts val="0"/>
                </a:spcBef>
                <a:spcAft>
                  <a:spcPts val="600"/>
                </a:spcAft>
                <a:buClr>
                  <a:srgbClr val="FFFFFF"/>
                </a:buClr>
              </a:pPr>
              <a:r>
                <a:rPr lang="en-US" sz="1400">
                  <a:solidFill>
                    <a:srgbClr val="FFFFFF"/>
                  </a:solidFill>
                </a:rPr>
                <a:t>Supporting text goes here. Box will automatically adjust to content, adjust type size as needed.</a:t>
              </a:r>
            </a:p>
          </p:txBody>
        </p:sp>
        <p:cxnSp>
          <p:nvCxnSpPr>
            <p:cNvPr id="162" name="Straight Arrow Connector 161">
              <a:extLst>
                <a:ext uri="{FF2B5EF4-FFF2-40B4-BE49-F238E27FC236}">
                  <a16:creationId xmlns:a16="http://schemas.microsoft.com/office/drawing/2014/main" id="{DDB73390-3730-4AD0-8861-A223EC04DC3F}"/>
                </a:ext>
              </a:extLst>
            </p:cNvPr>
            <p:cNvCxnSpPr>
              <a:cxnSpLocks/>
              <a:stCxn id="161" idx="3"/>
            </p:cNvCxnSpPr>
            <p:nvPr/>
          </p:nvCxnSpPr>
          <p:spPr>
            <a:xfrm>
              <a:off x="3661228" y="1764923"/>
              <a:ext cx="381000"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883" r:id="rId2"/>
    <p:sldLayoutId id="2147483884" r:id="rId3"/>
    <p:sldLayoutId id="2147483654" r:id="rId4"/>
    <p:sldLayoutId id="2147483807" r:id="rId5"/>
    <p:sldLayoutId id="2147483800" r:id="rId6"/>
    <p:sldLayoutId id="2147483659" r:id="rId7"/>
    <p:sldLayoutId id="2147483804" r:id="rId8"/>
    <p:sldLayoutId id="2147483860" r:id="rId9"/>
    <p:sldLayoutId id="2147483856" r:id="rId10"/>
    <p:sldLayoutId id="2147483805" r:id="rId11"/>
    <p:sldLayoutId id="2147483806" r:id="rId12"/>
    <p:sldLayoutId id="2147483882" r:id="rId13"/>
    <p:sldLayoutId id="2147483879" r:id="rId14"/>
    <p:sldLayoutId id="2147483706" r:id="rId15"/>
    <p:sldLayoutId id="2147483718" r:id="rId16"/>
    <p:sldLayoutId id="2147483885" r:id="rId17"/>
    <p:sldLayoutId id="2147483886" r:id="rId18"/>
    <p:sldLayoutId id="2147483887" r:id="rId19"/>
    <p:sldLayoutId id="2147483888" r:id="rId20"/>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2"/>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40B17A4-151A-442A-85BB-61D97FD47CDC}"/>
              </a:ext>
            </a:extLst>
          </p:cNvPr>
          <p:cNvGraphicFramePr>
            <a:graphicFrameLocks noChangeAspect="1"/>
          </p:cNvGraphicFramePr>
          <p:nvPr userDrawn="1">
            <p:custDataLst>
              <p:tags r:id="rId17"/>
            </p:custDataLst>
            <p:extLst>
              <p:ext uri="{D42A27DB-BD31-4B8C-83A1-F6EECF244321}">
                <p14:modId xmlns:p14="http://schemas.microsoft.com/office/powerpoint/2010/main" val="1835853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7" name="think-cell Slide" r:id="rId39" imgW="592" imgH="591" progId="TCLayout.ActiveDocument.1">
                  <p:embed/>
                </p:oleObj>
              </mc:Choice>
              <mc:Fallback>
                <p:oleObj name="think-cell Slide" r:id="rId39" imgW="592" imgH="591" progId="TCLayout.ActiveDocument.1">
                  <p:embed/>
                  <p:pic>
                    <p:nvPicPr>
                      <p:cNvPr id="0" name=""/>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399E7-290D-4CE6-AA08-2DA0CF307E1C}"/>
              </a:ext>
            </a:extLst>
          </p:cNvPr>
          <p:cNvSpPr/>
          <p:nvPr userDrawn="1">
            <p:custDataLst>
              <p:tags r:id="rId18"/>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err="1">
              <a:solidFill>
                <a:schemeClr val="bg1"/>
              </a:solidFill>
              <a:latin typeface="Calibri" panose="020F0502020204030204" pitchFamily="34" charset="0"/>
              <a:ea typeface="+mj-ea"/>
              <a:cs typeface="+mj-cs"/>
              <a:sym typeface="Calibri" panose="020F0502020204030204" pitchFamily="34" charset="0"/>
            </a:endParaRPr>
          </a:p>
        </p:txBody>
      </p: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19"/>
            </p:custDataLst>
          </p:nvPr>
        </p:nvSpPr>
        <p:spPr>
          <a:xfrm>
            <a:off x="554736" y="519011"/>
            <a:ext cx="11082528" cy="384721"/>
          </a:xfrm>
          <a:prstGeom prst="rect">
            <a:avLst/>
          </a:prstGeom>
        </p:spPr>
        <p:txBody>
          <a:bodyPr vert="horz" wrap="square" lIns="0" tIns="0" rIns="0" bIns="0" rtlCol="0" anchor="b" anchorCtr="0">
            <a:spAutoFit/>
          </a:bodyPr>
          <a:lstStyle/>
          <a:p>
            <a:pPr lvl="0"/>
            <a:r>
              <a:rPr lang="fr-FR"/>
              <a:t>Click to edit Master title style</a:t>
            </a:r>
            <a:endParaRPr lang="fr-FR" dirty="0"/>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0"/>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1"/>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fr-FR"/>
              <a:t>Footnotes</a:t>
            </a:r>
          </a:p>
        </p:txBody>
      </p:sp>
      <p:sp>
        <p:nvSpPr>
          <p:cNvPr id="176" name="Sticker" hidden="1">
            <a:extLst>
              <a:ext uri="{FF2B5EF4-FFF2-40B4-BE49-F238E27FC236}">
                <a16:creationId xmlns:a16="http://schemas.microsoft.com/office/drawing/2014/main" id="{F05F3D84-B1F2-4969-91DD-7BB0F78A4159}"/>
              </a:ext>
            </a:extLst>
          </p:cNvPr>
          <p:cNvSpPr txBox="1"/>
          <p:nvPr userDrawn="1"/>
        </p:nvSpPr>
        <p:spPr>
          <a:xfrm>
            <a:off x="554736" y="1289273"/>
            <a:ext cx="344646"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fr-FR"/>
              <a:t>STICKER</a:t>
            </a:r>
          </a:p>
        </p:txBody>
      </p:sp>
      <p:sp>
        <p:nvSpPr>
          <p:cNvPr id="4" name="Text Placeholder 3">
            <a:extLst>
              <a:ext uri="{FF2B5EF4-FFF2-40B4-BE49-F238E27FC236}">
                <a16:creationId xmlns:a16="http://schemas.microsoft.com/office/drawing/2014/main" id="{AEA8BC65-10CC-4404-9B17-2797DDA47747}"/>
              </a:ext>
            </a:extLst>
          </p:cNvPr>
          <p:cNvSpPr>
            <a:spLocks noGrp="1"/>
          </p:cNvSpPr>
          <p:nvPr>
            <p:ph type="body" idx="1"/>
          </p:nvPr>
        </p:nvSpPr>
        <p:spPr>
          <a:xfrm>
            <a:off x="554736" y="2170800"/>
            <a:ext cx="2861022" cy="1384995"/>
          </a:xfrm>
          <a:prstGeom prst="rect">
            <a:avLst/>
          </a:prstGeom>
        </p:spPr>
        <p:txBody>
          <a:bodyPr vert="horz" lIns="0" tIns="0" rIns="0" bIns="0" rtlCol="0">
            <a:noAutofit/>
          </a:bodyPr>
          <a:lstStyle/>
          <a:p>
            <a:pPr lvl="0"/>
            <a:r>
              <a:rPr lang="fr-FR" dirty="0"/>
              <a:t>Click to </a:t>
            </a:r>
            <a:r>
              <a:rPr lang="fr-FR" dirty="0" err="1"/>
              <a:t>edit</a:t>
            </a:r>
            <a:r>
              <a:rPr lang="fr-FR" dirty="0"/>
              <a:t> Master </a:t>
            </a:r>
            <a:r>
              <a:rPr lang="fr-FR" dirty="0" err="1"/>
              <a:t>text</a:t>
            </a:r>
            <a:r>
              <a:rPr lang="fr-FR" dirty="0"/>
              <a:t> styles</a:t>
            </a:r>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a:p>
            <a:pPr lvl="4"/>
            <a:r>
              <a:rPr lang="fr-FR" dirty="0" err="1"/>
              <a:t>Fifth</a:t>
            </a:r>
            <a:r>
              <a:rPr lang="fr-FR" dirty="0"/>
              <a:t> </a:t>
            </a:r>
            <a:r>
              <a:rPr lang="fr-FR" dirty="0" err="1"/>
              <a:t>level</a:t>
            </a:r>
            <a:endParaRPr lang="fr-FR" dirty="0"/>
          </a:p>
        </p:txBody>
      </p:sp>
      <p:grpSp>
        <p:nvGrpSpPr>
          <p:cNvPr id="146" name="LegendBoxes" hidden="1">
            <a:extLst>
              <a:ext uri="{FF2B5EF4-FFF2-40B4-BE49-F238E27FC236}">
                <a16:creationId xmlns:a16="http://schemas.microsoft.com/office/drawing/2014/main" id="{50F813C4-408F-456F-8947-E13DD967EA18}"/>
              </a:ext>
            </a:extLst>
          </p:cNvPr>
          <p:cNvGrpSpPr/>
          <p:nvPr userDrawn="1"/>
        </p:nvGrpSpPr>
        <p:grpSpPr>
          <a:xfrm>
            <a:off x="10615415" y="4381500"/>
            <a:ext cx="940225" cy="1717282"/>
            <a:chOff x="10554770" y="4322824"/>
            <a:chExt cx="940225" cy="1717282"/>
          </a:xfrm>
        </p:grpSpPr>
        <p:sp>
          <p:nvSpPr>
            <p:cNvPr id="147" name="RectangleLegend1" hidden="1">
              <a:extLst>
                <a:ext uri="{FF2B5EF4-FFF2-40B4-BE49-F238E27FC236}">
                  <a16:creationId xmlns:a16="http://schemas.microsoft.com/office/drawing/2014/main" id="{0D2A4D43-C62E-48EA-B820-84B63DE6672D}"/>
                </a:ext>
              </a:extLst>
            </p:cNvPr>
            <p:cNvSpPr/>
            <p:nvPr/>
          </p:nvSpPr>
          <p:spPr>
            <a:xfrm>
              <a:off x="1055477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48" name="RectangleLegend2" hidden="1">
              <a:extLst>
                <a:ext uri="{FF2B5EF4-FFF2-40B4-BE49-F238E27FC236}">
                  <a16:creationId xmlns:a16="http://schemas.microsoft.com/office/drawing/2014/main" id="{370B01F5-D491-4836-828E-6A9A7C865997}"/>
                </a:ext>
              </a:extLst>
            </p:cNvPr>
            <p:cNvSpPr/>
            <p:nvPr/>
          </p:nvSpPr>
          <p:spPr>
            <a:xfrm>
              <a:off x="1055477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49" name="RectangleLegend3" hidden="1">
              <a:extLst>
                <a:ext uri="{FF2B5EF4-FFF2-40B4-BE49-F238E27FC236}">
                  <a16:creationId xmlns:a16="http://schemas.microsoft.com/office/drawing/2014/main" id="{42AD3786-196D-4AAC-A0F5-8894C23F95F1}"/>
                </a:ext>
              </a:extLst>
            </p:cNvPr>
            <p:cNvSpPr/>
            <p:nvPr/>
          </p:nvSpPr>
          <p:spPr>
            <a:xfrm>
              <a:off x="1055477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50" name="RectangleLegend4" hidden="1">
              <a:extLst>
                <a:ext uri="{FF2B5EF4-FFF2-40B4-BE49-F238E27FC236}">
                  <a16:creationId xmlns:a16="http://schemas.microsoft.com/office/drawing/2014/main" id="{34724B4D-250A-44CA-B69C-1202F30D67D4}"/>
                </a:ext>
              </a:extLst>
            </p:cNvPr>
            <p:cNvSpPr/>
            <p:nvPr/>
          </p:nvSpPr>
          <p:spPr>
            <a:xfrm>
              <a:off x="1055477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51" name="RectangleLegend5" hidden="1">
              <a:extLst>
                <a:ext uri="{FF2B5EF4-FFF2-40B4-BE49-F238E27FC236}">
                  <a16:creationId xmlns:a16="http://schemas.microsoft.com/office/drawing/2014/main" id="{EF045CEA-DC6D-4DD5-89C2-F51EC5092CE0}"/>
                </a:ext>
              </a:extLst>
            </p:cNvPr>
            <p:cNvSpPr/>
            <p:nvPr/>
          </p:nvSpPr>
          <p:spPr>
            <a:xfrm>
              <a:off x="1055477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52" name="Legend1" hidden="1">
              <a:extLst>
                <a:ext uri="{FF2B5EF4-FFF2-40B4-BE49-F238E27FC236}">
                  <a16:creationId xmlns:a16="http://schemas.microsoft.com/office/drawing/2014/main" id="{A996F225-7BBC-4052-8087-1EB8B66EDF25}"/>
                </a:ext>
              </a:extLst>
            </p:cNvPr>
            <p:cNvSpPr txBox="1"/>
            <p:nvPr/>
          </p:nvSpPr>
          <p:spPr>
            <a:xfrm>
              <a:off x="10880916" y="4322824"/>
              <a:ext cx="614079" cy="215444"/>
            </a:xfrm>
            <a:prstGeom prst="rect">
              <a:avLst/>
            </a:prstGeom>
            <a:noFill/>
            <a:ln>
              <a:noFill/>
              <a:miter lim="800000"/>
            </a:ln>
          </p:spPr>
          <p:txBody>
            <a:bodyPr wrap="none" lIns="0" tIns="0" rIns="0" bIns="0" rtlCol="0" anchor="ctr" anchorCtr="0">
              <a:spAutoFit/>
            </a:bodyPr>
            <a:lstStyle/>
            <a:p>
              <a:pPr>
                <a:spcAft>
                  <a:spcPts val="600"/>
                </a:spcAft>
              </a:pPr>
              <a:r>
                <a:rPr lang="en-US" sz="1400" err="1"/>
                <a:t>Legenda</a:t>
              </a:r>
              <a:endParaRPr lang="en-US" sz="1400"/>
            </a:p>
          </p:txBody>
        </p:sp>
        <p:sp>
          <p:nvSpPr>
            <p:cNvPr id="153" name="Legend2" hidden="1">
              <a:extLst>
                <a:ext uri="{FF2B5EF4-FFF2-40B4-BE49-F238E27FC236}">
                  <a16:creationId xmlns:a16="http://schemas.microsoft.com/office/drawing/2014/main" id="{E3C9C3E4-7CC5-4A2A-9FFB-CF1236062263}"/>
                </a:ext>
              </a:extLst>
            </p:cNvPr>
            <p:cNvSpPr txBox="1"/>
            <p:nvPr/>
          </p:nvSpPr>
          <p:spPr>
            <a:xfrm>
              <a:off x="10880916" y="4702322"/>
              <a:ext cx="614079" cy="215444"/>
            </a:xfrm>
            <a:prstGeom prst="rect">
              <a:avLst/>
            </a:prstGeom>
            <a:noFill/>
            <a:ln>
              <a:noFill/>
              <a:miter lim="800000"/>
            </a:ln>
          </p:spPr>
          <p:txBody>
            <a:bodyPr wrap="none" lIns="0" tIns="0" rIns="0" bIns="0" rtlCol="0" anchor="ctr" anchorCtr="0">
              <a:spAutoFit/>
            </a:bodyPr>
            <a:lstStyle/>
            <a:p>
              <a:pPr>
                <a:spcAft>
                  <a:spcPts val="600"/>
                </a:spcAft>
              </a:pPr>
              <a:r>
                <a:rPr lang="en-US" sz="1400" err="1"/>
                <a:t>Legenda</a:t>
              </a:r>
              <a:endParaRPr lang="en-US" sz="1400"/>
            </a:p>
          </p:txBody>
        </p:sp>
        <p:sp>
          <p:nvSpPr>
            <p:cNvPr id="154" name="Legend3" hidden="1">
              <a:extLst>
                <a:ext uri="{FF2B5EF4-FFF2-40B4-BE49-F238E27FC236}">
                  <a16:creationId xmlns:a16="http://schemas.microsoft.com/office/drawing/2014/main" id="{F358C1DA-3681-44EB-B5C2-B2DD79375485}"/>
                </a:ext>
              </a:extLst>
            </p:cNvPr>
            <p:cNvSpPr txBox="1"/>
            <p:nvPr/>
          </p:nvSpPr>
          <p:spPr>
            <a:xfrm>
              <a:off x="10880916" y="5081820"/>
              <a:ext cx="614079" cy="215444"/>
            </a:xfrm>
            <a:prstGeom prst="rect">
              <a:avLst/>
            </a:prstGeom>
            <a:noFill/>
            <a:ln>
              <a:noFill/>
              <a:miter lim="800000"/>
            </a:ln>
          </p:spPr>
          <p:txBody>
            <a:bodyPr wrap="none" lIns="0" tIns="0" rIns="0" bIns="0" rtlCol="0" anchor="ctr" anchorCtr="0">
              <a:spAutoFit/>
            </a:bodyPr>
            <a:lstStyle/>
            <a:p>
              <a:pPr>
                <a:spcAft>
                  <a:spcPts val="600"/>
                </a:spcAft>
              </a:pPr>
              <a:r>
                <a:rPr lang="en-US" sz="1400" err="1"/>
                <a:t>Legenda</a:t>
              </a:r>
              <a:endParaRPr lang="en-US" sz="1400"/>
            </a:p>
          </p:txBody>
        </p:sp>
        <p:sp>
          <p:nvSpPr>
            <p:cNvPr id="155" name="Legend4" hidden="1">
              <a:extLst>
                <a:ext uri="{FF2B5EF4-FFF2-40B4-BE49-F238E27FC236}">
                  <a16:creationId xmlns:a16="http://schemas.microsoft.com/office/drawing/2014/main" id="{90C4A08E-61F2-470C-8F3B-910AA551D7D5}"/>
                </a:ext>
              </a:extLst>
            </p:cNvPr>
            <p:cNvSpPr txBox="1"/>
            <p:nvPr/>
          </p:nvSpPr>
          <p:spPr>
            <a:xfrm>
              <a:off x="10880916" y="5453241"/>
              <a:ext cx="614079" cy="215444"/>
            </a:xfrm>
            <a:prstGeom prst="rect">
              <a:avLst/>
            </a:prstGeom>
            <a:noFill/>
            <a:ln>
              <a:noFill/>
              <a:miter lim="800000"/>
            </a:ln>
          </p:spPr>
          <p:txBody>
            <a:bodyPr wrap="none" lIns="0" tIns="0" rIns="0" bIns="0" rtlCol="0" anchor="ctr" anchorCtr="0">
              <a:spAutoFit/>
            </a:bodyPr>
            <a:lstStyle/>
            <a:p>
              <a:pPr>
                <a:spcAft>
                  <a:spcPts val="600"/>
                </a:spcAft>
              </a:pPr>
              <a:r>
                <a:rPr lang="en-US" sz="1400" err="1"/>
                <a:t>Legenda</a:t>
              </a:r>
              <a:endParaRPr lang="en-US" sz="1400"/>
            </a:p>
          </p:txBody>
        </p:sp>
        <p:sp>
          <p:nvSpPr>
            <p:cNvPr id="156" name="Legend5" hidden="1">
              <a:extLst>
                <a:ext uri="{FF2B5EF4-FFF2-40B4-BE49-F238E27FC236}">
                  <a16:creationId xmlns:a16="http://schemas.microsoft.com/office/drawing/2014/main" id="{BA068299-4C01-474B-BE0A-CF880A05E524}"/>
                </a:ext>
              </a:extLst>
            </p:cNvPr>
            <p:cNvSpPr txBox="1"/>
            <p:nvPr/>
          </p:nvSpPr>
          <p:spPr>
            <a:xfrm>
              <a:off x="10880915" y="5824662"/>
              <a:ext cx="614079" cy="215444"/>
            </a:xfrm>
            <a:prstGeom prst="rect">
              <a:avLst/>
            </a:prstGeom>
            <a:noFill/>
            <a:ln>
              <a:noFill/>
              <a:miter lim="800000"/>
            </a:ln>
          </p:spPr>
          <p:txBody>
            <a:bodyPr wrap="none" lIns="0" tIns="0" rIns="0" bIns="0" rtlCol="0" anchor="ctr" anchorCtr="0">
              <a:spAutoFit/>
            </a:bodyPr>
            <a:lstStyle/>
            <a:p>
              <a:pPr>
                <a:spcAft>
                  <a:spcPts val="600"/>
                </a:spcAft>
              </a:pPr>
              <a:r>
                <a:rPr lang="en-US" sz="1400" err="1"/>
                <a:t>Legenda</a:t>
              </a:r>
              <a:endParaRPr lang="en-US" sz="1400"/>
            </a:p>
          </p:txBody>
        </p:sp>
      </p:grpSp>
      <p:grpSp>
        <p:nvGrpSpPr>
          <p:cNvPr id="157" name="LegendLines" hidden="1">
            <a:extLst>
              <a:ext uri="{FF2B5EF4-FFF2-40B4-BE49-F238E27FC236}">
                <a16:creationId xmlns:a16="http://schemas.microsoft.com/office/drawing/2014/main" id="{FB0CDD3A-D710-4C1C-BD72-3371DC4B08F7}"/>
              </a:ext>
            </a:extLst>
          </p:cNvPr>
          <p:cNvGrpSpPr/>
          <p:nvPr userDrawn="1"/>
        </p:nvGrpSpPr>
        <p:grpSpPr>
          <a:xfrm>
            <a:off x="10217918" y="3150831"/>
            <a:ext cx="1337722" cy="958286"/>
            <a:chOff x="10162879" y="3243772"/>
            <a:chExt cx="1337722" cy="958286"/>
          </a:xfrm>
        </p:grpSpPr>
        <p:sp>
          <p:nvSpPr>
            <p:cNvPr id="158" name="Legend1" hidden="1">
              <a:extLst>
                <a:ext uri="{FF2B5EF4-FFF2-40B4-BE49-F238E27FC236}">
                  <a16:creationId xmlns:a16="http://schemas.microsoft.com/office/drawing/2014/main" id="{781855E4-E71F-489B-AF2B-46F55FBEF3E9}"/>
                </a:ext>
              </a:extLst>
            </p:cNvPr>
            <p:cNvSpPr txBox="1"/>
            <p:nvPr/>
          </p:nvSpPr>
          <p:spPr>
            <a:xfrm>
              <a:off x="10886522" y="3243772"/>
              <a:ext cx="614079" cy="215444"/>
            </a:xfrm>
            <a:prstGeom prst="rect">
              <a:avLst/>
            </a:prstGeom>
            <a:noFill/>
            <a:ln>
              <a:noFill/>
              <a:miter lim="800000"/>
            </a:ln>
          </p:spPr>
          <p:txBody>
            <a:bodyPr wrap="none" lIns="0" tIns="0" rIns="0" bIns="0" rtlCol="0" anchor="ctr" anchorCtr="0">
              <a:spAutoFit/>
            </a:bodyPr>
            <a:lstStyle/>
            <a:p>
              <a:pPr>
                <a:spcAft>
                  <a:spcPts val="600"/>
                </a:spcAft>
              </a:pPr>
              <a:r>
                <a:rPr lang="en-US" sz="1400" err="1"/>
                <a:t>Legenda</a:t>
              </a:r>
              <a:endParaRPr lang="en-US" sz="1400"/>
            </a:p>
          </p:txBody>
        </p:sp>
        <p:sp>
          <p:nvSpPr>
            <p:cNvPr id="159" name="Legend2" hidden="1">
              <a:extLst>
                <a:ext uri="{FF2B5EF4-FFF2-40B4-BE49-F238E27FC236}">
                  <a16:creationId xmlns:a16="http://schemas.microsoft.com/office/drawing/2014/main" id="{F766A276-AB6F-45D3-9099-E4B310A16020}"/>
                </a:ext>
              </a:extLst>
            </p:cNvPr>
            <p:cNvSpPr txBox="1"/>
            <p:nvPr/>
          </p:nvSpPr>
          <p:spPr>
            <a:xfrm>
              <a:off x="10886522" y="3615193"/>
              <a:ext cx="614079" cy="215444"/>
            </a:xfrm>
            <a:prstGeom prst="rect">
              <a:avLst/>
            </a:prstGeom>
            <a:noFill/>
            <a:ln>
              <a:noFill/>
              <a:miter lim="800000"/>
            </a:ln>
          </p:spPr>
          <p:txBody>
            <a:bodyPr wrap="none" lIns="0" tIns="0" rIns="0" bIns="0" rtlCol="0" anchor="ctr" anchorCtr="0">
              <a:spAutoFit/>
            </a:bodyPr>
            <a:lstStyle/>
            <a:p>
              <a:pPr>
                <a:spcAft>
                  <a:spcPts val="600"/>
                </a:spcAft>
              </a:pPr>
              <a:r>
                <a:rPr lang="en-US" sz="1400" err="1"/>
                <a:t>Legenda</a:t>
              </a:r>
              <a:endParaRPr lang="en-US" sz="1400"/>
            </a:p>
          </p:txBody>
        </p:sp>
        <p:sp>
          <p:nvSpPr>
            <p:cNvPr id="160" name="Legend3" hidden="1">
              <a:extLst>
                <a:ext uri="{FF2B5EF4-FFF2-40B4-BE49-F238E27FC236}">
                  <a16:creationId xmlns:a16="http://schemas.microsoft.com/office/drawing/2014/main" id="{83A4E08D-370F-4528-A5E7-4D068C849C70}"/>
                </a:ext>
              </a:extLst>
            </p:cNvPr>
            <p:cNvSpPr txBox="1"/>
            <p:nvPr/>
          </p:nvSpPr>
          <p:spPr>
            <a:xfrm>
              <a:off x="10886522" y="3986614"/>
              <a:ext cx="614079" cy="215444"/>
            </a:xfrm>
            <a:prstGeom prst="rect">
              <a:avLst/>
            </a:prstGeom>
            <a:noFill/>
            <a:ln>
              <a:noFill/>
              <a:miter lim="800000"/>
            </a:ln>
          </p:spPr>
          <p:txBody>
            <a:bodyPr wrap="none" lIns="0" tIns="0" rIns="0" bIns="0" rtlCol="0" anchor="ctr" anchorCtr="0">
              <a:spAutoFit/>
            </a:bodyPr>
            <a:lstStyle/>
            <a:p>
              <a:pPr>
                <a:spcAft>
                  <a:spcPts val="600"/>
                </a:spcAft>
              </a:pPr>
              <a:r>
                <a:rPr lang="en-US" sz="1400" err="1"/>
                <a:t>Legenda</a:t>
              </a:r>
              <a:endParaRPr lang="en-US" sz="1400"/>
            </a:p>
          </p:txBody>
        </p:sp>
        <p:sp>
          <p:nvSpPr>
            <p:cNvPr id="161" name="LineLegend3" hidden="1">
              <a:extLst>
                <a:ext uri="{FF2B5EF4-FFF2-40B4-BE49-F238E27FC236}">
                  <a16:creationId xmlns:a16="http://schemas.microsoft.com/office/drawing/2014/main" id="{D52A758D-8CCA-4965-BAB6-44185BA560D7}"/>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latin typeface="+mn-lt"/>
                <a:ea typeface="+mn-ea"/>
              </a:endParaRPr>
            </a:p>
          </p:txBody>
        </p:sp>
        <p:sp>
          <p:nvSpPr>
            <p:cNvPr id="162" name="LineLegend2" hidden="1">
              <a:extLst>
                <a:ext uri="{FF2B5EF4-FFF2-40B4-BE49-F238E27FC236}">
                  <a16:creationId xmlns:a16="http://schemas.microsoft.com/office/drawing/2014/main" id="{DD1DAC5F-E2B0-43DF-BE76-B6F07E0C9441}"/>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latin typeface="+mn-lt"/>
                <a:ea typeface="+mn-ea"/>
              </a:endParaRPr>
            </a:p>
          </p:txBody>
        </p:sp>
        <p:sp>
          <p:nvSpPr>
            <p:cNvPr id="163" name="LineLegend1" hidden="1">
              <a:extLst>
                <a:ext uri="{FF2B5EF4-FFF2-40B4-BE49-F238E27FC236}">
                  <a16:creationId xmlns:a16="http://schemas.microsoft.com/office/drawing/2014/main" id="{FDB0AB80-36A6-499D-9AC2-D17D5B06FF15}"/>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latin typeface="+mn-lt"/>
                <a:ea typeface="+mn-ea"/>
              </a:endParaRPr>
            </a:p>
          </p:txBody>
        </p:sp>
      </p:grpSp>
      <p:grpSp>
        <p:nvGrpSpPr>
          <p:cNvPr id="164" name="LegendMoons" hidden="1">
            <a:extLst>
              <a:ext uri="{FF2B5EF4-FFF2-40B4-BE49-F238E27FC236}">
                <a16:creationId xmlns:a16="http://schemas.microsoft.com/office/drawing/2014/main" id="{E23CE173-FD17-42FD-B584-3AA7BEA1C298}"/>
              </a:ext>
            </a:extLst>
          </p:cNvPr>
          <p:cNvGrpSpPr/>
          <p:nvPr userDrawn="1"/>
        </p:nvGrpSpPr>
        <p:grpSpPr>
          <a:xfrm>
            <a:off x="10588929" y="1146588"/>
            <a:ext cx="966711" cy="1731859"/>
            <a:chOff x="7716535" y="2630582"/>
            <a:chExt cx="966711" cy="1731859"/>
          </a:xfrm>
        </p:grpSpPr>
        <p:sp>
          <p:nvSpPr>
            <p:cNvPr id="165" name="Legend1" hidden="1">
              <a:extLst>
                <a:ext uri="{FF2B5EF4-FFF2-40B4-BE49-F238E27FC236}">
                  <a16:creationId xmlns:a16="http://schemas.microsoft.com/office/drawing/2014/main" id="{E7DFADD1-0A12-4849-B8BD-7623D417C10C}"/>
                </a:ext>
              </a:extLst>
            </p:cNvPr>
            <p:cNvSpPr txBox="1"/>
            <p:nvPr/>
          </p:nvSpPr>
          <p:spPr>
            <a:xfrm>
              <a:off x="8069167" y="2637941"/>
              <a:ext cx="614079" cy="215444"/>
            </a:xfrm>
            <a:prstGeom prst="rect">
              <a:avLst/>
            </a:prstGeom>
            <a:noFill/>
            <a:ln>
              <a:noFill/>
              <a:miter lim="800000"/>
            </a:ln>
          </p:spPr>
          <p:txBody>
            <a:bodyPr wrap="none" lIns="0" tIns="0" rIns="0" bIns="0" rtlCol="0" anchor="ctr" anchorCtr="0">
              <a:spAutoFit/>
            </a:bodyPr>
            <a:lstStyle/>
            <a:p>
              <a:pPr>
                <a:spcAft>
                  <a:spcPts val="600"/>
                </a:spcAft>
              </a:pPr>
              <a:r>
                <a:rPr lang="en-US" sz="1400" err="1"/>
                <a:t>Legenda</a:t>
              </a:r>
              <a:endParaRPr lang="en-US" sz="1400"/>
            </a:p>
          </p:txBody>
        </p:sp>
        <p:sp>
          <p:nvSpPr>
            <p:cNvPr id="166" name="Legend2" hidden="1">
              <a:extLst>
                <a:ext uri="{FF2B5EF4-FFF2-40B4-BE49-F238E27FC236}">
                  <a16:creationId xmlns:a16="http://schemas.microsoft.com/office/drawing/2014/main" id="{A6B89D3E-5822-474C-956F-570ECD89F556}"/>
                </a:ext>
              </a:extLst>
            </p:cNvPr>
            <p:cNvSpPr txBox="1"/>
            <p:nvPr/>
          </p:nvSpPr>
          <p:spPr>
            <a:xfrm>
              <a:off x="8069167" y="3013400"/>
              <a:ext cx="614079" cy="215444"/>
            </a:xfrm>
            <a:prstGeom prst="rect">
              <a:avLst/>
            </a:prstGeom>
            <a:noFill/>
            <a:ln>
              <a:noFill/>
              <a:miter lim="800000"/>
            </a:ln>
          </p:spPr>
          <p:txBody>
            <a:bodyPr wrap="none" lIns="0" tIns="0" rIns="0" bIns="0" rtlCol="0" anchor="ctr" anchorCtr="0">
              <a:spAutoFit/>
            </a:bodyPr>
            <a:lstStyle/>
            <a:p>
              <a:pPr>
                <a:spcAft>
                  <a:spcPts val="600"/>
                </a:spcAft>
              </a:pPr>
              <a:r>
                <a:rPr lang="en-US" sz="1400" err="1"/>
                <a:t>Legenda</a:t>
              </a:r>
              <a:endParaRPr lang="en-US" sz="1400"/>
            </a:p>
          </p:txBody>
        </p:sp>
        <p:sp>
          <p:nvSpPr>
            <p:cNvPr id="167" name="Legend3" hidden="1">
              <a:extLst>
                <a:ext uri="{FF2B5EF4-FFF2-40B4-BE49-F238E27FC236}">
                  <a16:creationId xmlns:a16="http://schemas.microsoft.com/office/drawing/2014/main" id="{100FAE03-6FA5-4AAC-9B1A-D172D5540DDD}"/>
                </a:ext>
              </a:extLst>
            </p:cNvPr>
            <p:cNvSpPr txBox="1"/>
            <p:nvPr/>
          </p:nvSpPr>
          <p:spPr>
            <a:xfrm>
              <a:off x="8069167" y="3388859"/>
              <a:ext cx="614079" cy="215444"/>
            </a:xfrm>
            <a:prstGeom prst="rect">
              <a:avLst/>
            </a:prstGeom>
            <a:noFill/>
            <a:ln>
              <a:noFill/>
              <a:miter lim="800000"/>
            </a:ln>
          </p:spPr>
          <p:txBody>
            <a:bodyPr wrap="none" lIns="0" tIns="0" rIns="0" bIns="0" rtlCol="0" anchor="ctr" anchorCtr="0">
              <a:spAutoFit/>
            </a:bodyPr>
            <a:lstStyle/>
            <a:p>
              <a:pPr>
                <a:spcAft>
                  <a:spcPts val="600"/>
                </a:spcAft>
              </a:pPr>
              <a:r>
                <a:rPr lang="en-US" sz="1400" err="1"/>
                <a:t>Legenda</a:t>
              </a:r>
              <a:endParaRPr lang="en-US" sz="1400"/>
            </a:p>
          </p:txBody>
        </p:sp>
        <p:sp>
          <p:nvSpPr>
            <p:cNvPr id="208" name="Legend4" hidden="1">
              <a:extLst>
                <a:ext uri="{FF2B5EF4-FFF2-40B4-BE49-F238E27FC236}">
                  <a16:creationId xmlns:a16="http://schemas.microsoft.com/office/drawing/2014/main" id="{6B6A7AB1-5FC1-4FBD-AF41-291B6D7B26F0}"/>
                </a:ext>
              </a:extLst>
            </p:cNvPr>
            <p:cNvSpPr txBox="1"/>
            <p:nvPr/>
          </p:nvSpPr>
          <p:spPr>
            <a:xfrm>
              <a:off x="8069167" y="3764318"/>
              <a:ext cx="614079" cy="215444"/>
            </a:xfrm>
            <a:prstGeom prst="rect">
              <a:avLst/>
            </a:prstGeom>
            <a:noFill/>
            <a:ln>
              <a:noFill/>
              <a:miter lim="800000"/>
            </a:ln>
          </p:spPr>
          <p:txBody>
            <a:bodyPr wrap="none" lIns="0" tIns="0" rIns="0" bIns="0" rtlCol="0" anchor="ctr" anchorCtr="0">
              <a:spAutoFit/>
            </a:bodyPr>
            <a:lstStyle/>
            <a:p>
              <a:pPr>
                <a:spcAft>
                  <a:spcPts val="600"/>
                </a:spcAft>
              </a:pPr>
              <a:r>
                <a:rPr lang="en-US" sz="1400" err="1"/>
                <a:t>Legenda</a:t>
              </a:r>
              <a:endParaRPr lang="en-US" sz="1400"/>
            </a:p>
          </p:txBody>
        </p:sp>
        <p:sp>
          <p:nvSpPr>
            <p:cNvPr id="209" name="Legend5" hidden="1">
              <a:extLst>
                <a:ext uri="{FF2B5EF4-FFF2-40B4-BE49-F238E27FC236}">
                  <a16:creationId xmlns:a16="http://schemas.microsoft.com/office/drawing/2014/main" id="{0A06677F-2B88-4BF1-8E19-DBE075B12418}"/>
                </a:ext>
              </a:extLst>
            </p:cNvPr>
            <p:cNvSpPr txBox="1"/>
            <p:nvPr/>
          </p:nvSpPr>
          <p:spPr>
            <a:xfrm>
              <a:off x="8069167" y="4139779"/>
              <a:ext cx="614079" cy="215444"/>
            </a:xfrm>
            <a:prstGeom prst="rect">
              <a:avLst/>
            </a:prstGeom>
            <a:noFill/>
            <a:ln>
              <a:noFill/>
              <a:miter lim="800000"/>
            </a:ln>
          </p:spPr>
          <p:txBody>
            <a:bodyPr wrap="none" lIns="0" tIns="0" rIns="0" bIns="0" rtlCol="0" anchor="ctr" anchorCtr="0">
              <a:spAutoFit/>
            </a:bodyPr>
            <a:lstStyle/>
            <a:p>
              <a:pPr>
                <a:spcAft>
                  <a:spcPts val="600"/>
                </a:spcAft>
              </a:pPr>
              <a:r>
                <a:rPr lang="en-US" sz="1400" err="1"/>
                <a:t>Legenda</a:t>
              </a:r>
              <a:endParaRPr lang="en-US" sz="1400"/>
            </a:p>
          </p:txBody>
        </p:sp>
        <p:grpSp>
          <p:nvGrpSpPr>
            <p:cNvPr id="210" name="MoonLegend1" hidden="1">
              <a:extLst>
                <a:ext uri="{FF2B5EF4-FFF2-40B4-BE49-F238E27FC236}">
                  <a16:creationId xmlns:a16="http://schemas.microsoft.com/office/drawing/2014/main" id="{A0BD008A-E7A6-4FDC-AFD4-1D03A6E557F2}"/>
                </a:ext>
              </a:extLst>
            </p:cNvPr>
            <p:cNvGrpSpPr>
              <a:grpSpLocks noChangeAspect="1"/>
            </p:cNvGrpSpPr>
            <p:nvPr>
              <p:custDataLst>
                <p:tags r:id="rId24"/>
              </p:custDataLst>
            </p:nvPr>
          </p:nvGrpSpPr>
          <p:grpSpPr>
            <a:xfrm>
              <a:off x="7716535" y="2630582"/>
              <a:ext cx="228600" cy="228600"/>
              <a:chOff x="762000" y="1270000"/>
              <a:chExt cx="254000" cy="254000"/>
            </a:xfrm>
          </p:grpSpPr>
          <p:sp>
            <p:nvSpPr>
              <p:cNvPr id="223" name="Oval 222" hidden="1">
                <a:extLst>
                  <a:ext uri="{FF2B5EF4-FFF2-40B4-BE49-F238E27FC236}">
                    <a16:creationId xmlns:a16="http://schemas.microsoft.com/office/drawing/2014/main" id="{FF48D898-C038-4B13-A994-5D26E84DDFB6}"/>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224" name="Arc 223" hidden="1">
                <a:extLst>
                  <a:ext uri="{FF2B5EF4-FFF2-40B4-BE49-F238E27FC236}">
                    <a16:creationId xmlns:a16="http://schemas.microsoft.com/office/drawing/2014/main" id="{4839C4F1-2BCB-4EFD-A5BD-E103F0F575C9}"/>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11" name="MoonLegend2" hidden="1">
              <a:extLst>
                <a:ext uri="{FF2B5EF4-FFF2-40B4-BE49-F238E27FC236}">
                  <a16:creationId xmlns:a16="http://schemas.microsoft.com/office/drawing/2014/main" id="{43E2B554-DCB1-4507-A472-CD8A7445C2AA}"/>
                </a:ext>
              </a:extLst>
            </p:cNvPr>
            <p:cNvGrpSpPr>
              <a:grpSpLocks noChangeAspect="1"/>
            </p:cNvGrpSpPr>
            <p:nvPr>
              <p:custDataLst>
                <p:tags r:id="rId25"/>
              </p:custDataLst>
            </p:nvPr>
          </p:nvGrpSpPr>
          <p:grpSpPr>
            <a:xfrm>
              <a:off x="7716535" y="3006395"/>
              <a:ext cx="228600" cy="228600"/>
              <a:chOff x="762000" y="1270000"/>
              <a:chExt cx="254000" cy="254000"/>
            </a:xfrm>
          </p:grpSpPr>
          <p:sp>
            <p:nvSpPr>
              <p:cNvPr id="221" name="Oval 220" hidden="1">
                <a:extLst>
                  <a:ext uri="{FF2B5EF4-FFF2-40B4-BE49-F238E27FC236}">
                    <a16:creationId xmlns:a16="http://schemas.microsoft.com/office/drawing/2014/main" id="{B9A9686E-964E-4026-9E0E-575976C4B3A4}"/>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222" name="Arc 221" hidden="1">
                <a:extLst>
                  <a:ext uri="{FF2B5EF4-FFF2-40B4-BE49-F238E27FC236}">
                    <a16:creationId xmlns:a16="http://schemas.microsoft.com/office/drawing/2014/main" id="{8D767CAB-79C4-4784-B592-2168DC021BA2}"/>
                  </a:ext>
                </a:extLst>
              </p:cNvPr>
              <p:cNvSpPr/>
              <p:nvPr>
                <p:custDataLst>
                  <p:tags r:id="rId36"/>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12" name="MoonLegend3" hidden="1">
              <a:extLst>
                <a:ext uri="{FF2B5EF4-FFF2-40B4-BE49-F238E27FC236}">
                  <a16:creationId xmlns:a16="http://schemas.microsoft.com/office/drawing/2014/main" id="{7F104145-731D-4FBB-BCE1-7B7096572EAD}"/>
                </a:ext>
              </a:extLst>
            </p:cNvPr>
            <p:cNvGrpSpPr>
              <a:grpSpLocks noChangeAspect="1"/>
            </p:cNvGrpSpPr>
            <p:nvPr>
              <p:custDataLst>
                <p:tags r:id="rId26"/>
              </p:custDataLst>
            </p:nvPr>
          </p:nvGrpSpPr>
          <p:grpSpPr>
            <a:xfrm>
              <a:off x="7716535" y="3382210"/>
              <a:ext cx="228600" cy="228600"/>
              <a:chOff x="762000" y="1270000"/>
              <a:chExt cx="254000" cy="254000"/>
            </a:xfrm>
          </p:grpSpPr>
          <p:sp>
            <p:nvSpPr>
              <p:cNvPr id="219" name="Oval 218" hidden="1">
                <a:extLst>
                  <a:ext uri="{FF2B5EF4-FFF2-40B4-BE49-F238E27FC236}">
                    <a16:creationId xmlns:a16="http://schemas.microsoft.com/office/drawing/2014/main" id="{C97132E2-8A7B-42E9-87BA-1A8BC849A7DC}"/>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220" name="Arc 219" hidden="1">
                <a:extLst>
                  <a:ext uri="{FF2B5EF4-FFF2-40B4-BE49-F238E27FC236}">
                    <a16:creationId xmlns:a16="http://schemas.microsoft.com/office/drawing/2014/main" id="{E6B0379C-3875-4A67-B323-5147B1722382}"/>
                  </a:ext>
                </a:extLst>
              </p:cNvPr>
              <p:cNvSpPr/>
              <p:nvPr>
                <p:custDataLst>
                  <p:tags r:id="rId34"/>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13" name="MoonLegend4" hidden="1">
              <a:extLst>
                <a:ext uri="{FF2B5EF4-FFF2-40B4-BE49-F238E27FC236}">
                  <a16:creationId xmlns:a16="http://schemas.microsoft.com/office/drawing/2014/main" id="{D65175A3-A05B-4FD6-8E4A-26F53879D7C5}"/>
                </a:ext>
              </a:extLst>
            </p:cNvPr>
            <p:cNvGrpSpPr>
              <a:grpSpLocks noChangeAspect="1"/>
            </p:cNvGrpSpPr>
            <p:nvPr>
              <p:custDataLst>
                <p:tags r:id="rId27"/>
              </p:custDataLst>
            </p:nvPr>
          </p:nvGrpSpPr>
          <p:grpSpPr>
            <a:xfrm>
              <a:off x="7716535" y="3758025"/>
              <a:ext cx="228600" cy="228600"/>
              <a:chOff x="762000" y="1270000"/>
              <a:chExt cx="254000" cy="254000"/>
            </a:xfrm>
          </p:grpSpPr>
          <p:sp>
            <p:nvSpPr>
              <p:cNvPr id="217" name="Oval 216" hidden="1">
                <a:extLst>
                  <a:ext uri="{FF2B5EF4-FFF2-40B4-BE49-F238E27FC236}">
                    <a16:creationId xmlns:a16="http://schemas.microsoft.com/office/drawing/2014/main" id="{4C850B46-8FAC-4ED0-9B39-1959CEAB8D21}"/>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218" name="Arc 217" hidden="1">
                <a:extLst>
                  <a:ext uri="{FF2B5EF4-FFF2-40B4-BE49-F238E27FC236}">
                    <a16:creationId xmlns:a16="http://schemas.microsoft.com/office/drawing/2014/main" id="{5464F658-6ACE-43C3-846A-0CF1B5E0E9D7}"/>
                  </a:ext>
                </a:extLst>
              </p:cNvPr>
              <p:cNvSpPr/>
              <p:nvPr>
                <p:custDataLst>
                  <p:tags r:id="rId32"/>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14" name="MoonLegend5" hidden="1">
              <a:extLst>
                <a:ext uri="{FF2B5EF4-FFF2-40B4-BE49-F238E27FC236}">
                  <a16:creationId xmlns:a16="http://schemas.microsoft.com/office/drawing/2014/main" id="{AB692B1C-03D1-40D1-BC20-3FCA8380D911}"/>
                </a:ext>
              </a:extLst>
            </p:cNvPr>
            <p:cNvGrpSpPr>
              <a:grpSpLocks noChangeAspect="1"/>
            </p:cNvGrpSpPr>
            <p:nvPr>
              <p:custDataLst>
                <p:tags r:id="rId28"/>
              </p:custDataLst>
            </p:nvPr>
          </p:nvGrpSpPr>
          <p:grpSpPr>
            <a:xfrm>
              <a:off x="7716535" y="4133841"/>
              <a:ext cx="228600" cy="228600"/>
              <a:chOff x="762000" y="1270000"/>
              <a:chExt cx="254000" cy="254000"/>
            </a:xfrm>
          </p:grpSpPr>
          <p:sp>
            <p:nvSpPr>
              <p:cNvPr id="215" name="Oval 214" hidden="1">
                <a:extLst>
                  <a:ext uri="{FF2B5EF4-FFF2-40B4-BE49-F238E27FC236}">
                    <a16:creationId xmlns:a16="http://schemas.microsoft.com/office/drawing/2014/main" id="{47AF9105-A471-4C1E-8888-2F3BE81DF20C}"/>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216" name="Arc 215" hidden="1">
                <a:extLst>
                  <a:ext uri="{FF2B5EF4-FFF2-40B4-BE49-F238E27FC236}">
                    <a16:creationId xmlns:a16="http://schemas.microsoft.com/office/drawing/2014/main" id="{50F854CC-B6DA-47B1-BC99-4F467CCA3018}"/>
                  </a:ext>
                </a:extLst>
              </p:cNvPr>
              <p:cNvSpPr/>
              <p:nvPr>
                <p:custDataLst>
                  <p:tags r:id="rId30"/>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cxnSp>
        <p:nvCxnSpPr>
          <p:cNvPr id="144" name="TopLine">
            <a:extLst>
              <a:ext uri="{FF2B5EF4-FFF2-40B4-BE49-F238E27FC236}">
                <a16:creationId xmlns:a16="http://schemas.microsoft.com/office/drawing/2014/main" id="{F7B83A46-7419-4D58-A0D1-8D024DCFFCF9}"/>
              </a:ext>
            </a:extLst>
          </p:cNvPr>
          <p:cNvCxnSpPr>
            <a:cxnSpLocks/>
          </p:cNvCxnSpPr>
          <p:nvPr userDrawn="1">
            <p:custDataLst>
              <p:tags r:id="rId22"/>
            </p:custDataLst>
          </p:nvPr>
        </p:nvCxnSpPr>
        <p:spPr>
          <a:xfrm>
            <a:off x="554736" y="1181906"/>
            <a:ext cx="11082528" cy="0"/>
          </a:xfrm>
          <a:prstGeom prst="line">
            <a:avLst/>
          </a:prstGeom>
          <a:ln w="3810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8" name="ACET" hidden="1">
            <a:extLst>
              <a:ext uri="{FF2B5EF4-FFF2-40B4-BE49-F238E27FC236}">
                <a16:creationId xmlns:a16="http://schemas.microsoft.com/office/drawing/2014/main" id="{2911991B-B38E-4D87-BE5A-242233BBA845}"/>
              </a:ext>
            </a:extLst>
          </p:cNvPr>
          <p:cNvSpPr txBox="1"/>
          <p:nvPr userDrawn="1">
            <p:custDataLst>
              <p:tags r:id="rId23"/>
            </p:custDataLst>
          </p:nvPr>
        </p:nvSpPr>
        <p:spPr>
          <a:xfrm>
            <a:off x="5987739" y="2170800"/>
            <a:ext cx="2580590" cy="461665"/>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fr-FR" err="1"/>
              <a:t>Titel</a:t>
            </a:r>
            <a:br>
              <a:rPr lang="fr-FR" sz="1600" b="1"/>
            </a:br>
            <a:r>
              <a:rPr lang="fr-FR" sz="1400" b="0" err="1"/>
              <a:t>Meeteenheid</a:t>
            </a:r>
            <a:endParaRPr lang="fr-FR" sz="1400" b="0"/>
          </a:p>
        </p:txBody>
      </p:sp>
    </p:spTree>
    <p:extLst>
      <p:ext uri="{BB962C8B-B14F-4D97-AF65-F5344CB8AC3E}">
        <p14:creationId xmlns:p14="http://schemas.microsoft.com/office/powerpoint/2010/main" val="3386525249"/>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70" r:id="rId5"/>
    <p:sldLayoutId id="2147483871" r:id="rId6"/>
    <p:sldLayoutId id="2147483872" r:id="rId7"/>
    <p:sldLayoutId id="2147483873" r:id="rId8"/>
    <p:sldLayoutId id="2147483874" r:id="rId9"/>
    <p:sldLayoutId id="2147483875" r:id="rId10"/>
    <p:sldLayoutId id="2147483881" r:id="rId11"/>
    <p:sldLayoutId id="2147483880" r:id="rId12"/>
    <p:sldLayoutId id="2147483877" r:id="rId13"/>
    <p:sldLayoutId id="2147483878" r:id="rId14"/>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0.xml"/></Relationships>
</file>

<file path=ppt/slides/_rels/slide10.xml.rels><?xml version="1.0" encoding="UTF-8" standalone="yes"?>
<Relationships xmlns="http://schemas.openxmlformats.org/package/2006/relationships"><Relationship Id="rId13" Type="http://schemas.openxmlformats.org/officeDocument/2006/relationships/tags" Target="../tags/tag423.xml"/><Relationship Id="rId18" Type="http://schemas.openxmlformats.org/officeDocument/2006/relationships/tags" Target="../tags/tag428.xml"/><Relationship Id="rId26" Type="http://schemas.openxmlformats.org/officeDocument/2006/relationships/tags" Target="../tags/tag436.xml"/><Relationship Id="rId21" Type="http://schemas.openxmlformats.org/officeDocument/2006/relationships/tags" Target="../tags/tag431.xml"/><Relationship Id="rId34" Type="http://schemas.openxmlformats.org/officeDocument/2006/relationships/oleObject" Target="../embeddings/oleObject39.bin"/><Relationship Id="rId7" Type="http://schemas.openxmlformats.org/officeDocument/2006/relationships/tags" Target="../tags/tag417.xml"/><Relationship Id="rId12" Type="http://schemas.openxmlformats.org/officeDocument/2006/relationships/tags" Target="../tags/tag422.xml"/><Relationship Id="rId17" Type="http://schemas.openxmlformats.org/officeDocument/2006/relationships/tags" Target="../tags/tag427.xml"/><Relationship Id="rId25" Type="http://schemas.openxmlformats.org/officeDocument/2006/relationships/tags" Target="../tags/tag435.xml"/><Relationship Id="rId33" Type="http://schemas.openxmlformats.org/officeDocument/2006/relationships/slideLayout" Target="../slideLayouts/slideLayout4.xml"/><Relationship Id="rId2" Type="http://schemas.openxmlformats.org/officeDocument/2006/relationships/tags" Target="../tags/tag412.xml"/><Relationship Id="rId16" Type="http://schemas.openxmlformats.org/officeDocument/2006/relationships/tags" Target="../tags/tag426.xml"/><Relationship Id="rId20" Type="http://schemas.openxmlformats.org/officeDocument/2006/relationships/tags" Target="../tags/tag430.xml"/><Relationship Id="rId29" Type="http://schemas.openxmlformats.org/officeDocument/2006/relationships/tags" Target="../tags/tag439.xml"/><Relationship Id="rId1" Type="http://schemas.openxmlformats.org/officeDocument/2006/relationships/vmlDrawing" Target="../drawings/vmlDrawing39.vml"/><Relationship Id="rId6" Type="http://schemas.openxmlformats.org/officeDocument/2006/relationships/tags" Target="../tags/tag416.xml"/><Relationship Id="rId11" Type="http://schemas.openxmlformats.org/officeDocument/2006/relationships/tags" Target="../tags/tag421.xml"/><Relationship Id="rId24" Type="http://schemas.openxmlformats.org/officeDocument/2006/relationships/tags" Target="../tags/tag434.xml"/><Relationship Id="rId32" Type="http://schemas.openxmlformats.org/officeDocument/2006/relationships/tags" Target="../tags/tag442.xml"/><Relationship Id="rId37" Type="http://schemas.openxmlformats.org/officeDocument/2006/relationships/chart" Target="../charts/chart5.xml"/><Relationship Id="rId5" Type="http://schemas.openxmlformats.org/officeDocument/2006/relationships/tags" Target="../tags/tag415.xml"/><Relationship Id="rId15" Type="http://schemas.openxmlformats.org/officeDocument/2006/relationships/tags" Target="../tags/tag425.xml"/><Relationship Id="rId23" Type="http://schemas.openxmlformats.org/officeDocument/2006/relationships/tags" Target="../tags/tag433.xml"/><Relationship Id="rId28" Type="http://schemas.openxmlformats.org/officeDocument/2006/relationships/tags" Target="../tags/tag438.xml"/><Relationship Id="rId36" Type="http://schemas.openxmlformats.org/officeDocument/2006/relationships/chart" Target="../charts/chart4.xml"/><Relationship Id="rId10" Type="http://schemas.openxmlformats.org/officeDocument/2006/relationships/tags" Target="../tags/tag420.xml"/><Relationship Id="rId19" Type="http://schemas.openxmlformats.org/officeDocument/2006/relationships/tags" Target="../tags/tag429.xml"/><Relationship Id="rId31" Type="http://schemas.openxmlformats.org/officeDocument/2006/relationships/tags" Target="../tags/tag441.xml"/><Relationship Id="rId4" Type="http://schemas.openxmlformats.org/officeDocument/2006/relationships/tags" Target="../tags/tag414.xml"/><Relationship Id="rId9" Type="http://schemas.openxmlformats.org/officeDocument/2006/relationships/tags" Target="../tags/tag419.xml"/><Relationship Id="rId14" Type="http://schemas.openxmlformats.org/officeDocument/2006/relationships/tags" Target="../tags/tag424.xml"/><Relationship Id="rId22" Type="http://schemas.openxmlformats.org/officeDocument/2006/relationships/tags" Target="../tags/tag432.xml"/><Relationship Id="rId27" Type="http://schemas.openxmlformats.org/officeDocument/2006/relationships/tags" Target="../tags/tag437.xml"/><Relationship Id="rId30" Type="http://schemas.openxmlformats.org/officeDocument/2006/relationships/tags" Target="../tags/tag440.xml"/><Relationship Id="rId35" Type="http://schemas.openxmlformats.org/officeDocument/2006/relationships/image" Target="../media/image2.emf"/><Relationship Id="rId8" Type="http://schemas.openxmlformats.org/officeDocument/2006/relationships/tags" Target="../tags/tag418.xml"/><Relationship Id="rId3" Type="http://schemas.openxmlformats.org/officeDocument/2006/relationships/tags" Target="../tags/tag413.xml"/></Relationships>
</file>

<file path=ppt/slides/_rels/slide11.xml.rels><?xml version="1.0" encoding="UTF-8" standalone="yes"?>
<Relationships xmlns="http://schemas.openxmlformats.org/package/2006/relationships"><Relationship Id="rId26" Type="http://schemas.openxmlformats.org/officeDocument/2006/relationships/tags" Target="../tags/tag467.xml"/><Relationship Id="rId21" Type="http://schemas.openxmlformats.org/officeDocument/2006/relationships/tags" Target="../tags/tag462.xml"/><Relationship Id="rId42" Type="http://schemas.openxmlformats.org/officeDocument/2006/relationships/tags" Target="../tags/tag483.xml"/><Relationship Id="rId47" Type="http://schemas.openxmlformats.org/officeDocument/2006/relationships/tags" Target="../tags/tag488.xml"/><Relationship Id="rId63" Type="http://schemas.openxmlformats.org/officeDocument/2006/relationships/tags" Target="../tags/tag504.xml"/><Relationship Id="rId68" Type="http://schemas.openxmlformats.org/officeDocument/2006/relationships/tags" Target="../tags/tag509.xml"/><Relationship Id="rId84" Type="http://schemas.openxmlformats.org/officeDocument/2006/relationships/tags" Target="../tags/tag525.xml"/><Relationship Id="rId89" Type="http://schemas.openxmlformats.org/officeDocument/2006/relationships/tags" Target="../tags/tag530.xml"/><Relationship Id="rId16" Type="http://schemas.openxmlformats.org/officeDocument/2006/relationships/tags" Target="../tags/tag457.xml"/><Relationship Id="rId107" Type="http://schemas.openxmlformats.org/officeDocument/2006/relationships/slideLayout" Target="../slideLayouts/slideLayout12.xml"/><Relationship Id="rId11" Type="http://schemas.openxmlformats.org/officeDocument/2006/relationships/tags" Target="../tags/tag452.xml"/><Relationship Id="rId32" Type="http://schemas.openxmlformats.org/officeDocument/2006/relationships/tags" Target="../tags/tag473.xml"/><Relationship Id="rId37" Type="http://schemas.openxmlformats.org/officeDocument/2006/relationships/tags" Target="../tags/tag478.xml"/><Relationship Id="rId53" Type="http://schemas.openxmlformats.org/officeDocument/2006/relationships/tags" Target="../tags/tag494.xml"/><Relationship Id="rId58" Type="http://schemas.openxmlformats.org/officeDocument/2006/relationships/tags" Target="../tags/tag499.xml"/><Relationship Id="rId74" Type="http://schemas.openxmlformats.org/officeDocument/2006/relationships/tags" Target="../tags/tag515.xml"/><Relationship Id="rId79" Type="http://schemas.openxmlformats.org/officeDocument/2006/relationships/tags" Target="../tags/tag520.xml"/><Relationship Id="rId102" Type="http://schemas.openxmlformats.org/officeDocument/2006/relationships/tags" Target="../tags/tag543.xml"/><Relationship Id="rId5" Type="http://schemas.openxmlformats.org/officeDocument/2006/relationships/tags" Target="../tags/tag446.xml"/><Relationship Id="rId90" Type="http://schemas.openxmlformats.org/officeDocument/2006/relationships/tags" Target="../tags/tag531.xml"/><Relationship Id="rId95" Type="http://schemas.openxmlformats.org/officeDocument/2006/relationships/tags" Target="../tags/tag536.xml"/><Relationship Id="rId22" Type="http://schemas.openxmlformats.org/officeDocument/2006/relationships/tags" Target="../tags/tag463.xml"/><Relationship Id="rId27" Type="http://schemas.openxmlformats.org/officeDocument/2006/relationships/tags" Target="../tags/tag468.xml"/><Relationship Id="rId43" Type="http://schemas.openxmlformats.org/officeDocument/2006/relationships/tags" Target="../tags/tag484.xml"/><Relationship Id="rId48" Type="http://schemas.openxmlformats.org/officeDocument/2006/relationships/tags" Target="../tags/tag489.xml"/><Relationship Id="rId64" Type="http://schemas.openxmlformats.org/officeDocument/2006/relationships/tags" Target="../tags/tag505.xml"/><Relationship Id="rId69" Type="http://schemas.openxmlformats.org/officeDocument/2006/relationships/tags" Target="../tags/tag510.xml"/><Relationship Id="rId80" Type="http://schemas.openxmlformats.org/officeDocument/2006/relationships/tags" Target="../tags/tag521.xml"/><Relationship Id="rId85" Type="http://schemas.openxmlformats.org/officeDocument/2006/relationships/tags" Target="../tags/tag526.xml"/><Relationship Id="rId12" Type="http://schemas.openxmlformats.org/officeDocument/2006/relationships/tags" Target="../tags/tag453.xml"/><Relationship Id="rId17" Type="http://schemas.openxmlformats.org/officeDocument/2006/relationships/tags" Target="../tags/tag458.xml"/><Relationship Id="rId33" Type="http://schemas.openxmlformats.org/officeDocument/2006/relationships/tags" Target="../tags/tag474.xml"/><Relationship Id="rId38" Type="http://schemas.openxmlformats.org/officeDocument/2006/relationships/tags" Target="../tags/tag479.xml"/><Relationship Id="rId59" Type="http://schemas.openxmlformats.org/officeDocument/2006/relationships/tags" Target="../tags/tag500.xml"/><Relationship Id="rId103" Type="http://schemas.openxmlformats.org/officeDocument/2006/relationships/tags" Target="../tags/tag544.xml"/><Relationship Id="rId108" Type="http://schemas.openxmlformats.org/officeDocument/2006/relationships/oleObject" Target="../embeddings/oleObject40.bin"/><Relationship Id="rId54" Type="http://schemas.openxmlformats.org/officeDocument/2006/relationships/tags" Target="../tags/tag495.xml"/><Relationship Id="rId70" Type="http://schemas.openxmlformats.org/officeDocument/2006/relationships/tags" Target="../tags/tag511.xml"/><Relationship Id="rId75" Type="http://schemas.openxmlformats.org/officeDocument/2006/relationships/tags" Target="../tags/tag516.xml"/><Relationship Id="rId91" Type="http://schemas.openxmlformats.org/officeDocument/2006/relationships/tags" Target="../tags/tag532.xml"/><Relationship Id="rId96" Type="http://schemas.openxmlformats.org/officeDocument/2006/relationships/tags" Target="../tags/tag537.xml"/><Relationship Id="rId1" Type="http://schemas.openxmlformats.org/officeDocument/2006/relationships/vmlDrawing" Target="../drawings/vmlDrawing40.vml"/><Relationship Id="rId6" Type="http://schemas.openxmlformats.org/officeDocument/2006/relationships/tags" Target="../tags/tag447.xml"/><Relationship Id="rId15" Type="http://schemas.openxmlformats.org/officeDocument/2006/relationships/tags" Target="../tags/tag456.xml"/><Relationship Id="rId23" Type="http://schemas.openxmlformats.org/officeDocument/2006/relationships/tags" Target="../tags/tag464.xml"/><Relationship Id="rId28" Type="http://schemas.openxmlformats.org/officeDocument/2006/relationships/tags" Target="../tags/tag469.xml"/><Relationship Id="rId36" Type="http://schemas.openxmlformats.org/officeDocument/2006/relationships/tags" Target="../tags/tag477.xml"/><Relationship Id="rId49" Type="http://schemas.openxmlformats.org/officeDocument/2006/relationships/tags" Target="../tags/tag490.xml"/><Relationship Id="rId57" Type="http://schemas.openxmlformats.org/officeDocument/2006/relationships/tags" Target="../tags/tag498.xml"/><Relationship Id="rId106" Type="http://schemas.openxmlformats.org/officeDocument/2006/relationships/tags" Target="../tags/tag547.xml"/><Relationship Id="rId10" Type="http://schemas.openxmlformats.org/officeDocument/2006/relationships/tags" Target="../tags/tag451.xml"/><Relationship Id="rId31" Type="http://schemas.openxmlformats.org/officeDocument/2006/relationships/tags" Target="../tags/tag472.xml"/><Relationship Id="rId44" Type="http://schemas.openxmlformats.org/officeDocument/2006/relationships/tags" Target="../tags/tag485.xml"/><Relationship Id="rId52" Type="http://schemas.openxmlformats.org/officeDocument/2006/relationships/tags" Target="../tags/tag493.xml"/><Relationship Id="rId60" Type="http://schemas.openxmlformats.org/officeDocument/2006/relationships/tags" Target="../tags/tag501.xml"/><Relationship Id="rId65" Type="http://schemas.openxmlformats.org/officeDocument/2006/relationships/tags" Target="../tags/tag506.xml"/><Relationship Id="rId73" Type="http://schemas.openxmlformats.org/officeDocument/2006/relationships/tags" Target="../tags/tag514.xml"/><Relationship Id="rId78" Type="http://schemas.openxmlformats.org/officeDocument/2006/relationships/tags" Target="../tags/tag519.xml"/><Relationship Id="rId81" Type="http://schemas.openxmlformats.org/officeDocument/2006/relationships/tags" Target="../tags/tag522.xml"/><Relationship Id="rId86" Type="http://schemas.openxmlformats.org/officeDocument/2006/relationships/tags" Target="../tags/tag527.xml"/><Relationship Id="rId94" Type="http://schemas.openxmlformats.org/officeDocument/2006/relationships/tags" Target="../tags/tag535.xml"/><Relationship Id="rId99" Type="http://schemas.openxmlformats.org/officeDocument/2006/relationships/tags" Target="../tags/tag540.xml"/><Relationship Id="rId101" Type="http://schemas.openxmlformats.org/officeDocument/2006/relationships/tags" Target="../tags/tag542.xml"/><Relationship Id="rId4" Type="http://schemas.openxmlformats.org/officeDocument/2006/relationships/tags" Target="../tags/tag445.xml"/><Relationship Id="rId9" Type="http://schemas.openxmlformats.org/officeDocument/2006/relationships/tags" Target="../tags/tag450.xml"/><Relationship Id="rId13" Type="http://schemas.openxmlformats.org/officeDocument/2006/relationships/tags" Target="../tags/tag454.xml"/><Relationship Id="rId18" Type="http://schemas.openxmlformats.org/officeDocument/2006/relationships/tags" Target="../tags/tag459.xml"/><Relationship Id="rId39" Type="http://schemas.openxmlformats.org/officeDocument/2006/relationships/tags" Target="../tags/tag480.xml"/><Relationship Id="rId109" Type="http://schemas.openxmlformats.org/officeDocument/2006/relationships/image" Target="../media/image2.emf"/><Relationship Id="rId34" Type="http://schemas.openxmlformats.org/officeDocument/2006/relationships/tags" Target="../tags/tag475.xml"/><Relationship Id="rId50" Type="http://schemas.openxmlformats.org/officeDocument/2006/relationships/tags" Target="../tags/tag491.xml"/><Relationship Id="rId55" Type="http://schemas.openxmlformats.org/officeDocument/2006/relationships/tags" Target="../tags/tag496.xml"/><Relationship Id="rId76" Type="http://schemas.openxmlformats.org/officeDocument/2006/relationships/tags" Target="../tags/tag517.xml"/><Relationship Id="rId97" Type="http://schemas.openxmlformats.org/officeDocument/2006/relationships/tags" Target="../tags/tag538.xml"/><Relationship Id="rId104" Type="http://schemas.openxmlformats.org/officeDocument/2006/relationships/tags" Target="../tags/tag545.xml"/><Relationship Id="rId7" Type="http://schemas.openxmlformats.org/officeDocument/2006/relationships/tags" Target="../tags/tag448.xml"/><Relationship Id="rId71" Type="http://schemas.openxmlformats.org/officeDocument/2006/relationships/tags" Target="../tags/tag512.xml"/><Relationship Id="rId92" Type="http://schemas.openxmlformats.org/officeDocument/2006/relationships/tags" Target="../tags/tag533.xml"/><Relationship Id="rId2" Type="http://schemas.openxmlformats.org/officeDocument/2006/relationships/tags" Target="../tags/tag443.xml"/><Relationship Id="rId29" Type="http://schemas.openxmlformats.org/officeDocument/2006/relationships/tags" Target="../tags/tag470.xml"/><Relationship Id="rId24" Type="http://schemas.openxmlformats.org/officeDocument/2006/relationships/tags" Target="../tags/tag465.xml"/><Relationship Id="rId40" Type="http://schemas.openxmlformats.org/officeDocument/2006/relationships/tags" Target="../tags/tag481.xml"/><Relationship Id="rId45" Type="http://schemas.openxmlformats.org/officeDocument/2006/relationships/tags" Target="../tags/tag486.xml"/><Relationship Id="rId66" Type="http://schemas.openxmlformats.org/officeDocument/2006/relationships/tags" Target="../tags/tag507.xml"/><Relationship Id="rId87" Type="http://schemas.openxmlformats.org/officeDocument/2006/relationships/tags" Target="../tags/tag528.xml"/><Relationship Id="rId110" Type="http://schemas.openxmlformats.org/officeDocument/2006/relationships/chart" Target="../charts/chart6.xml"/><Relationship Id="rId61" Type="http://schemas.openxmlformats.org/officeDocument/2006/relationships/tags" Target="../tags/tag502.xml"/><Relationship Id="rId82" Type="http://schemas.openxmlformats.org/officeDocument/2006/relationships/tags" Target="../tags/tag523.xml"/><Relationship Id="rId19" Type="http://schemas.openxmlformats.org/officeDocument/2006/relationships/tags" Target="../tags/tag460.xml"/><Relationship Id="rId14" Type="http://schemas.openxmlformats.org/officeDocument/2006/relationships/tags" Target="../tags/tag455.xml"/><Relationship Id="rId30" Type="http://schemas.openxmlformats.org/officeDocument/2006/relationships/tags" Target="../tags/tag471.xml"/><Relationship Id="rId35" Type="http://schemas.openxmlformats.org/officeDocument/2006/relationships/tags" Target="../tags/tag476.xml"/><Relationship Id="rId56" Type="http://schemas.openxmlformats.org/officeDocument/2006/relationships/tags" Target="../tags/tag497.xml"/><Relationship Id="rId77" Type="http://schemas.openxmlformats.org/officeDocument/2006/relationships/tags" Target="../tags/tag518.xml"/><Relationship Id="rId100" Type="http://schemas.openxmlformats.org/officeDocument/2006/relationships/tags" Target="../tags/tag541.xml"/><Relationship Id="rId105" Type="http://schemas.openxmlformats.org/officeDocument/2006/relationships/tags" Target="../tags/tag546.xml"/><Relationship Id="rId8" Type="http://schemas.openxmlformats.org/officeDocument/2006/relationships/tags" Target="../tags/tag449.xml"/><Relationship Id="rId51" Type="http://schemas.openxmlformats.org/officeDocument/2006/relationships/tags" Target="../tags/tag492.xml"/><Relationship Id="rId72" Type="http://schemas.openxmlformats.org/officeDocument/2006/relationships/tags" Target="../tags/tag513.xml"/><Relationship Id="rId93" Type="http://schemas.openxmlformats.org/officeDocument/2006/relationships/tags" Target="../tags/tag534.xml"/><Relationship Id="rId98" Type="http://schemas.openxmlformats.org/officeDocument/2006/relationships/tags" Target="../tags/tag539.xml"/><Relationship Id="rId3" Type="http://schemas.openxmlformats.org/officeDocument/2006/relationships/tags" Target="../tags/tag444.xml"/><Relationship Id="rId25" Type="http://schemas.openxmlformats.org/officeDocument/2006/relationships/tags" Target="../tags/tag466.xml"/><Relationship Id="rId46" Type="http://schemas.openxmlformats.org/officeDocument/2006/relationships/tags" Target="../tags/tag487.xml"/><Relationship Id="rId67" Type="http://schemas.openxmlformats.org/officeDocument/2006/relationships/tags" Target="../tags/tag508.xml"/><Relationship Id="rId20" Type="http://schemas.openxmlformats.org/officeDocument/2006/relationships/tags" Target="../tags/tag461.xml"/><Relationship Id="rId41" Type="http://schemas.openxmlformats.org/officeDocument/2006/relationships/tags" Target="../tags/tag482.xml"/><Relationship Id="rId62" Type="http://schemas.openxmlformats.org/officeDocument/2006/relationships/tags" Target="../tags/tag503.xml"/><Relationship Id="rId83" Type="http://schemas.openxmlformats.org/officeDocument/2006/relationships/tags" Target="../tags/tag524.xml"/><Relationship Id="rId88" Type="http://schemas.openxmlformats.org/officeDocument/2006/relationships/tags" Target="../tags/tag529.xml"/><Relationship Id="rId111" Type="http://schemas.openxmlformats.org/officeDocument/2006/relationships/chart" Target="../charts/chart7.xml"/></Relationships>
</file>

<file path=ppt/slides/_rels/slide12.xml.rels><?xml version="1.0" encoding="UTF-8" standalone="yes"?>
<Relationships xmlns="http://schemas.openxmlformats.org/package/2006/relationships"><Relationship Id="rId3" Type="http://schemas.openxmlformats.org/officeDocument/2006/relationships/tags" Target="../tags/tag549.xml"/><Relationship Id="rId7" Type="http://schemas.openxmlformats.org/officeDocument/2006/relationships/image" Target="../media/image23.jpg"/><Relationship Id="rId2" Type="http://schemas.openxmlformats.org/officeDocument/2006/relationships/tags" Target="../tags/tag548.xml"/><Relationship Id="rId1" Type="http://schemas.openxmlformats.org/officeDocument/2006/relationships/vmlDrawing" Target="../drawings/vmlDrawing41.vml"/><Relationship Id="rId6" Type="http://schemas.openxmlformats.org/officeDocument/2006/relationships/image" Target="../media/image2.emf"/><Relationship Id="rId5" Type="http://schemas.openxmlformats.org/officeDocument/2006/relationships/oleObject" Target="../embeddings/oleObject40.bin"/><Relationship Id="rId4"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8" Type="http://schemas.openxmlformats.org/officeDocument/2006/relationships/oleObject" Target="../embeddings/oleObject41.bin"/><Relationship Id="rId3" Type="http://schemas.openxmlformats.org/officeDocument/2006/relationships/tags" Target="../tags/tag551.xml"/><Relationship Id="rId7" Type="http://schemas.openxmlformats.org/officeDocument/2006/relationships/slideLayout" Target="../slideLayouts/slideLayout12.xml"/><Relationship Id="rId2" Type="http://schemas.openxmlformats.org/officeDocument/2006/relationships/tags" Target="../tags/tag550.xml"/><Relationship Id="rId1" Type="http://schemas.openxmlformats.org/officeDocument/2006/relationships/vmlDrawing" Target="../drawings/vmlDrawing42.vml"/><Relationship Id="rId6" Type="http://schemas.openxmlformats.org/officeDocument/2006/relationships/tags" Target="../tags/tag554.xml"/><Relationship Id="rId5" Type="http://schemas.openxmlformats.org/officeDocument/2006/relationships/tags" Target="../tags/tag553.xml"/><Relationship Id="rId10" Type="http://schemas.openxmlformats.org/officeDocument/2006/relationships/image" Target="../media/image24.png"/><Relationship Id="rId4" Type="http://schemas.openxmlformats.org/officeDocument/2006/relationships/tags" Target="../tags/tag552.xml"/><Relationship Id="rId9" Type="http://schemas.openxmlformats.org/officeDocument/2006/relationships/image" Target="../media/image2.emf"/></Relationships>
</file>

<file path=ppt/slides/_rels/slide14.xml.rels><?xml version="1.0" encoding="UTF-8" standalone="yes"?>
<Relationships xmlns="http://schemas.openxmlformats.org/package/2006/relationships"><Relationship Id="rId13" Type="http://schemas.openxmlformats.org/officeDocument/2006/relationships/tags" Target="../tags/tag566.xml"/><Relationship Id="rId18" Type="http://schemas.openxmlformats.org/officeDocument/2006/relationships/tags" Target="../tags/tag571.xml"/><Relationship Id="rId26" Type="http://schemas.openxmlformats.org/officeDocument/2006/relationships/tags" Target="../tags/tag579.xml"/><Relationship Id="rId39" Type="http://schemas.openxmlformats.org/officeDocument/2006/relationships/tags" Target="../tags/tag592.xml"/><Relationship Id="rId21" Type="http://schemas.openxmlformats.org/officeDocument/2006/relationships/tags" Target="../tags/tag574.xml"/><Relationship Id="rId34" Type="http://schemas.openxmlformats.org/officeDocument/2006/relationships/tags" Target="../tags/tag587.xml"/><Relationship Id="rId42" Type="http://schemas.openxmlformats.org/officeDocument/2006/relationships/tags" Target="../tags/tag595.xml"/><Relationship Id="rId47" Type="http://schemas.openxmlformats.org/officeDocument/2006/relationships/slideLayout" Target="../slideLayouts/slideLayout12.xml"/><Relationship Id="rId50" Type="http://schemas.openxmlformats.org/officeDocument/2006/relationships/chart" Target="../charts/chart8.xml"/><Relationship Id="rId7" Type="http://schemas.openxmlformats.org/officeDocument/2006/relationships/tags" Target="../tags/tag560.xml"/><Relationship Id="rId2" Type="http://schemas.openxmlformats.org/officeDocument/2006/relationships/tags" Target="../tags/tag555.xml"/><Relationship Id="rId16" Type="http://schemas.openxmlformats.org/officeDocument/2006/relationships/tags" Target="../tags/tag569.xml"/><Relationship Id="rId29" Type="http://schemas.openxmlformats.org/officeDocument/2006/relationships/tags" Target="../tags/tag582.xml"/><Relationship Id="rId11" Type="http://schemas.openxmlformats.org/officeDocument/2006/relationships/tags" Target="../tags/tag564.xml"/><Relationship Id="rId24" Type="http://schemas.openxmlformats.org/officeDocument/2006/relationships/tags" Target="../tags/tag577.xml"/><Relationship Id="rId32" Type="http://schemas.openxmlformats.org/officeDocument/2006/relationships/tags" Target="../tags/tag585.xml"/><Relationship Id="rId37" Type="http://schemas.openxmlformats.org/officeDocument/2006/relationships/tags" Target="../tags/tag590.xml"/><Relationship Id="rId40" Type="http://schemas.openxmlformats.org/officeDocument/2006/relationships/tags" Target="../tags/tag593.xml"/><Relationship Id="rId45" Type="http://schemas.openxmlformats.org/officeDocument/2006/relationships/tags" Target="../tags/tag598.xml"/><Relationship Id="rId53" Type="http://schemas.openxmlformats.org/officeDocument/2006/relationships/chart" Target="../charts/chart11.xml"/><Relationship Id="rId5" Type="http://schemas.openxmlformats.org/officeDocument/2006/relationships/tags" Target="../tags/tag558.xml"/><Relationship Id="rId10" Type="http://schemas.openxmlformats.org/officeDocument/2006/relationships/tags" Target="../tags/tag563.xml"/><Relationship Id="rId19" Type="http://schemas.openxmlformats.org/officeDocument/2006/relationships/tags" Target="../tags/tag572.xml"/><Relationship Id="rId31" Type="http://schemas.openxmlformats.org/officeDocument/2006/relationships/tags" Target="../tags/tag584.xml"/><Relationship Id="rId44" Type="http://schemas.openxmlformats.org/officeDocument/2006/relationships/tags" Target="../tags/tag597.xml"/><Relationship Id="rId52" Type="http://schemas.openxmlformats.org/officeDocument/2006/relationships/chart" Target="../charts/chart10.xml"/><Relationship Id="rId4" Type="http://schemas.openxmlformats.org/officeDocument/2006/relationships/tags" Target="../tags/tag557.xml"/><Relationship Id="rId9" Type="http://schemas.openxmlformats.org/officeDocument/2006/relationships/tags" Target="../tags/tag562.xml"/><Relationship Id="rId14" Type="http://schemas.openxmlformats.org/officeDocument/2006/relationships/tags" Target="../tags/tag567.xml"/><Relationship Id="rId22" Type="http://schemas.openxmlformats.org/officeDocument/2006/relationships/tags" Target="../tags/tag575.xml"/><Relationship Id="rId27" Type="http://schemas.openxmlformats.org/officeDocument/2006/relationships/tags" Target="../tags/tag580.xml"/><Relationship Id="rId30" Type="http://schemas.openxmlformats.org/officeDocument/2006/relationships/tags" Target="../tags/tag583.xml"/><Relationship Id="rId35" Type="http://schemas.openxmlformats.org/officeDocument/2006/relationships/tags" Target="../tags/tag588.xml"/><Relationship Id="rId43" Type="http://schemas.openxmlformats.org/officeDocument/2006/relationships/tags" Target="../tags/tag596.xml"/><Relationship Id="rId48" Type="http://schemas.openxmlformats.org/officeDocument/2006/relationships/oleObject" Target="../embeddings/oleObject41.bin"/><Relationship Id="rId8" Type="http://schemas.openxmlformats.org/officeDocument/2006/relationships/tags" Target="../tags/tag561.xml"/><Relationship Id="rId51" Type="http://schemas.openxmlformats.org/officeDocument/2006/relationships/chart" Target="../charts/chart9.xml"/><Relationship Id="rId3" Type="http://schemas.openxmlformats.org/officeDocument/2006/relationships/tags" Target="../tags/tag556.xml"/><Relationship Id="rId12" Type="http://schemas.openxmlformats.org/officeDocument/2006/relationships/tags" Target="../tags/tag565.xml"/><Relationship Id="rId17" Type="http://schemas.openxmlformats.org/officeDocument/2006/relationships/tags" Target="../tags/tag570.xml"/><Relationship Id="rId25" Type="http://schemas.openxmlformats.org/officeDocument/2006/relationships/tags" Target="../tags/tag578.xml"/><Relationship Id="rId33" Type="http://schemas.openxmlformats.org/officeDocument/2006/relationships/tags" Target="../tags/tag586.xml"/><Relationship Id="rId38" Type="http://schemas.openxmlformats.org/officeDocument/2006/relationships/tags" Target="../tags/tag591.xml"/><Relationship Id="rId46" Type="http://schemas.openxmlformats.org/officeDocument/2006/relationships/tags" Target="../tags/tag599.xml"/><Relationship Id="rId20" Type="http://schemas.openxmlformats.org/officeDocument/2006/relationships/tags" Target="../tags/tag573.xml"/><Relationship Id="rId41" Type="http://schemas.openxmlformats.org/officeDocument/2006/relationships/tags" Target="../tags/tag594.xml"/><Relationship Id="rId1" Type="http://schemas.openxmlformats.org/officeDocument/2006/relationships/vmlDrawing" Target="../drawings/vmlDrawing43.vml"/><Relationship Id="rId6" Type="http://schemas.openxmlformats.org/officeDocument/2006/relationships/tags" Target="../tags/tag559.xml"/><Relationship Id="rId15" Type="http://schemas.openxmlformats.org/officeDocument/2006/relationships/tags" Target="../tags/tag568.xml"/><Relationship Id="rId23" Type="http://schemas.openxmlformats.org/officeDocument/2006/relationships/tags" Target="../tags/tag576.xml"/><Relationship Id="rId28" Type="http://schemas.openxmlformats.org/officeDocument/2006/relationships/tags" Target="../tags/tag581.xml"/><Relationship Id="rId36" Type="http://schemas.openxmlformats.org/officeDocument/2006/relationships/tags" Target="../tags/tag589.xml"/><Relationship Id="rId49" Type="http://schemas.openxmlformats.org/officeDocument/2006/relationships/image" Target="../media/image2.emf"/></Relationships>
</file>

<file path=ppt/slides/_rels/slide15.xml.rels><?xml version="1.0" encoding="UTF-8" standalone="yes"?>
<Relationships xmlns="http://schemas.openxmlformats.org/package/2006/relationships"><Relationship Id="rId8" Type="http://schemas.openxmlformats.org/officeDocument/2006/relationships/image" Target="../media/image25.jpeg"/><Relationship Id="rId3" Type="http://schemas.openxmlformats.org/officeDocument/2006/relationships/tags" Target="../tags/tag601.xml"/><Relationship Id="rId7" Type="http://schemas.openxmlformats.org/officeDocument/2006/relationships/image" Target="../media/image2.emf"/><Relationship Id="rId2" Type="http://schemas.openxmlformats.org/officeDocument/2006/relationships/tags" Target="../tags/tag600.xml"/><Relationship Id="rId1" Type="http://schemas.openxmlformats.org/officeDocument/2006/relationships/vmlDrawing" Target="../drawings/vmlDrawing44.vml"/><Relationship Id="rId6" Type="http://schemas.openxmlformats.org/officeDocument/2006/relationships/oleObject" Target="../embeddings/oleObject42.bin"/><Relationship Id="rId5" Type="http://schemas.openxmlformats.org/officeDocument/2006/relationships/slideLayout" Target="../slideLayouts/slideLayout17.xml"/><Relationship Id="rId10" Type="http://schemas.openxmlformats.org/officeDocument/2006/relationships/image" Target="../media/image27.jpeg"/><Relationship Id="rId4" Type="http://schemas.openxmlformats.org/officeDocument/2006/relationships/tags" Target="../tags/tag602.xml"/><Relationship Id="rId9" Type="http://schemas.openxmlformats.org/officeDocument/2006/relationships/image" Target="../media/image26.jpe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8" Type="http://schemas.openxmlformats.org/officeDocument/2006/relationships/tags" Target="../tags/tag609.xml"/><Relationship Id="rId13" Type="http://schemas.openxmlformats.org/officeDocument/2006/relationships/image" Target="../media/image28.png"/><Relationship Id="rId18" Type="http://schemas.openxmlformats.org/officeDocument/2006/relationships/image" Target="../media/image33.svg"/><Relationship Id="rId26" Type="http://schemas.openxmlformats.org/officeDocument/2006/relationships/image" Target="../media/image41.svg"/><Relationship Id="rId3" Type="http://schemas.openxmlformats.org/officeDocument/2006/relationships/tags" Target="../tags/tag604.xml"/><Relationship Id="rId21" Type="http://schemas.openxmlformats.org/officeDocument/2006/relationships/image" Target="../media/image36.png"/><Relationship Id="rId7" Type="http://schemas.openxmlformats.org/officeDocument/2006/relationships/tags" Target="../tags/tag608.xml"/><Relationship Id="rId12" Type="http://schemas.openxmlformats.org/officeDocument/2006/relationships/image" Target="../media/image2.emf"/><Relationship Id="rId17" Type="http://schemas.openxmlformats.org/officeDocument/2006/relationships/image" Target="../media/image32.png"/><Relationship Id="rId25" Type="http://schemas.openxmlformats.org/officeDocument/2006/relationships/image" Target="../media/image40.png"/><Relationship Id="rId2" Type="http://schemas.openxmlformats.org/officeDocument/2006/relationships/tags" Target="../tags/tag603.xml"/><Relationship Id="rId16" Type="http://schemas.openxmlformats.org/officeDocument/2006/relationships/image" Target="../media/image31.svg"/><Relationship Id="rId20" Type="http://schemas.openxmlformats.org/officeDocument/2006/relationships/image" Target="../media/image35.svg"/><Relationship Id="rId1" Type="http://schemas.openxmlformats.org/officeDocument/2006/relationships/vmlDrawing" Target="../drawings/vmlDrawing45.vml"/><Relationship Id="rId6" Type="http://schemas.openxmlformats.org/officeDocument/2006/relationships/tags" Target="../tags/tag607.xml"/><Relationship Id="rId11" Type="http://schemas.openxmlformats.org/officeDocument/2006/relationships/oleObject" Target="../embeddings/oleObject43.bin"/><Relationship Id="rId24" Type="http://schemas.openxmlformats.org/officeDocument/2006/relationships/image" Target="../media/image39.svg"/><Relationship Id="rId5" Type="http://schemas.openxmlformats.org/officeDocument/2006/relationships/tags" Target="../tags/tag606.xml"/><Relationship Id="rId15" Type="http://schemas.openxmlformats.org/officeDocument/2006/relationships/image" Target="../media/image30.png"/><Relationship Id="rId23" Type="http://schemas.openxmlformats.org/officeDocument/2006/relationships/image" Target="../media/image38.png"/><Relationship Id="rId10" Type="http://schemas.openxmlformats.org/officeDocument/2006/relationships/slideLayout" Target="../slideLayouts/slideLayout11.xml"/><Relationship Id="rId19" Type="http://schemas.openxmlformats.org/officeDocument/2006/relationships/image" Target="../media/image34.png"/><Relationship Id="rId4" Type="http://schemas.openxmlformats.org/officeDocument/2006/relationships/tags" Target="../tags/tag605.xml"/><Relationship Id="rId9" Type="http://schemas.openxmlformats.org/officeDocument/2006/relationships/tags" Target="../tags/tag610.xml"/><Relationship Id="rId14" Type="http://schemas.openxmlformats.org/officeDocument/2006/relationships/image" Target="../media/image29.svg"/><Relationship Id="rId22" Type="http://schemas.openxmlformats.org/officeDocument/2006/relationships/image" Target="../media/image37.svg"/></Relationships>
</file>

<file path=ppt/slides/_rels/slide18.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tags" Target="../tags/tag612.xml"/><Relationship Id="rId7" Type="http://schemas.openxmlformats.org/officeDocument/2006/relationships/image" Target="../media/image2.emf"/><Relationship Id="rId2" Type="http://schemas.openxmlformats.org/officeDocument/2006/relationships/tags" Target="../tags/tag611.xml"/><Relationship Id="rId1" Type="http://schemas.openxmlformats.org/officeDocument/2006/relationships/vmlDrawing" Target="../drawings/vmlDrawing46.vml"/><Relationship Id="rId6" Type="http://schemas.openxmlformats.org/officeDocument/2006/relationships/oleObject" Target="../embeddings/oleObject44.bin"/><Relationship Id="rId5" Type="http://schemas.openxmlformats.org/officeDocument/2006/relationships/slideLayout" Target="../slideLayouts/slideLayout4.xml"/><Relationship Id="rId4" Type="http://schemas.openxmlformats.org/officeDocument/2006/relationships/tags" Target="../tags/tag613.xml"/></Relationships>
</file>

<file path=ppt/slides/_rels/slide1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615.xml"/><Relationship Id="rId7" Type="http://schemas.openxmlformats.org/officeDocument/2006/relationships/oleObject" Target="../embeddings/oleObject45.bin"/><Relationship Id="rId2" Type="http://schemas.openxmlformats.org/officeDocument/2006/relationships/tags" Target="../tags/tag614.xml"/><Relationship Id="rId1" Type="http://schemas.openxmlformats.org/officeDocument/2006/relationships/vmlDrawing" Target="../drawings/vmlDrawing47.vml"/><Relationship Id="rId6" Type="http://schemas.openxmlformats.org/officeDocument/2006/relationships/slideLayout" Target="../slideLayouts/slideLayout13.xml"/><Relationship Id="rId5" Type="http://schemas.openxmlformats.org/officeDocument/2006/relationships/tags" Target="../tags/tag617.xml"/><Relationship Id="rId10" Type="http://schemas.openxmlformats.org/officeDocument/2006/relationships/image" Target="../media/image44.png"/><Relationship Id="rId4" Type="http://schemas.openxmlformats.org/officeDocument/2006/relationships/tags" Target="../tags/tag616.xml"/><Relationship Id="rId9" Type="http://schemas.openxmlformats.org/officeDocument/2006/relationships/image" Target="../media/image43.png"/></Relationships>
</file>

<file path=ppt/slides/_rels/slide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0.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26" Type="http://schemas.openxmlformats.org/officeDocument/2006/relationships/tags" Target="../tags/tag642.xml"/><Relationship Id="rId21" Type="http://schemas.openxmlformats.org/officeDocument/2006/relationships/tags" Target="../tags/tag637.xml"/><Relationship Id="rId42" Type="http://schemas.openxmlformats.org/officeDocument/2006/relationships/tags" Target="../tags/tag658.xml"/><Relationship Id="rId47" Type="http://schemas.openxmlformats.org/officeDocument/2006/relationships/tags" Target="../tags/tag663.xml"/><Relationship Id="rId63" Type="http://schemas.openxmlformats.org/officeDocument/2006/relationships/tags" Target="../tags/tag679.xml"/><Relationship Id="rId68" Type="http://schemas.openxmlformats.org/officeDocument/2006/relationships/tags" Target="../tags/tag684.xml"/><Relationship Id="rId2" Type="http://schemas.openxmlformats.org/officeDocument/2006/relationships/tags" Target="../tags/tag618.xml"/><Relationship Id="rId16" Type="http://schemas.openxmlformats.org/officeDocument/2006/relationships/tags" Target="../tags/tag632.xml"/><Relationship Id="rId29" Type="http://schemas.openxmlformats.org/officeDocument/2006/relationships/tags" Target="../tags/tag645.xml"/><Relationship Id="rId11" Type="http://schemas.openxmlformats.org/officeDocument/2006/relationships/tags" Target="../tags/tag627.xml"/><Relationship Id="rId24" Type="http://schemas.openxmlformats.org/officeDocument/2006/relationships/tags" Target="../tags/tag640.xml"/><Relationship Id="rId32" Type="http://schemas.openxmlformats.org/officeDocument/2006/relationships/tags" Target="../tags/tag648.xml"/><Relationship Id="rId37" Type="http://schemas.openxmlformats.org/officeDocument/2006/relationships/tags" Target="../tags/tag653.xml"/><Relationship Id="rId40" Type="http://schemas.openxmlformats.org/officeDocument/2006/relationships/tags" Target="../tags/tag656.xml"/><Relationship Id="rId45" Type="http://schemas.openxmlformats.org/officeDocument/2006/relationships/tags" Target="../tags/tag661.xml"/><Relationship Id="rId53" Type="http://schemas.openxmlformats.org/officeDocument/2006/relationships/tags" Target="../tags/tag669.xml"/><Relationship Id="rId58" Type="http://schemas.openxmlformats.org/officeDocument/2006/relationships/tags" Target="../tags/tag674.xml"/><Relationship Id="rId66" Type="http://schemas.openxmlformats.org/officeDocument/2006/relationships/tags" Target="../tags/tag682.xml"/><Relationship Id="rId74" Type="http://schemas.openxmlformats.org/officeDocument/2006/relationships/image" Target="../media/image2.emf"/><Relationship Id="rId5" Type="http://schemas.openxmlformats.org/officeDocument/2006/relationships/tags" Target="../tags/tag621.xml"/><Relationship Id="rId61" Type="http://schemas.openxmlformats.org/officeDocument/2006/relationships/tags" Target="../tags/tag677.xml"/><Relationship Id="rId19" Type="http://schemas.openxmlformats.org/officeDocument/2006/relationships/tags" Target="../tags/tag635.xml"/><Relationship Id="rId14" Type="http://schemas.openxmlformats.org/officeDocument/2006/relationships/tags" Target="../tags/tag630.xml"/><Relationship Id="rId22" Type="http://schemas.openxmlformats.org/officeDocument/2006/relationships/tags" Target="../tags/tag638.xml"/><Relationship Id="rId27" Type="http://schemas.openxmlformats.org/officeDocument/2006/relationships/tags" Target="../tags/tag643.xml"/><Relationship Id="rId30" Type="http://schemas.openxmlformats.org/officeDocument/2006/relationships/tags" Target="../tags/tag646.xml"/><Relationship Id="rId35" Type="http://schemas.openxmlformats.org/officeDocument/2006/relationships/tags" Target="../tags/tag651.xml"/><Relationship Id="rId43" Type="http://schemas.openxmlformats.org/officeDocument/2006/relationships/tags" Target="../tags/tag659.xml"/><Relationship Id="rId48" Type="http://schemas.openxmlformats.org/officeDocument/2006/relationships/tags" Target="../tags/tag664.xml"/><Relationship Id="rId56" Type="http://schemas.openxmlformats.org/officeDocument/2006/relationships/tags" Target="../tags/tag672.xml"/><Relationship Id="rId64" Type="http://schemas.openxmlformats.org/officeDocument/2006/relationships/tags" Target="../tags/tag680.xml"/><Relationship Id="rId69" Type="http://schemas.openxmlformats.org/officeDocument/2006/relationships/tags" Target="../tags/tag685.xml"/><Relationship Id="rId8" Type="http://schemas.openxmlformats.org/officeDocument/2006/relationships/tags" Target="../tags/tag624.xml"/><Relationship Id="rId51" Type="http://schemas.openxmlformats.org/officeDocument/2006/relationships/tags" Target="../tags/tag667.xml"/><Relationship Id="rId72" Type="http://schemas.openxmlformats.org/officeDocument/2006/relationships/slideLayout" Target="../slideLayouts/slideLayout12.xml"/><Relationship Id="rId3" Type="http://schemas.openxmlformats.org/officeDocument/2006/relationships/tags" Target="../tags/tag619.xml"/><Relationship Id="rId12" Type="http://schemas.openxmlformats.org/officeDocument/2006/relationships/tags" Target="../tags/tag628.xml"/><Relationship Id="rId17" Type="http://schemas.openxmlformats.org/officeDocument/2006/relationships/tags" Target="../tags/tag633.xml"/><Relationship Id="rId25" Type="http://schemas.openxmlformats.org/officeDocument/2006/relationships/tags" Target="../tags/tag641.xml"/><Relationship Id="rId33" Type="http://schemas.openxmlformats.org/officeDocument/2006/relationships/tags" Target="../tags/tag649.xml"/><Relationship Id="rId38" Type="http://schemas.openxmlformats.org/officeDocument/2006/relationships/tags" Target="../tags/tag654.xml"/><Relationship Id="rId46" Type="http://schemas.openxmlformats.org/officeDocument/2006/relationships/tags" Target="../tags/tag662.xml"/><Relationship Id="rId59" Type="http://schemas.openxmlformats.org/officeDocument/2006/relationships/tags" Target="../tags/tag675.xml"/><Relationship Id="rId67" Type="http://schemas.openxmlformats.org/officeDocument/2006/relationships/tags" Target="../tags/tag683.xml"/><Relationship Id="rId20" Type="http://schemas.openxmlformats.org/officeDocument/2006/relationships/tags" Target="../tags/tag636.xml"/><Relationship Id="rId41" Type="http://schemas.openxmlformats.org/officeDocument/2006/relationships/tags" Target="../tags/tag657.xml"/><Relationship Id="rId54" Type="http://schemas.openxmlformats.org/officeDocument/2006/relationships/tags" Target="../tags/tag670.xml"/><Relationship Id="rId62" Type="http://schemas.openxmlformats.org/officeDocument/2006/relationships/tags" Target="../tags/tag678.xml"/><Relationship Id="rId70" Type="http://schemas.openxmlformats.org/officeDocument/2006/relationships/tags" Target="../tags/tag686.xml"/><Relationship Id="rId75" Type="http://schemas.openxmlformats.org/officeDocument/2006/relationships/chart" Target="../charts/chart12.xml"/><Relationship Id="rId1" Type="http://schemas.openxmlformats.org/officeDocument/2006/relationships/vmlDrawing" Target="../drawings/vmlDrawing48.vml"/><Relationship Id="rId6" Type="http://schemas.openxmlformats.org/officeDocument/2006/relationships/tags" Target="../tags/tag622.xml"/><Relationship Id="rId15" Type="http://schemas.openxmlformats.org/officeDocument/2006/relationships/tags" Target="../tags/tag631.xml"/><Relationship Id="rId23" Type="http://schemas.openxmlformats.org/officeDocument/2006/relationships/tags" Target="../tags/tag639.xml"/><Relationship Id="rId28" Type="http://schemas.openxmlformats.org/officeDocument/2006/relationships/tags" Target="../tags/tag644.xml"/><Relationship Id="rId36" Type="http://schemas.openxmlformats.org/officeDocument/2006/relationships/tags" Target="../tags/tag652.xml"/><Relationship Id="rId49" Type="http://schemas.openxmlformats.org/officeDocument/2006/relationships/tags" Target="../tags/tag665.xml"/><Relationship Id="rId57" Type="http://schemas.openxmlformats.org/officeDocument/2006/relationships/tags" Target="../tags/tag673.xml"/><Relationship Id="rId10" Type="http://schemas.openxmlformats.org/officeDocument/2006/relationships/tags" Target="../tags/tag626.xml"/><Relationship Id="rId31" Type="http://schemas.openxmlformats.org/officeDocument/2006/relationships/tags" Target="../tags/tag647.xml"/><Relationship Id="rId44" Type="http://schemas.openxmlformats.org/officeDocument/2006/relationships/tags" Target="../tags/tag660.xml"/><Relationship Id="rId52" Type="http://schemas.openxmlformats.org/officeDocument/2006/relationships/tags" Target="../tags/tag668.xml"/><Relationship Id="rId60" Type="http://schemas.openxmlformats.org/officeDocument/2006/relationships/tags" Target="../tags/tag676.xml"/><Relationship Id="rId65" Type="http://schemas.openxmlformats.org/officeDocument/2006/relationships/tags" Target="../tags/tag681.xml"/><Relationship Id="rId73" Type="http://schemas.openxmlformats.org/officeDocument/2006/relationships/oleObject" Target="../embeddings/oleObject46.bin"/><Relationship Id="rId4" Type="http://schemas.openxmlformats.org/officeDocument/2006/relationships/tags" Target="../tags/tag620.xml"/><Relationship Id="rId9" Type="http://schemas.openxmlformats.org/officeDocument/2006/relationships/tags" Target="../tags/tag625.xml"/><Relationship Id="rId13" Type="http://schemas.openxmlformats.org/officeDocument/2006/relationships/tags" Target="../tags/tag629.xml"/><Relationship Id="rId18" Type="http://schemas.openxmlformats.org/officeDocument/2006/relationships/tags" Target="../tags/tag634.xml"/><Relationship Id="rId39" Type="http://schemas.openxmlformats.org/officeDocument/2006/relationships/tags" Target="../tags/tag655.xml"/><Relationship Id="rId34" Type="http://schemas.openxmlformats.org/officeDocument/2006/relationships/tags" Target="../tags/tag650.xml"/><Relationship Id="rId50" Type="http://schemas.openxmlformats.org/officeDocument/2006/relationships/tags" Target="../tags/tag666.xml"/><Relationship Id="rId55" Type="http://schemas.openxmlformats.org/officeDocument/2006/relationships/tags" Target="../tags/tag671.xml"/><Relationship Id="rId76" Type="http://schemas.openxmlformats.org/officeDocument/2006/relationships/chart" Target="../charts/chart13.xml"/><Relationship Id="rId7" Type="http://schemas.openxmlformats.org/officeDocument/2006/relationships/tags" Target="../tags/tag623.xml"/><Relationship Id="rId71" Type="http://schemas.openxmlformats.org/officeDocument/2006/relationships/tags" Target="../tags/tag687.xml"/></Relationships>
</file>

<file path=ppt/slides/_rels/slide22.xml.rels><?xml version="1.0" encoding="UTF-8" standalone="yes"?>
<Relationships xmlns="http://schemas.openxmlformats.org/package/2006/relationships"><Relationship Id="rId8" Type="http://schemas.openxmlformats.org/officeDocument/2006/relationships/tags" Target="../tags/tag694.xml"/><Relationship Id="rId3" Type="http://schemas.openxmlformats.org/officeDocument/2006/relationships/tags" Target="../tags/tag689.xml"/><Relationship Id="rId7" Type="http://schemas.openxmlformats.org/officeDocument/2006/relationships/tags" Target="../tags/tag693.xml"/><Relationship Id="rId2" Type="http://schemas.openxmlformats.org/officeDocument/2006/relationships/tags" Target="../tags/tag688.xml"/><Relationship Id="rId1" Type="http://schemas.openxmlformats.org/officeDocument/2006/relationships/vmlDrawing" Target="../drawings/vmlDrawing49.vml"/><Relationship Id="rId6" Type="http://schemas.openxmlformats.org/officeDocument/2006/relationships/tags" Target="../tags/tag692.xml"/><Relationship Id="rId11" Type="http://schemas.openxmlformats.org/officeDocument/2006/relationships/image" Target="../media/image2.emf"/><Relationship Id="rId5" Type="http://schemas.openxmlformats.org/officeDocument/2006/relationships/tags" Target="../tags/tag691.xml"/><Relationship Id="rId10" Type="http://schemas.openxmlformats.org/officeDocument/2006/relationships/oleObject" Target="../embeddings/oleObject47.bin"/><Relationship Id="rId4" Type="http://schemas.openxmlformats.org/officeDocument/2006/relationships/tags" Target="../tags/tag690.xml"/><Relationship Id="rId9" Type="http://schemas.openxmlformats.org/officeDocument/2006/relationships/slideLayout" Target="../slideLayouts/slideLayout17.xml"/></Relationships>
</file>

<file path=ppt/slides/_rels/slide23.xml.rels><?xml version="1.0" encoding="UTF-8" standalone="yes"?>
<Relationships xmlns="http://schemas.openxmlformats.org/package/2006/relationships"><Relationship Id="rId8" Type="http://schemas.openxmlformats.org/officeDocument/2006/relationships/image" Target="../media/image45.emf"/><Relationship Id="rId13" Type="http://schemas.openxmlformats.org/officeDocument/2006/relationships/image" Target="../media/image50.png"/><Relationship Id="rId18" Type="http://schemas.openxmlformats.org/officeDocument/2006/relationships/image" Target="../media/image55.svg"/><Relationship Id="rId3" Type="http://schemas.openxmlformats.org/officeDocument/2006/relationships/tags" Target="../tags/tag696.xml"/><Relationship Id="rId7" Type="http://schemas.openxmlformats.org/officeDocument/2006/relationships/image" Target="../media/image2.emf"/><Relationship Id="rId12" Type="http://schemas.openxmlformats.org/officeDocument/2006/relationships/image" Target="../media/image49.svg"/><Relationship Id="rId17" Type="http://schemas.openxmlformats.org/officeDocument/2006/relationships/image" Target="../media/image54.png"/><Relationship Id="rId2" Type="http://schemas.openxmlformats.org/officeDocument/2006/relationships/tags" Target="../tags/tag695.xml"/><Relationship Id="rId16" Type="http://schemas.openxmlformats.org/officeDocument/2006/relationships/image" Target="../media/image53.svg"/><Relationship Id="rId20" Type="http://schemas.openxmlformats.org/officeDocument/2006/relationships/image" Target="../media/image57.svg"/><Relationship Id="rId1" Type="http://schemas.openxmlformats.org/officeDocument/2006/relationships/vmlDrawing" Target="../drawings/vmlDrawing50.vml"/><Relationship Id="rId6" Type="http://schemas.openxmlformats.org/officeDocument/2006/relationships/oleObject" Target="../embeddings/oleObject48.bin"/><Relationship Id="rId11" Type="http://schemas.openxmlformats.org/officeDocument/2006/relationships/image" Target="../media/image48.png"/><Relationship Id="rId5" Type="http://schemas.openxmlformats.org/officeDocument/2006/relationships/slideLayout" Target="../slideLayouts/slideLayout17.xml"/><Relationship Id="rId15" Type="http://schemas.openxmlformats.org/officeDocument/2006/relationships/image" Target="../media/image52.png"/><Relationship Id="rId10" Type="http://schemas.openxmlformats.org/officeDocument/2006/relationships/image" Target="../media/image47.svg"/><Relationship Id="rId19" Type="http://schemas.openxmlformats.org/officeDocument/2006/relationships/image" Target="../media/image56.png"/><Relationship Id="rId4" Type="http://schemas.openxmlformats.org/officeDocument/2006/relationships/tags" Target="../tags/tag697.xml"/><Relationship Id="rId9" Type="http://schemas.openxmlformats.org/officeDocument/2006/relationships/image" Target="../media/image46.png"/><Relationship Id="rId14" Type="http://schemas.openxmlformats.org/officeDocument/2006/relationships/image" Target="../media/image51.svg"/></Relationships>
</file>

<file path=ppt/slides/_rels/slide24.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699.xml"/><Relationship Id="rId7" Type="http://schemas.openxmlformats.org/officeDocument/2006/relationships/image" Target="../media/image14.png"/><Relationship Id="rId2" Type="http://schemas.openxmlformats.org/officeDocument/2006/relationships/tags" Target="../tags/tag698.xml"/><Relationship Id="rId1" Type="http://schemas.openxmlformats.org/officeDocument/2006/relationships/vmlDrawing" Target="../drawings/vmlDrawing51.vml"/><Relationship Id="rId6" Type="http://schemas.openxmlformats.org/officeDocument/2006/relationships/image" Target="../media/image2.emf"/><Relationship Id="rId11" Type="http://schemas.openxmlformats.org/officeDocument/2006/relationships/image" Target="../media/image17.svg"/><Relationship Id="rId5" Type="http://schemas.openxmlformats.org/officeDocument/2006/relationships/oleObject" Target="../embeddings/oleObject37.bin"/><Relationship Id="rId10" Type="http://schemas.openxmlformats.org/officeDocument/2006/relationships/image" Target="../media/image16.png"/><Relationship Id="rId4" Type="http://schemas.openxmlformats.org/officeDocument/2006/relationships/slideLayout" Target="../slideLayouts/slideLayout4.xml"/><Relationship Id="rId9" Type="http://schemas.openxmlformats.org/officeDocument/2006/relationships/hyperlink" Target="https://www.youtube.com/watch?v=FG8x18TJH0M" TargetMode="External"/></Relationships>
</file>

<file path=ppt/slides/_rels/slide25.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tags" Target="../tags/tag701.xml"/><Relationship Id="rId7" Type="http://schemas.openxmlformats.org/officeDocument/2006/relationships/image" Target="../media/image2.emf"/><Relationship Id="rId2" Type="http://schemas.openxmlformats.org/officeDocument/2006/relationships/tags" Target="../tags/tag700.xml"/><Relationship Id="rId1" Type="http://schemas.openxmlformats.org/officeDocument/2006/relationships/vmlDrawing" Target="../drawings/vmlDrawing52.vml"/><Relationship Id="rId6" Type="http://schemas.openxmlformats.org/officeDocument/2006/relationships/oleObject" Target="../embeddings/oleObject49.bin"/><Relationship Id="rId5" Type="http://schemas.openxmlformats.org/officeDocument/2006/relationships/slideLayout" Target="../slideLayouts/slideLayout12.xml"/><Relationship Id="rId10" Type="http://schemas.openxmlformats.org/officeDocument/2006/relationships/image" Target="../media/image60.png"/><Relationship Id="rId4" Type="http://schemas.openxmlformats.org/officeDocument/2006/relationships/tags" Target="../tags/tag702.xml"/><Relationship Id="rId9" Type="http://schemas.openxmlformats.org/officeDocument/2006/relationships/image" Target="../media/image59.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9.xml"/></Relationships>
</file>

<file path=ppt/slides/_rels/slide27.xml.rels><?xml version="1.0" encoding="UTF-8" standalone="yes"?>
<Relationships xmlns="http://schemas.openxmlformats.org/package/2006/relationships"><Relationship Id="rId8" Type="http://schemas.openxmlformats.org/officeDocument/2006/relationships/tags" Target="../tags/tag709.xml"/><Relationship Id="rId3" Type="http://schemas.openxmlformats.org/officeDocument/2006/relationships/tags" Target="../tags/tag704.xml"/><Relationship Id="rId7" Type="http://schemas.openxmlformats.org/officeDocument/2006/relationships/tags" Target="../tags/tag708.xml"/><Relationship Id="rId12" Type="http://schemas.openxmlformats.org/officeDocument/2006/relationships/image" Target="../media/image2.emf"/><Relationship Id="rId2" Type="http://schemas.openxmlformats.org/officeDocument/2006/relationships/tags" Target="../tags/tag703.xml"/><Relationship Id="rId1" Type="http://schemas.openxmlformats.org/officeDocument/2006/relationships/vmlDrawing" Target="../drawings/vmlDrawing53.vml"/><Relationship Id="rId6" Type="http://schemas.openxmlformats.org/officeDocument/2006/relationships/tags" Target="../tags/tag707.xml"/><Relationship Id="rId11" Type="http://schemas.openxmlformats.org/officeDocument/2006/relationships/oleObject" Target="../embeddings/oleObject50.bin"/><Relationship Id="rId5" Type="http://schemas.openxmlformats.org/officeDocument/2006/relationships/tags" Target="../tags/tag706.xml"/><Relationship Id="rId10" Type="http://schemas.openxmlformats.org/officeDocument/2006/relationships/slideLayout" Target="../slideLayouts/slideLayout17.xml"/><Relationship Id="rId4" Type="http://schemas.openxmlformats.org/officeDocument/2006/relationships/tags" Target="../tags/tag705.xml"/><Relationship Id="rId9" Type="http://schemas.openxmlformats.org/officeDocument/2006/relationships/tags" Target="../tags/tag710.xml"/></Relationships>
</file>

<file path=ppt/slides/_rels/slide28.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712.xml"/><Relationship Id="rId7" Type="http://schemas.openxmlformats.org/officeDocument/2006/relationships/oleObject" Target="../embeddings/oleObject50.bin"/><Relationship Id="rId2" Type="http://schemas.openxmlformats.org/officeDocument/2006/relationships/tags" Target="../tags/tag711.xml"/><Relationship Id="rId1" Type="http://schemas.openxmlformats.org/officeDocument/2006/relationships/vmlDrawing" Target="../drawings/vmlDrawing54.vml"/><Relationship Id="rId6" Type="http://schemas.openxmlformats.org/officeDocument/2006/relationships/slideLayout" Target="../slideLayouts/slideLayout17.xml"/><Relationship Id="rId5" Type="http://schemas.openxmlformats.org/officeDocument/2006/relationships/tags" Target="../tags/tag714.xml"/><Relationship Id="rId4" Type="http://schemas.openxmlformats.org/officeDocument/2006/relationships/tags" Target="../tags/tag713.xml"/></Relationships>
</file>

<file path=ppt/slides/_rels/slide29.xml.rels><?xml version="1.0" encoding="UTF-8" standalone="yes"?>
<Relationships xmlns="http://schemas.openxmlformats.org/package/2006/relationships"><Relationship Id="rId8" Type="http://schemas.openxmlformats.org/officeDocument/2006/relationships/image" Target="../media/image2.emf"/><Relationship Id="rId13" Type="http://schemas.openxmlformats.org/officeDocument/2006/relationships/image" Target="../media/image65.png"/><Relationship Id="rId3" Type="http://schemas.openxmlformats.org/officeDocument/2006/relationships/tags" Target="../tags/tag716.xml"/><Relationship Id="rId7" Type="http://schemas.openxmlformats.org/officeDocument/2006/relationships/oleObject" Target="../embeddings/oleObject51.bin"/><Relationship Id="rId12" Type="http://schemas.openxmlformats.org/officeDocument/2006/relationships/image" Target="../media/image64.svg"/><Relationship Id="rId2" Type="http://schemas.openxmlformats.org/officeDocument/2006/relationships/tags" Target="../tags/tag715.xml"/><Relationship Id="rId1" Type="http://schemas.openxmlformats.org/officeDocument/2006/relationships/vmlDrawing" Target="../drawings/vmlDrawing55.vml"/><Relationship Id="rId6" Type="http://schemas.openxmlformats.org/officeDocument/2006/relationships/slideLayout" Target="../slideLayouts/slideLayout11.xml"/><Relationship Id="rId11" Type="http://schemas.openxmlformats.org/officeDocument/2006/relationships/image" Target="../media/image63.png"/><Relationship Id="rId5" Type="http://schemas.openxmlformats.org/officeDocument/2006/relationships/tags" Target="../tags/tag718.xml"/><Relationship Id="rId10" Type="http://schemas.openxmlformats.org/officeDocument/2006/relationships/image" Target="../media/image62.svg"/><Relationship Id="rId4" Type="http://schemas.openxmlformats.org/officeDocument/2006/relationships/tags" Target="../tags/tag717.xml"/><Relationship Id="rId9" Type="http://schemas.openxmlformats.org/officeDocument/2006/relationships/image" Target="../media/image61.png"/><Relationship Id="rId14" Type="http://schemas.openxmlformats.org/officeDocument/2006/relationships/image" Target="../media/image66.svg"/></Relationships>
</file>

<file path=ppt/slides/_rels/slide3.xml.rels><?xml version="1.0" encoding="UTF-8" standalone="yes"?>
<Relationships xmlns="http://schemas.openxmlformats.org/package/2006/relationships"><Relationship Id="rId8" Type="http://schemas.openxmlformats.org/officeDocument/2006/relationships/slideLayout" Target="../slideLayouts/slideLayout1.xml"/><Relationship Id="rId3" Type="http://schemas.openxmlformats.org/officeDocument/2006/relationships/tags" Target="../tags/tag272.xml"/><Relationship Id="rId7" Type="http://schemas.openxmlformats.org/officeDocument/2006/relationships/tags" Target="../tags/tag276.xml"/><Relationship Id="rId2" Type="http://schemas.openxmlformats.org/officeDocument/2006/relationships/tags" Target="../tags/tag271.xml"/><Relationship Id="rId1" Type="http://schemas.openxmlformats.org/officeDocument/2006/relationships/vmlDrawing" Target="../drawings/vmlDrawing35.vml"/><Relationship Id="rId6" Type="http://schemas.openxmlformats.org/officeDocument/2006/relationships/tags" Target="../tags/tag275.xml"/><Relationship Id="rId11" Type="http://schemas.openxmlformats.org/officeDocument/2006/relationships/image" Target="../media/image2.emf"/><Relationship Id="rId5" Type="http://schemas.openxmlformats.org/officeDocument/2006/relationships/tags" Target="../tags/tag274.xml"/><Relationship Id="rId10" Type="http://schemas.openxmlformats.org/officeDocument/2006/relationships/oleObject" Target="../embeddings/oleObject35.bin"/><Relationship Id="rId4" Type="http://schemas.openxmlformats.org/officeDocument/2006/relationships/tags" Target="../tags/tag273.xml"/><Relationship Id="rId9" Type="http://schemas.openxmlformats.org/officeDocument/2006/relationships/notesSlide" Target="../notesSlides/notesSlide1.xml"/></Relationships>
</file>

<file path=ppt/slides/_rels/slide30.xml.rels><?xml version="1.0" encoding="UTF-8" standalone="yes"?>
<Relationships xmlns="http://schemas.openxmlformats.org/package/2006/relationships"><Relationship Id="rId8" Type="http://schemas.openxmlformats.org/officeDocument/2006/relationships/slideLayout" Target="../slideLayouts/slideLayout4.xml"/><Relationship Id="rId3" Type="http://schemas.openxmlformats.org/officeDocument/2006/relationships/tags" Target="../tags/tag720.xml"/><Relationship Id="rId7" Type="http://schemas.openxmlformats.org/officeDocument/2006/relationships/tags" Target="../tags/tag724.xml"/><Relationship Id="rId2" Type="http://schemas.openxmlformats.org/officeDocument/2006/relationships/tags" Target="../tags/tag719.xml"/><Relationship Id="rId1" Type="http://schemas.openxmlformats.org/officeDocument/2006/relationships/vmlDrawing" Target="../drawings/vmlDrawing56.vml"/><Relationship Id="rId6" Type="http://schemas.openxmlformats.org/officeDocument/2006/relationships/tags" Target="../tags/tag723.xml"/><Relationship Id="rId5" Type="http://schemas.openxmlformats.org/officeDocument/2006/relationships/tags" Target="../tags/tag722.xml"/><Relationship Id="rId10" Type="http://schemas.openxmlformats.org/officeDocument/2006/relationships/image" Target="../media/image2.emf"/><Relationship Id="rId4" Type="http://schemas.openxmlformats.org/officeDocument/2006/relationships/tags" Target="../tags/tag721.xml"/><Relationship Id="rId9" Type="http://schemas.openxmlformats.org/officeDocument/2006/relationships/oleObject" Target="../embeddings/oleObject52.bin"/></Relationships>
</file>

<file path=ppt/slides/_rels/slide31.xml.rels><?xml version="1.0" encoding="UTF-8" standalone="yes"?>
<Relationships xmlns="http://schemas.openxmlformats.org/package/2006/relationships"><Relationship Id="rId8" Type="http://schemas.openxmlformats.org/officeDocument/2006/relationships/image" Target="../media/image67.png"/><Relationship Id="rId13" Type="http://schemas.openxmlformats.org/officeDocument/2006/relationships/image" Target="../media/image72.svg"/><Relationship Id="rId3" Type="http://schemas.openxmlformats.org/officeDocument/2006/relationships/tags" Target="../tags/tag726.xml"/><Relationship Id="rId7" Type="http://schemas.openxmlformats.org/officeDocument/2006/relationships/image" Target="../media/image2.emf"/><Relationship Id="rId12" Type="http://schemas.openxmlformats.org/officeDocument/2006/relationships/image" Target="../media/image71.png"/><Relationship Id="rId2" Type="http://schemas.openxmlformats.org/officeDocument/2006/relationships/tags" Target="../tags/tag725.xml"/><Relationship Id="rId1" Type="http://schemas.openxmlformats.org/officeDocument/2006/relationships/vmlDrawing" Target="../drawings/vmlDrawing57.vml"/><Relationship Id="rId6" Type="http://schemas.openxmlformats.org/officeDocument/2006/relationships/oleObject" Target="../embeddings/oleObject53.bin"/><Relationship Id="rId11" Type="http://schemas.openxmlformats.org/officeDocument/2006/relationships/image" Target="../media/image70.svg"/><Relationship Id="rId5" Type="http://schemas.openxmlformats.org/officeDocument/2006/relationships/slideLayout" Target="../slideLayouts/slideLayout4.xml"/><Relationship Id="rId15" Type="http://schemas.openxmlformats.org/officeDocument/2006/relationships/image" Target="../media/image74.svg"/><Relationship Id="rId10" Type="http://schemas.openxmlformats.org/officeDocument/2006/relationships/image" Target="../media/image69.png"/><Relationship Id="rId4" Type="http://schemas.openxmlformats.org/officeDocument/2006/relationships/tags" Target="../tags/tag727.xml"/><Relationship Id="rId9" Type="http://schemas.openxmlformats.org/officeDocument/2006/relationships/image" Target="../media/image68.svg"/><Relationship Id="rId14" Type="http://schemas.openxmlformats.org/officeDocument/2006/relationships/image" Target="../media/image73.png"/></Relationships>
</file>

<file path=ppt/slides/_rels/slide32.xml.rels><?xml version="1.0" encoding="UTF-8" standalone="yes"?>
<Relationships xmlns="http://schemas.openxmlformats.org/package/2006/relationships"><Relationship Id="rId8" Type="http://schemas.openxmlformats.org/officeDocument/2006/relationships/tags" Target="../tags/tag734.xml"/><Relationship Id="rId13" Type="http://schemas.openxmlformats.org/officeDocument/2006/relationships/oleObject" Target="../embeddings/oleObject54.bin"/><Relationship Id="rId18" Type="http://schemas.openxmlformats.org/officeDocument/2006/relationships/image" Target="../media/image68.svg"/><Relationship Id="rId3" Type="http://schemas.openxmlformats.org/officeDocument/2006/relationships/tags" Target="../tags/tag729.xml"/><Relationship Id="rId7" Type="http://schemas.openxmlformats.org/officeDocument/2006/relationships/tags" Target="../tags/tag733.xml"/><Relationship Id="rId12" Type="http://schemas.openxmlformats.org/officeDocument/2006/relationships/slideLayout" Target="../slideLayouts/slideLayout4.xml"/><Relationship Id="rId17" Type="http://schemas.openxmlformats.org/officeDocument/2006/relationships/image" Target="../media/image67.png"/><Relationship Id="rId2" Type="http://schemas.openxmlformats.org/officeDocument/2006/relationships/tags" Target="../tags/tag728.xml"/><Relationship Id="rId16" Type="http://schemas.openxmlformats.org/officeDocument/2006/relationships/image" Target="../media/image70.svg"/><Relationship Id="rId20" Type="http://schemas.openxmlformats.org/officeDocument/2006/relationships/image" Target="../media/image72.svg"/><Relationship Id="rId1" Type="http://schemas.openxmlformats.org/officeDocument/2006/relationships/vmlDrawing" Target="../drawings/vmlDrawing58.vml"/><Relationship Id="rId6" Type="http://schemas.openxmlformats.org/officeDocument/2006/relationships/tags" Target="../tags/tag732.xml"/><Relationship Id="rId11" Type="http://schemas.openxmlformats.org/officeDocument/2006/relationships/tags" Target="../tags/tag737.xml"/><Relationship Id="rId5" Type="http://schemas.openxmlformats.org/officeDocument/2006/relationships/tags" Target="../tags/tag731.xml"/><Relationship Id="rId15" Type="http://schemas.openxmlformats.org/officeDocument/2006/relationships/image" Target="../media/image69.png"/><Relationship Id="rId10" Type="http://schemas.openxmlformats.org/officeDocument/2006/relationships/tags" Target="../tags/tag736.xml"/><Relationship Id="rId19" Type="http://schemas.openxmlformats.org/officeDocument/2006/relationships/image" Target="../media/image71.png"/><Relationship Id="rId4" Type="http://schemas.openxmlformats.org/officeDocument/2006/relationships/tags" Target="../tags/tag730.xml"/><Relationship Id="rId9" Type="http://schemas.openxmlformats.org/officeDocument/2006/relationships/tags" Target="../tags/tag735.xml"/><Relationship Id="rId14" Type="http://schemas.openxmlformats.org/officeDocument/2006/relationships/image" Target="../media/image2.emf"/></Relationships>
</file>

<file path=ppt/slides/_rels/slide33.xml.rels><?xml version="1.0" encoding="UTF-8" standalone="yes"?>
<Relationships xmlns="http://schemas.openxmlformats.org/package/2006/relationships"><Relationship Id="rId8" Type="http://schemas.openxmlformats.org/officeDocument/2006/relationships/tags" Target="../tags/tag744.xml"/><Relationship Id="rId13" Type="http://schemas.openxmlformats.org/officeDocument/2006/relationships/image" Target="../media/image2.emf"/><Relationship Id="rId3" Type="http://schemas.openxmlformats.org/officeDocument/2006/relationships/tags" Target="../tags/tag739.xml"/><Relationship Id="rId7" Type="http://schemas.openxmlformats.org/officeDocument/2006/relationships/tags" Target="../tags/tag743.xml"/><Relationship Id="rId12" Type="http://schemas.openxmlformats.org/officeDocument/2006/relationships/oleObject" Target="../embeddings/oleObject55.bin"/><Relationship Id="rId17" Type="http://schemas.openxmlformats.org/officeDocument/2006/relationships/image" Target="../media/image74.svg"/><Relationship Id="rId2" Type="http://schemas.openxmlformats.org/officeDocument/2006/relationships/tags" Target="../tags/tag738.xml"/><Relationship Id="rId16" Type="http://schemas.openxmlformats.org/officeDocument/2006/relationships/image" Target="../media/image73.png"/><Relationship Id="rId1" Type="http://schemas.openxmlformats.org/officeDocument/2006/relationships/vmlDrawing" Target="../drawings/vmlDrawing59.vml"/><Relationship Id="rId6" Type="http://schemas.openxmlformats.org/officeDocument/2006/relationships/tags" Target="../tags/tag742.xml"/><Relationship Id="rId11" Type="http://schemas.openxmlformats.org/officeDocument/2006/relationships/slideLayout" Target="../slideLayouts/slideLayout4.xml"/><Relationship Id="rId5" Type="http://schemas.openxmlformats.org/officeDocument/2006/relationships/tags" Target="../tags/tag741.xml"/><Relationship Id="rId15" Type="http://schemas.openxmlformats.org/officeDocument/2006/relationships/image" Target="../media/image68.svg"/><Relationship Id="rId10" Type="http://schemas.openxmlformats.org/officeDocument/2006/relationships/tags" Target="../tags/tag746.xml"/><Relationship Id="rId4" Type="http://schemas.openxmlformats.org/officeDocument/2006/relationships/tags" Target="../tags/tag740.xml"/><Relationship Id="rId9" Type="http://schemas.openxmlformats.org/officeDocument/2006/relationships/tags" Target="../tags/tag745.xml"/><Relationship Id="rId14" Type="http://schemas.openxmlformats.org/officeDocument/2006/relationships/image" Target="../media/image67.png"/></Relationships>
</file>

<file path=ppt/slides/_rels/slide34.xml.rels><?xml version="1.0" encoding="UTF-8" standalone="yes"?>
<Relationships xmlns="http://schemas.openxmlformats.org/package/2006/relationships"><Relationship Id="rId3" Type="http://schemas.openxmlformats.org/officeDocument/2006/relationships/tags" Target="../tags/tag748.xml"/><Relationship Id="rId2" Type="http://schemas.openxmlformats.org/officeDocument/2006/relationships/tags" Target="../tags/tag747.xml"/><Relationship Id="rId1" Type="http://schemas.openxmlformats.org/officeDocument/2006/relationships/vmlDrawing" Target="../drawings/vmlDrawing60.vml"/><Relationship Id="rId6" Type="http://schemas.openxmlformats.org/officeDocument/2006/relationships/image" Target="../media/image2.emf"/><Relationship Id="rId5" Type="http://schemas.openxmlformats.org/officeDocument/2006/relationships/oleObject" Target="../embeddings/oleObject55.bin"/><Relationship Id="rId4"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20.xml"/></Relationships>
</file>

<file path=ppt/slides/_rels/slide3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0.xml"/></Relationships>
</file>

<file path=ppt/slides/_rels/slide3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0.xml"/></Relationships>
</file>

<file path=ppt/slides/_rels/slide38.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20.xml"/></Relationships>
</file>

<file path=ppt/slides/_rels/slide39.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9.xml"/></Relationships>
</file>

<file path=ppt/slides/_rels/slide40.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20.xml"/></Relationships>
</file>

<file path=ppt/slides/_rels/slide5.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117" Type="http://schemas.openxmlformats.org/officeDocument/2006/relationships/tags" Target="../tags/tag392.xml"/><Relationship Id="rId21" Type="http://schemas.openxmlformats.org/officeDocument/2006/relationships/tags" Target="../tags/tag296.xml"/><Relationship Id="rId42" Type="http://schemas.openxmlformats.org/officeDocument/2006/relationships/tags" Target="../tags/tag317.xml"/><Relationship Id="rId63" Type="http://schemas.openxmlformats.org/officeDocument/2006/relationships/tags" Target="../tags/tag338.xml"/><Relationship Id="rId84" Type="http://schemas.openxmlformats.org/officeDocument/2006/relationships/tags" Target="../tags/tag359.xml"/><Relationship Id="rId16" Type="http://schemas.openxmlformats.org/officeDocument/2006/relationships/tags" Target="../tags/tag291.xml"/><Relationship Id="rId107" Type="http://schemas.openxmlformats.org/officeDocument/2006/relationships/tags" Target="../tags/tag382.xml"/><Relationship Id="rId11" Type="http://schemas.openxmlformats.org/officeDocument/2006/relationships/tags" Target="../tags/tag286.xml"/><Relationship Id="rId32" Type="http://schemas.openxmlformats.org/officeDocument/2006/relationships/tags" Target="../tags/tag307.xml"/><Relationship Id="rId37" Type="http://schemas.openxmlformats.org/officeDocument/2006/relationships/tags" Target="../tags/tag312.xml"/><Relationship Id="rId53" Type="http://schemas.openxmlformats.org/officeDocument/2006/relationships/tags" Target="../tags/tag328.xml"/><Relationship Id="rId58" Type="http://schemas.openxmlformats.org/officeDocument/2006/relationships/tags" Target="../tags/tag333.xml"/><Relationship Id="rId74" Type="http://schemas.openxmlformats.org/officeDocument/2006/relationships/tags" Target="../tags/tag349.xml"/><Relationship Id="rId79" Type="http://schemas.openxmlformats.org/officeDocument/2006/relationships/tags" Target="../tags/tag354.xml"/><Relationship Id="rId102" Type="http://schemas.openxmlformats.org/officeDocument/2006/relationships/tags" Target="../tags/tag377.xml"/><Relationship Id="rId123" Type="http://schemas.openxmlformats.org/officeDocument/2006/relationships/tags" Target="../tags/tag398.xml"/><Relationship Id="rId128" Type="http://schemas.openxmlformats.org/officeDocument/2006/relationships/tags" Target="../tags/tag403.xml"/><Relationship Id="rId5" Type="http://schemas.openxmlformats.org/officeDocument/2006/relationships/tags" Target="../tags/tag280.xml"/><Relationship Id="rId90" Type="http://schemas.openxmlformats.org/officeDocument/2006/relationships/tags" Target="../tags/tag365.xml"/><Relationship Id="rId95" Type="http://schemas.openxmlformats.org/officeDocument/2006/relationships/tags" Target="../tags/tag370.xml"/><Relationship Id="rId22" Type="http://schemas.openxmlformats.org/officeDocument/2006/relationships/tags" Target="../tags/tag297.xml"/><Relationship Id="rId27" Type="http://schemas.openxmlformats.org/officeDocument/2006/relationships/tags" Target="../tags/tag302.xml"/><Relationship Id="rId43" Type="http://schemas.openxmlformats.org/officeDocument/2006/relationships/tags" Target="../tags/tag318.xml"/><Relationship Id="rId48" Type="http://schemas.openxmlformats.org/officeDocument/2006/relationships/tags" Target="../tags/tag323.xml"/><Relationship Id="rId64" Type="http://schemas.openxmlformats.org/officeDocument/2006/relationships/tags" Target="../tags/tag339.xml"/><Relationship Id="rId69" Type="http://schemas.openxmlformats.org/officeDocument/2006/relationships/tags" Target="../tags/tag344.xml"/><Relationship Id="rId113" Type="http://schemas.openxmlformats.org/officeDocument/2006/relationships/tags" Target="../tags/tag388.xml"/><Relationship Id="rId118" Type="http://schemas.openxmlformats.org/officeDocument/2006/relationships/tags" Target="../tags/tag393.xml"/><Relationship Id="rId134" Type="http://schemas.openxmlformats.org/officeDocument/2006/relationships/chart" Target="../charts/chart1.xml"/><Relationship Id="rId80" Type="http://schemas.openxmlformats.org/officeDocument/2006/relationships/tags" Target="../tags/tag355.xml"/><Relationship Id="rId85" Type="http://schemas.openxmlformats.org/officeDocument/2006/relationships/tags" Target="../tags/tag360.xml"/><Relationship Id="rId12" Type="http://schemas.openxmlformats.org/officeDocument/2006/relationships/tags" Target="../tags/tag287.xml"/><Relationship Id="rId17" Type="http://schemas.openxmlformats.org/officeDocument/2006/relationships/tags" Target="../tags/tag292.xml"/><Relationship Id="rId33" Type="http://schemas.openxmlformats.org/officeDocument/2006/relationships/tags" Target="../tags/tag308.xml"/><Relationship Id="rId38" Type="http://schemas.openxmlformats.org/officeDocument/2006/relationships/tags" Target="../tags/tag313.xml"/><Relationship Id="rId59" Type="http://schemas.openxmlformats.org/officeDocument/2006/relationships/tags" Target="../tags/tag334.xml"/><Relationship Id="rId103" Type="http://schemas.openxmlformats.org/officeDocument/2006/relationships/tags" Target="../tags/tag378.xml"/><Relationship Id="rId108" Type="http://schemas.openxmlformats.org/officeDocument/2006/relationships/tags" Target="../tags/tag383.xml"/><Relationship Id="rId124" Type="http://schemas.openxmlformats.org/officeDocument/2006/relationships/tags" Target="../tags/tag399.xml"/><Relationship Id="rId129" Type="http://schemas.openxmlformats.org/officeDocument/2006/relationships/tags" Target="../tags/tag404.xml"/><Relationship Id="rId54" Type="http://schemas.openxmlformats.org/officeDocument/2006/relationships/tags" Target="../tags/tag329.xml"/><Relationship Id="rId70" Type="http://schemas.openxmlformats.org/officeDocument/2006/relationships/tags" Target="../tags/tag345.xml"/><Relationship Id="rId75" Type="http://schemas.openxmlformats.org/officeDocument/2006/relationships/tags" Target="../tags/tag350.xml"/><Relationship Id="rId91" Type="http://schemas.openxmlformats.org/officeDocument/2006/relationships/tags" Target="../tags/tag366.xml"/><Relationship Id="rId96" Type="http://schemas.openxmlformats.org/officeDocument/2006/relationships/tags" Target="../tags/tag371.xml"/><Relationship Id="rId1" Type="http://schemas.openxmlformats.org/officeDocument/2006/relationships/vmlDrawing" Target="../drawings/vmlDrawing36.vml"/><Relationship Id="rId6" Type="http://schemas.openxmlformats.org/officeDocument/2006/relationships/tags" Target="../tags/tag281.xml"/><Relationship Id="rId23" Type="http://schemas.openxmlformats.org/officeDocument/2006/relationships/tags" Target="../tags/tag298.xml"/><Relationship Id="rId28" Type="http://schemas.openxmlformats.org/officeDocument/2006/relationships/tags" Target="../tags/tag303.xml"/><Relationship Id="rId49" Type="http://schemas.openxmlformats.org/officeDocument/2006/relationships/tags" Target="../tags/tag324.xml"/><Relationship Id="rId114" Type="http://schemas.openxmlformats.org/officeDocument/2006/relationships/tags" Target="../tags/tag389.xml"/><Relationship Id="rId119" Type="http://schemas.openxmlformats.org/officeDocument/2006/relationships/tags" Target="../tags/tag394.xml"/><Relationship Id="rId44" Type="http://schemas.openxmlformats.org/officeDocument/2006/relationships/tags" Target="../tags/tag319.xml"/><Relationship Id="rId60" Type="http://schemas.openxmlformats.org/officeDocument/2006/relationships/tags" Target="../tags/tag335.xml"/><Relationship Id="rId65" Type="http://schemas.openxmlformats.org/officeDocument/2006/relationships/tags" Target="../tags/tag340.xml"/><Relationship Id="rId81" Type="http://schemas.openxmlformats.org/officeDocument/2006/relationships/tags" Target="../tags/tag356.xml"/><Relationship Id="rId86" Type="http://schemas.openxmlformats.org/officeDocument/2006/relationships/tags" Target="../tags/tag361.xml"/><Relationship Id="rId130" Type="http://schemas.openxmlformats.org/officeDocument/2006/relationships/tags" Target="../tags/tag405.xml"/><Relationship Id="rId135" Type="http://schemas.openxmlformats.org/officeDocument/2006/relationships/chart" Target="../charts/chart2.xml"/><Relationship Id="rId13" Type="http://schemas.openxmlformats.org/officeDocument/2006/relationships/tags" Target="../tags/tag288.xml"/><Relationship Id="rId18" Type="http://schemas.openxmlformats.org/officeDocument/2006/relationships/tags" Target="../tags/tag293.xml"/><Relationship Id="rId39" Type="http://schemas.openxmlformats.org/officeDocument/2006/relationships/tags" Target="../tags/tag314.xml"/><Relationship Id="rId109" Type="http://schemas.openxmlformats.org/officeDocument/2006/relationships/tags" Target="../tags/tag384.xml"/><Relationship Id="rId34" Type="http://schemas.openxmlformats.org/officeDocument/2006/relationships/tags" Target="../tags/tag309.xml"/><Relationship Id="rId50" Type="http://schemas.openxmlformats.org/officeDocument/2006/relationships/tags" Target="../tags/tag325.xml"/><Relationship Id="rId55" Type="http://schemas.openxmlformats.org/officeDocument/2006/relationships/tags" Target="../tags/tag330.xml"/><Relationship Id="rId76" Type="http://schemas.openxmlformats.org/officeDocument/2006/relationships/tags" Target="../tags/tag351.xml"/><Relationship Id="rId97" Type="http://schemas.openxmlformats.org/officeDocument/2006/relationships/tags" Target="../tags/tag372.xml"/><Relationship Id="rId104" Type="http://schemas.openxmlformats.org/officeDocument/2006/relationships/tags" Target="../tags/tag379.xml"/><Relationship Id="rId120" Type="http://schemas.openxmlformats.org/officeDocument/2006/relationships/tags" Target="../tags/tag395.xml"/><Relationship Id="rId125" Type="http://schemas.openxmlformats.org/officeDocument/2006/relationships/tags" Target="../tags/tag400.xml"/><Relationship Id="rId7" Type="http://schemas.openxmlformats.org/officeDocument/2006/relationships/tags" Target="../tags/tag282.xml"/><Relationship Id="rId71" Type="http://schemas.openxmlformats.org/officeDocument/2006/relationships/tags" Target="../tags/tag346.xml"/><Relationship Id="rId92" Type="http://schemas.openxmlformats.org/officeDocument/2006/relationships/tags" Target="../tags/tag367.xml"/><Relationship Id="rId2" Type="http://schemas.openxmlformats.org/officeDocument/2006/relationships/tags" Target="../tags/tag277.xml"/><Relationship Id="rId29" Type="http://schemas.openxmlformats.org/officeDocument/2006/relationships/tags" Target="../tags/tag304.xml"/><Relationship Id="rId24" Type="http://schemas.openxmlformats.org/officeDocument/2006/relationships/tags" Target="../tags/tag299.xml"/><Relationship Id="rId40" Type="http://schemas.openxmlformats.org/officeDocument/2006/relationships/tags" Target="../tags/tag315.xml"/><Relationship Id="rId45" Type="http://schemas.openxmlformats.org/officeDocument/2006/relationships/tags" Target="../tags/tag320.xml"/><Relationship Id="rId66" Type="http://schemas.openxmlformats.org/officeDocument/2006/relationships/tags" Target="../tags/tag341.xml"/><Relationship Id="rId87" Type="http://schemas.openxmlformats.org/officeDocument/2006/relationships/tags" Target="../tags/tag362.xml"/><Relationship Id="rId110" Type="http://schemas.openxmlformats.org/officeDocument/2006/relationships/tags" Target="../tags/tag385.xml"/><Relationship Id="rId115" Type="http://schemas.openxmlformats.org/officeDocument/2006/relationships/tags" Target="../tags/tag390.xml"/><Relationship Id="rId131" Type="http://schemas.openxmlformats.org/officeDocument/2006/relationships/slideLayout" Target="../slideLayouts/slideLayout4.xml"/><Relationship Id="rId136" Type="http://schemas.openxmlformats.org/officeDocument/2006/relationships/chart" Target="../charts/chart3.xml"/><Relationship Id="rId61" Type="http://schemas.openxmlformats.org/officeDocument/2006/relationships/tags" Target="../tags/tag336.xml"/><Relationship Id="rId82" Type="http://schemas.openxmlformats.org/officeDocument/2006/relationships/tags" Target="../tags/tag357.xml"/><Relationship Id="rId19" Type="http://schemas.openxmlformats.org/officeDocument/2006/relationships/tags" Target="../tags/tag294.xml"/><Relationship Id="rId14" Type="http://schemas.openxmlformats.org/officeDocument/2006/relationships/tags" Target="../tags/tag289.xml"/><Relationship Id="rId30" Type="http://schemas.openxmlformats.org/officeDocument/2006/relationships/tags" Target="../tags/tag305.xml"/><Relationship Id="rId35" Type="http://schemas.openxmlformats.org/officeDocument/2006/relationships/tags" Target="../tags/tag310.xml"/><Relationship Id="rId56" Type="http://schemas.openxmlformats.org/officeDocument/2006/relationships/tags" Target="../tags/tag331.xml"/><Relationship Id="rId77" Type="http://schemas.openxmlformats.org/officeDocument/2006/relationships/tags" Target="../tags/tag352.xml"/><Relationship Id="rId100" Type="http://schemas.openxmlformats.org/officeDocument/2006/relationships/tags" Target="../tags/tag375.xml"/><Relationship Id="rId105" Type="http://schemas.openxmlformats.org/officeDocument/2006/relationships/tags" Target="../tags/tag380.xml"/><Relationship Id="rId126" Type="http://schemas.openxmlformats.org/officeDocument/2006/relationships/tags" Target="../tags/tag401.xml"/><Relationship Id="rId8" Type="http://schemas.openxmlformats.org/officeDocument/2006/relationships/tags" Target="../tags/tag283.xml"/><Relationship Id="rId51" Type="http://schemas.openxmlformats.org/officeDocument/2006/relationships/tags" Target="../tags/tag326.xml"/><Relationship Id="rId72" Type="http://schemas.openxmlformats.org/officeDocument/2006/relationships/tags" Target="../tags/tag347.xml"/><Relationship Id="rId93" Type="http://schemas.openxmlformats.org/officeDocument/2006/relationships/tags" Target="../tags/tag368.xml"/><Relationship Id="rId98" Type="http://schemas.openxmlformats.org/officeDocument/2006/relationships/tags" Target="../tags/tag373.xml"/><Relationship Id="rId121" Type="http://schemas.openxmlformats.org/officeDocument/2006/relationships/tags" Target="../tags/tag396.xml"/><Relationship Id="rId3" Type="http://schemas.openxmlformats.org/officeDocument/2006/relationships/tags" Target="../tags/tag278.xml"/><Relationship Id="rId25" Type="http://schemas.openxmlformats.org/officeDocument/2006/relationships/tags" Target="../tags/tag300.xml"/><Relationship Id="rId46" Type="http://schemas.openxmlformats.org/officeDocument/2006/relationships/tags" Target="../tags/tag321.xml"/><Relationship Id="rId67" Type="http://schemas.openxmlformats.org/officeDocument/2006/relationships/tags" Target="../tags/tag342.xml"/><Relationship Id="rId116" Type="http://schemas.openxmlformats.org/officeDocument/2006/relationships/tags" Target="../tags/tag391.xml"/><Relationship Id="rId20" Type="http://schemas.openxmlformats.org/officeDocument/2006/relationships/tags" Target="../tags/tag295.xml"/><Relationship Id="rId41" Type="http://schemas.openxmlformats.org/officeDocument/2006/relationships/tags" Target="../tags/tag316.xml"/><Relationship Id="rId62" Type="http://schemas.openxmlformats.org/officeDocument/2006/relationships/tags" Target="../tags/tag337.xml"/><Relationship Id="rId83" Type="http://schemas.openxmlformats.org/officeDocument/2006/relationships/tags" Target="../tags/tag358.xml"/><Relationship Id="rId88" Type="http://schemas.openxmlformats.org/officeDocument/2006/relationships/tags" Target="../tags/tag363.xml"/><Relationship Id="rId111" Type="http://schemas.openxmlformats.org/officeDocument/2006/relationships/tags" Target="../tags/tag386.xml"/><Relationship Id="rId132" Type="http://schemas.openxmlformats.org/officeDocument/2006/relationships/oleObject" Target="../embeddings/oleObject36.bin"/><Relationship Id="rId15" Type="http://schemas.openxmlformats.org/officeDocument/2006/relationships/tags" Target="../tags/tag290.xml"/><Relationship Id="rId36" Type="http://schemas.openxmlformats.org/officeDocument/2006/relationships/tags" Target="../tags/tag311.xml"/><Relationship Id="rId57" Type="http://schemas.openxmlformats.org/officeDocument/2006/relationships/tags" Target="../tags/tag332.xml"/><Relationship Id="rId106" Type="http://schemas.openxmlformats.org/officeDocument/2006/relationships/tags" Target="../tags/tag381.xml"/><Relationship Id="rId127" Type="http://schemas.openxmlformats.org/officeDocument/2006/relationships/tags" Target="../tags/tag402.xml"/><Relationship Id="rId10" Type="http://schemas.openxmlformats.org/officeDocument/2006/relationships/tags" Target="../tags/tag285.xml"/><Relationship Id="rId31" Type="http://schemas.openxmlformats.org/officeDocument/2006/relationships/tags" Target="../tags/tag306.xml"/><Relationship Id="rId52" Type="http://schemas.openxmlformats.org/officeDocument/2006/relationships/tags" Target="../tags/tag327.xml"/><Relationship Id="rId73" Type="http://schemas.openxmlformats.org/officeDocument/2006/relationships/tags" Target="../tags/tag348.xml"/><Relationship Id="rId78" Type="http://schemas.openxmlformats.org/officeDocument/2006/relationships/tags" Target="../tags/tag353.xml"/><Relationship Id="rId94" Type="http://schemas.openxmlformats.org/officeDocument/2006/relationships/tags" Target="../tags/tag369.xml"/><Relationship Id="rId99" Type="http://schemas.openxmlformats.org/officeDocument/2006/relationships/tags" Target="../tags/tag374.xml"/><Relationship Id="rId101" Type="http://schemas.openxmlformats.org/officeDocument/2006/relationships/tags" Target="../tags/tag376.xml"/><Relationship Id="rId122" Type="http://schemas.openxmlformats.org/officeDocument/2006/relationships/tags" Target="../tags/tag397.xml"/><Relationship Id="rId4" Type="http://schemas.openxmlformats.org/officeDocument/2006/relationships/tags" Target="../tags/tag279.xml"/><Relationship Id="rId9" Type="http://schemas.openxmlformats.org/officeDocument/2006/relationships/tags" Target="../tags/tag284.xml"/><Relationship Id="rId26" Type="http://schemas.openxmlformats.org/officeDocument/2006/relationships/tags" Target="../tags/tag301.xml"/><Relationship Id="rId47" Type="http://schemas.openxmlformats.org/officeDocument/2006/relationships/tags" Target="../tags/tag322.xml"/><Relationship Id="rId68" Type="http://schemas.openxmlformats.org/officeDocument/2006/relationships/tags" Target="../tags/tag343.xml"/><Relationship Id="rId89" Type="http://schemas.openxmlformats.org/officeDocument/2006/relationships/tags" Target="../tags/tag364.xml"/><Relationship Id="rId112" Type="http://schemas.openxmlformats.org/officeDocument/2006/relationships/tags" Target="../tags/tag387.xml"/><Relationship Id="rId133" Type="http://schemas.openxmlformats.org/officeDocument/2006/relationships/image" Target="../media/image2.emf"/></Relationships>
</file>

<file path=ppt/slides/_rels/slide8.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407.xml"/><Relationship Id="rId7" Type="http://schemas.openxmlformats.org/officeDocument/2006/relationships/image" Target="../media/image14.png"/><Relationship Id="rId12" Type="http://schemas.openxmlformats.org/officeDocument/2006/relationships/image" Target="../media/image18.png"/><Relationship Id="rId2" Type="http://schemas.openxmlformats.org/officeDocument/2006/relationships/tags" Target="../tags/tag406.xml"/><Relationship Id="rId1" Type="http://schemas.openxmlformats.org/officeDocument/2006/relationships/vmlDrawing" Target="../drawings/vmlDrawing37.vml"/><Relationship Id="rId6" Type="http://schemas.openxmlformats.org/officeDocument/2006/relationships/image" Target="../media/image2.emf"/><Relationship Id="rId11" Type="http://schemas.openxmlformats.org/officeDocument/2006/relationships/image" Target="../media/image17.svg"/><Relationship Id="rId5" Type="http://schemas.openxmlformats.org/officeDocument/2006/relationships/oleObject" Target="../embeddings/oleObject37.bin"/><Relationship Id="rId10" Type="http://schemas.openxmlformats.org/officeDocument/2006/relationships/image" Target="../media/image16.png"/><Relationship Id="rId4" Type="http://schemas.openxmlformats.org/officeDocument/2006/relationships/slideLayout" Target="../slideLayouts/slideLayout4.xml"/><Relationship Id="rId9" Type="http://schemas.openxmlformats.org/officeDocument/2006/relationships/hyperlink" Target="https://www.youtube.com/watch?v=FG8x18TJH0M" TargetMode="External"/></Relationships>
</file>

<file path=ppt/slides/_rels/slide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09.xml"/><Relationship Id="rId7" Type="http://schemas.openxmlformats.org/officeDocument/2006/relationships/oleObject" Target="../embeddings/oleObject38.bin"/><Relationship Id="rId12" Type="http://schemas.openxmlformats.org/officeDocument/2006/relationships/image" Target="../media/image22.png"/><Relationship Id="rId2" Type="http://schemas.openxmlformats.org/officeDocument/2006/relationships/tags" Target="../tags/tag408.xml"/><Relationship Id="rId1" Type="http://schemas.openxmlformats.org/officeDocument/2006/relationships/vmlDrawing" Target="../drawings/vmlDrawing38.vml"/><Relationship Id="rId6" Type="http://schemas.openxmlformats.org/officeDocument/2006/relationships/slideLayout" Target="../slideLayouts/slideLayout17.xml"/><Relationship Id="rId11" Type="http://schemas.openxmlformats.org/officeDocument/2006/relationships/image" Target="../media/image21.png"/><Relationship Id="rId5" Type="http://schemas.openxmlformats.org/officeDocument/2006/relationships/tags" Target="../tags/tag411.xml"/><Relationship Id="rId10" Type="http://schemas.openxmlformats.org/officeDocument/2006/relationships/image" Target="../media/image20.png"/><Relationship Id="rId4" Type="http://schemas.openxmlformats.org/officeDocument/2006/relationships/tags" Target="../tags/tag410.xml"/><Relationship Id="rId9"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7E31FB7-3D19-DA47-A5F5-645274D9DF34}"/>
              </a:ext>
            </a:extLst>
          </p:cNvPr>
          <p:cNvSpPr>
            <a:spLocks noGrp="1"/>
          </p:cNvSpPr>
          <p:nvPr>
            <p:ph type="title"/>
          </p:nvPr>
        </p:nvSpPr>
        <p:spPr>
          <a:xfrm>
            <a:off x="2709949" y="696711"/>
            <a:ext cx="10141528" cy="1057275"/>
          </a:xfrm>
        </p:spPr>
        <p:txBody>
          <a:bodyPr>
            <a:normAutofit fontScale="90000"/>
          </a:bodyPr>
          <a:lstStyle/>
          <a:p>
            <a:pPr algn="ctr"/>
            <a:br>
              <a:rPr lang="nl-NL" sz="3600" dirty="0"/>
            </a:br>
            <a:br>
              <a:rPr lang="nl-NL" sz="3600" dirty="0"/>
            </a:br>
            <a:r>
              <a:rPr lang="nl-NL" sz="3600" i="1" dirty="0">
                <a:solidFill>
                  <a:schemeClr val="bg1"/>
                </a:solidFill>
                <a:latin typeface="Avenir Light Oblique" panose="020B0402020203090204" pitchFamily="34" charset="77"/>
              </a:rPr>
              <a:t>Leren</a:t>
            </a:r>
            <a:br>
              <a:rPr lang="nl-NL" sz="3600" i="1" dirty="0">
                <a:latin typeface="Avenir Light Oblique" panose="020B0402020203090204" pitchFamily="34" charset="77"/>
              </a:rPr>
            </a:br>
            <a:br>
              <a:rPr lang="nl-NL" sz="3600" i="1" dirty="0">
                <a:latin typeface="Avenir Light Oblique" panose="020B0402020203090204" pitchFamily="34" charset="77"/>
              </a:rPr>
            </a:br>
            <a:r>
              <a:rPr lang="nl-NL" sz="3600" i="1" dirty="0">
                <a:latin typeface="Avenir Light Oblique" panose="020B0402020203090204" pitchFamily="34" charset="77"/>
              </a:rPr>
              <a:t>            </a:t>
            </a:r>
            <a:endParaRPr lang="nl-NL" sz="2700" b="1" i="1" dirty="0">
              <a:latin typeface="Avenir Light Oblique" panose="020B0402020203090204" pitchFamily="34" charset="77"/>
            </a:endParaRPr>
          </a:p>
        </p:txBody>
      </p:sp>
      <p:pic>
        <p:nvPicPr>
          <p:cNvPr id="6" name="Tijdelijke aanduiding voor inhoud 5">
            <a:extLst>
              <a:ext uri="{FF2B5EF4-FFF2-40B4-BE49-F238E27FC236}">
                <a16:creationId xmlns:a16="http://schemas.microsoft.com/office/drawing/2014/main" id="{DFBA9165-4E07-AD46-834F-88CB1F7A80FA}"/>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105200" y="-279514"/>
            <a:ext cx="14297200" cy="7262070"/>
          </a:xfrm>
        </p:spPr>
      </p:pic>
      <p:sp>
        <p:nvSpPr>
          <p:cNvPr id="9" name="Tekstvak 8">
            <a:extLst>
              <a:ext uri="{FF2B5EF4-FFF2-40B4-BE49-F238E27FC236}">
                <a16:creationId xmlns:a16="http://schemas.microsoft.com/office/drawing/2014/main" id="{2ABA2A0A-CCB1-A742-BDAB-96654871B2FD}"/>
              </a:ext>
            </a:extLst>
          </p:cNvPr>
          <p:cNvSpPr txBox="1"/>
          <p:nvPr/>
        </p:nvSpPr>
        <p:spPr>
          <a:xfrm>
            <a:off x="0" y="381477"/>
            <a:ext cx="11920452" cy="5878532"/>
          </a:xfrm>
          <a:prstGeom prst="rect">
            <a:avLst/>
          </a:prstGeom>
          <a:noFill/>
        </p:spPr>
        <p:txBody>
          <a:bodyPr wrap="square" rtlCol="0">
            <a:spAutoFit/>
          </a:bodyPr>
          <a:lstStyle/>
          <a:p>
            <a:pPr algn="r"/>
            <a:r>
              <a:rPr lang="nl-NL" sz="3200" i="1" dirty="0">
                <a:solidFill>
                  <a:schemeClr val="bg1"/>
                </a:solidFill>
                <a:latin typeface="Avenir Light Oblique" panose="020B0402020203090204" pitchFamily="34" charset="77"/>
              </a:rPr>
              <a:t>Welkom op de NIVOZ-onderwijsavond met Jaap </a:t>
            </a:r>
            <a:r>
              <a:rPr lang="nl-NL" sz="3200" i="1" dirty="0" err="1">
                <a:solidFill>
                  <a:schemeClr val="bg1"/>
                </a:solidFill>
                <a:latin typeface="Avenir Light Oblique" panose="020B0402020203090204" pitchFamily="34" charset="77"/>
              </a:rPr>
              <a:t>Versfelt</a:t>
            </a:r>
            <a:r>
              <a:rPr lang="nl-NL" sz="3200" i="1">
                <a:solidFill>
                  <a:schemeClr val="bg1"/>
                </a:solidFill>
                <a:latin typeface="Avenir Light Oblique" panose="020B0402020203090204" pitchFamily="34" charset="77"/>
              </a:rPr>
              <a:t> </a:t>
            </a:r>
          </a:p>
          <a:p>
            <a:pPr algn="r"/>
            <a:r>
              <a:rPr lang="nl-NL" sz="3200" b="1" i="1">
                <a:solidFill>
                  <a:schemeClr val="bg1"/>
                </a:solidFill>
                <a:latin typeface="Avenir Light Oblique" panose="020B0402020203090204" pitchFamily="34" charset="77"/>
              </a:rPr>
              <a:t>De veerkracht van onze onderwijscultuur</a:t>
            </a:r>
          </a:p>
          <a:p>
            <a:pPr algn="r"/>
            <a:br>
              <a:rPr lang="nl-NL" sz="3200" i="1">
                <a:solidFill>
                  <a:schemeClr val="bg1"/>
                </a:solidFill>
                <a:latin typeface="Avenir Light Oblique" panose="020B0402020203090204" pitchFamily="34" charset="77"/>
              </a:rPr>
            </a:br>
            <a:endParaRPr lang="nl-NL" sz="2800" i="1">
              <a:solidFill>
                <a:schemeClr val="bg1"/>
              </a:solidFill>
              <a:latin typeface="Avenir Light Oblique" panose="020B0402020203090204" pitchFamily="34" charset="77"/>
            </a:endParaRPr>
          </a:p>
          <a:p>
            <a:pPr algn="r"/>
            <a:endParaRPr lang="nl-NL" sz="2800" b="1" i="1">
              <a:solidFill>
                <a:schemeClr val="bg1"/>
              </a:solidFill>
              <a:latin typeface="Avenir Light Oblique" panose="020B0402020203090204" pitchFamily="34" charset="77"/>
            </a:endParaRPr>
          </a:p>
          <a:p>
            <a:pPr algn="r"/>
            <a:endParaRPr lang="nl-NL" sz="2800" b="1" i="1">
              <a:solidFill>
                <a:schemeClr val="bg1"/>
              </a:solidFill>
              <a:latin typeface="Avenir Light Oblique" panose="020B0402020203090204" pitchFamily="34" charset="77"/>
            </a:endParaRPr>
          </a:p>
          <a:p>
            <a:pPr algn="r"/>
            <a:endParaRPr lang="nl-NL" sz="2800" b="1" i="1">
              <a:solidFill>
                <a:schemeClr val="bg1"/>
              </a:solidFill>
              <a:latin typeface="Avenir Light Oblique" panose="020B0402020203090204" pitchFamily="34" charset="77"/>
            </a:endParaRPr>
          </a:p>
          <a:p>
            <a:pPr algn="r"/>
            <a:endParaRPr lang="nl-NL" sz="2800" b="1" i="1">
              <a:solidFill>
                <a:schemeClr val="bg1"/>
              </a:solidFill>
              <a:latin typeface="Avenir Light Oblique" panose="020B0402020203090204" pitchFamily="34" charset="77"/>
            </a:endParaRPr>
          </a:p>
          <a:p>
            <a:pPr algn="r"/>
            <a:endParaRPr lang="nl-NL" sz="2800" b="1" i="1">
              <a:solidFill>
                <a:schemeClr val="bg1"/>
              </a:solidFill>
              <a:latin typeface="Avenir Light Oblique" panose="020B0402020203090204" pitchFamily="34" charset="77"/>
            </a:endParaRPr>
          </a:p>
          <a:p>
            <a:pPr algn="r"/>
            <a:endParaRPr lang="nl-NL" sz="2800" b="1" i="1">
              <a:solidFill>
                <a:schemeClr val="bg1"/>
              </a:solidFill>
              <a:latin typeface="Avenir Light Oblique" panose="020B0402020203090204" pitchFamily="34" charset="77"/>
            </a:endParaRPr>
          </a:p>
          <a:p>
            <a:pPr algn="r"/>
            <a:br>
              <a:rPr lang="nl-NL" sz="2800" b="1" i="1">
                <a:solidFill>
                  <a:schemeClr val="bg1"/>
                </a:solidFill>
                <a:latin typeface="Avenir Light Oblique" panose="020B0402020203090204" pitchFamily="34" charset="77"/>
              </a:rPr>
            </a:br>
            <a:r>
              <a:rPr lang="nl-NL" sz="2800" b="1" i="1">
                <a:solidFill>
                  <a:schemeClr val="bg1"/>
                </a:solidFill>
                <a:latin typeface="Avenir Light Oblique" panose="020B0402020203090204" pitchFamily="34" charset="77"/>
              </a:rPr>
              <a:t>We beginnen </a:t>
            </a:r>
          </a:p>
          <a:p>
            <a:pPr algn="r"/>
            <a:r>
              <a:rPr lang="nl-NL" sz="2800" b="1" i="1">
                <a:solidFill>
                  <a:schemeClr val="bg1"/>
                </a:solidFill>
                <a:latin typeface="Avenir Light Oblique" panose="020B0402020203090204" pitchFamily="34" charset="77"/>
              </a:rPr>
              <a:t>om exact 19.30 uur!</a:t>
            </a:r>
            <a:endParaRPr lang="nl-NL" sz="2800">
              <a:solidFill>
                <a:schemeClr val="bg1"/>
              </a:solidFill>
            </a:endParaRPr>
          </a:p>
        </p:txBody>
      </p:sp>
    </p:spTree>
    <p:extLst>
      <p:ext uri="{BB962C8B-B14F-4D97-AF65-F5344CB8AC3E}">
        <p14:creationId xmlns:p14="http://schemas.microsoft.com/office/powerpoint/2010/main" val="5528319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91658BF-A0A2-48F9-91F8-650F7E86E31B}"/>
              </a:ext>
            </a:extLst>
          </p:cNvPr>
          <p:cNvGraphicFramePr>
            <a:graphicFrameLocks noChangeAspect="1"/>
          </p:cNvGraphicFramePr>
          <p:nvPr>
            <p:custDataLst>
              <p:tags r:id="rId2"/>
            </p:custDataLst>
            <p:extLst>
              <p:ext uri="{D42A27DB-BD31-4B8C-83A1-F6EECF244321}">
                <p14:modId xmlns:p14="http://schemas.microsoft.com/office/powerpoint/2010/main" val="1969332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3" name="think-cell Slide" r:id="rId34" imgW="395" imgH="394" progId="TCLayout.ActiveDocument.1">
                  <p:embed/>
                </p:oleObj>
              </mc:Choice>
              <mc:Fallback>
                <p:oleObj name="think-cell Slide" r:id="rId34" imgW="395" imgH="394" progId="TCLayout.ActiveDocument.1">
                  <p:embed/>
                  <p:pic>
                    <p:nvPicPr>
                      <p:cNvPr id="5" name="Object 4" hidden="1">
                        <a:extLst>
                          <a:ext uri="{FF2B5EF4-FFF2-40B4-BE49-F238E27FC236}">
                            <a16:creationId xmlns:a16="http://schemas.microsoft.com/office/drawing/2014/main" id="{191658BF-A0A2-48F9-91F8-650F7E86E31B}"/>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5ACC15A8-B0C8-4490-9AD1-DB3BC298933A}"/>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a:solidFill>
                <a:schemeClr val="bg1"/>
              </a:solidFill>
              <a:latin typeface="Calibri" panose="020F0502020204030204" pitchFamily="34" charset="0"/>
              <a:ea typeface="+mj-ea"/>
              <a:cs typeface="+mj-cs"/>
              <a:sym typeface="Calibri" panose="020F0502020204030204" pitchFamily="34" charset="0"/>
            </a:endParaRPr>
          </a:p>
        </p:txBody>
      </p:sp>
      <p:sp>
        <p:nvSpPr>
          <p:cNvPr id="4" name="Oval 3">
            <a:extLst>
              <a:ext uri="{FF2B5EF4-FFF2-40B4-BE49-F238E27FC236}">
                <a16:creationId xmlns:a16="http://schemas.microsoft.com/office/drawing/2014/main" id="{6E8FA22A-5769-4AEE-8959-18A1BBD06798}"/>
              </a:ext>
            </a:extLst>
          </p:cNvPr>
          <p:cNvSpPr/>
          <p:nvPr/>
        </p:nvSpPr>
        <p:spPr>
          <a:xfrm>
            <a:off x="1655701" y="2274749"/>
            <a:ext cx="952500" cy="586484"/>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graphicFrame>
        <p:nvGraphicFramePr>
          <p:cNvPr id="74" name="Chart 73">
            <a:extLst>
              <a:ext uri="{FF2B5EF4-FFF2-40B4-BE49-F238E27FC236}">
                <a16:creationId xmlns:a16="http://schemas.microsoft.com/office/drawing/2014/main" id="{60FFDF4C-BF1B-4E07-8246-9A28CEC8B2CE}"/>
              </a:ext>
            </a:extLst>
          </p:cNvPr>
          <p:cNvGraphicFramePr/>
          <p:nvPr>
            <p:custDataLst>
              <p:tags r:id="rId4"/>
            </p:custDataLst>
            <p:extLst>
              <p:ext uri="{D42A27DB-BD31-4B8C-83A1-F6EECF244321}">
                <p14:modId xmlns:p14="http://schemas.microsoft.com/office/powerpoint/2010/main" val="3598329476"/>
              </p:ext>
            </p:extLst>
          </p:nvPr>
        </p:nvGraphicFramePr>
        <p:xfrm>
          <a:off x="798513" y="2222500"/>
          <a:ext cx="5059362" cy="3757613"/>
        </p:xfrm>
        <a:graphic>
          <a:graphicData uri="http://schemas.openxmlformats.org/drawingml/2006/chart">
            <c:chart xmlns:c="http://schemas.openxmlformats.org/drawingml/2006/chart" xmlns:r="http://schemas.openxmlformats.org/officeDocument/2006/relationships" r:id="rId36"/>
          </a:graphicData>
        </a:graphic>
      </p:graphicFrame>
      <p:sp>
        <p:nvSpPr>
          <p:cNvPr id="93" name="Text Placeholder 4">
            <a:extLst>
              <a:ext uri="{FF2B5EF4-FFF2-40B4-BE49-F238E27FC236}">
                <a16:creationId xmlns:a16="http://schemas.microsoft.com/office/drawing/2014/main" id="{4C1F3293-4EFE-461D-940D-7EE66BAE31C5}"/>
              </a:ext>
            </a:extLst>
          </p:cNvPr>
          <p:cNvSpPr>
            <a:spLocks noGrp="1"/>
          </p:cNvSpPr>
          <p:nvPr>
            <p:custDataLst>
              <p:tags r:id="rId5"/>
            </p:custDataLst>
          </p:nvPr>
        </p:nvSpPr>
        <p:spPr bwMode="gray">
          <a:xfrm>
            <a:off x="546100" y="5807075"/>
            <a:ext cx="23336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4D8F0EDC-CF52-489F-9238-FAEF6DD26D2E}" type="datetime'''''''3''''''''''''''''50'''''''''''''''''''''''''''''''''">
              <a:rPr lang="en-US" altLang="en-US" sz="1200" smtClean="0">
                <a:cs typeface="+mn-cs"/>
                <a:sym typeface="+mn-lt"/>
              </a:rPr>
              <a:pPr algn="r">
                <a:spcBef>
                  <a:spcPct val="0"/>
                </a:spcBef>
                <a:spcAft>
                  <a:spcPct val="0"/>
                </a:spcAft>
              </a:pPr>
              <a:t>350</a:t>
            </a:fld>
            <a:endParaRPr lang="en-US" sz="1200" dirty="0">
              <a:cs typeface="+mn-cs"/>
              <a:sym typeface="+mn-lt"/>
            </a:endParaRPr>
          </a:p>
        </p:txBody>
      </p:sp>
      <p:sp>
        <p:nvSpPr>
          <p:cNvPr id="94" name="Text Placeholder 4">
            <a:extLst>
              <a:ext uri="{FF2B5EF4-FFF2-40B4-BE49-F238E27FC236}">
                <a16:creationId xmlns:a16="http://schemas.microsoft.com/office/drawing/2014/main" id="{4C1F3293-4EFE-461D-940D-7EE66BAE31C5}"/>
              </a:ext>
            </a:extLst>
          </p:cNvPr>
          <p:cNvSpPr>
            <a:spLocks noGrp="1"/>
          </p:cNvSpPr>
          <p:nvPr>
            <p:custDataLst>
              <p:tags r:id="rId6"/>
            </p:custDataLst>
          </p:nvPr>
        </p:nvSpPr>
        <p:spPr bwMode="gray">
          <a:xfrm>
            <a:off x="546100" y="4370388"/>
            <a:ext cx="23336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9E3AF8CA-DBEA-48F5-9750-71ED84344164}" type="datetime'''''''''''''''''''''''''''''''''4''5''''''''''''''''0'''''''''">
              <a:rPr lang="en-US" altLang="en-US" sz="1200" smtClean="0">
                <a:cs typeface="+mn-cs"/>
                <a:sym typeface="+mn-lt"/>
              </a:rPr>
              <a:pPr algn="r">
                <a:spcBef>
                  <a:spcPct val="0"/>
                </a:spcBef>
                <a:spcAft>
                  <a:spcPct val="0"/>
                </a:spcAft>
              </a:pPr>
              <a:t>450</a:t>
            </a:fld>
            <a:endParaRPr lang="en-US" sz="1200" dirty="0">
              <a:cs typeface="+mn-cs"/>
              <a:sym typeface="+mn-lt"/>
            </a:endParaRPr>
          </a:p>
        </p:txBody>
      </p:sp>
      <p:sp>
        <p:nvSpPr>
          <p:cNvPr id="38" name="Text Placeholder 4">
            <a:extLst>
              <a:ext uri="{FF2B5EF4-FFF2-40B4-BE49-F238E27FC236}">
                <a16:creationId xmlns:a16="http://schemas.microsoft.com/office/drawing/2014/main" id="{4C1F3293-4EFE-461D-940D-7EE66BAE31C5}"/>
              </a:ext>
            </a:extLst>
          </p:cNvPr>
          <p:cNvSpPr>
            <a:spLocks noGrp="1"/>
          </p:cNvSpPr>
          <p:nvPr>
            <p:custDataLst>
              <p:tags r:id="rId7"/>
            </p:custDataLst>
          </p:nvPr>
        </p:nvSpPr>
        <p:spPr bwMode="gray">
          <a:xfrm>
            <a:off x="546100" y="5087938"/>
            <a:ext cx="23336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20CE40AF-5DEE-4495-8500-DEE11957BD2E}" type="datetime'''''''''''''''''''''''''''''''''''400'''''''''''''''''''''''">
              <a:rPr lang="en-US" altLang="en-US" sz="1200" smtClean="0">
                <a:cs typeface="+mn-cs"/>
                <a:sym typeface="+mn-lt"/>
              </a:rPr>
              <a:pPr algn="r">
                <a:spcBef>
                  <a:spcPct val="0"/>
                </a:spcBef>
                <a:spcAft>
                  <a:spcPct val="0"/>
                </a:spcAft>
              </a:pPr>
              <a:t>400</a:t>
            </a:fld>
            <a:endParaRPr lang="en-US" sz="1200" dirty="0">
              <a:cs typeface="+mn-cs"/>
              <a:sym typeface="+mn-lt"/>
            </a:endParaRPr>
          </a:p>
        </p:txBody>
      </p:sp>
      <p:sp>
        <p:nvSpPr>
          <p:cNvPr id="40" name="Text Placeholder 4">
            <a:extLst>
              <a:ext uri="{FF2B5EF4-FFF2-40B4-BE49-F238E27FC236}">
                <a16:creationId xmlns:a16="http://schemas.microsoft.com/office/drawing/2014/main" id="{4C1F3293-4EFE-461D-940D-7EE66BAE31C5}"/>
              </a:ext>
            </a:extLst>
          </p:cNvPr>
          <p:cNvSpPr>
            <a:spLocks noGrp="1"/>
          </p:cNvSpPr>
          <p:nvPr>
            <p:custDataLst>
              <p:tags r:id="rId8"/>
            </p:custDataLst>
          </p:nvPr>
        </p:nvSpPr>
        <p:spPr bwMode="gray">
          <a:xfrm>
            <a:off x="546100" y="3651250"/>
            <a:ext cx="23336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DCDC3AD8-1D69-4FE6-A80F-5D9613209361}" type="datetime'''''''''''50''''''''''''0'''''''''''''">
              <a:rPr lang="en-US" altLang="en-US" sz="1200" smtClean="0">
                <a:cs typeface="+mn-cs"/>
                <a:sym typeface="+mn-lt"/>
              </a:rPr>
              <a:pPr algn="r">
                <a:spcBef>
                  <a:spcPct val="0"/>
                </a:spcBef>
                <a:spcAft>
                  <a:spcPct val="0"/>
                </a:spcAft>
              </a:pPr>
              <a:t>500</a:t>
            </a:fld>
            <a:endParaRPr lang="en-US" sz="1200" dirty="0">
              <a:cs typeface="+mn-cs"/>
              <a:sym typeface="+mn-lt"/>
            </a:endParaRPr>
          </a:p>
        </p:txBody>
      </p:sp>
      <p:sp>
        <p:nvSpPr>
          <p:cNvPr id="99" name="Text Placeholder 4">
            <a:extLst>
              <a:ext uri="{FF2B5EF4-FFF2-40B4-BE49-F238E27FC236}">
                <a16:creationId xmlns:a16="http://schemas.microsoft.com/office/drawing/2014/main" id="{4C1F3293-4EFE-461D-940D-7EE66BAE31C5}"/>
              </a:ext>
            </a:extLst>
          </p:cNvPr>
          <p:cNvSpPr>
            <a:spLocks noGrp="1"/>
          </p:cNvSpPr>
          <p:nvPr>
            <p:custDataLst>
              <p:tags r:id="rId9"/>
            </p:custDataLst>
          </p:nvPr>
        </p:nvSpPr>
        <p:spPr bwMode="gray">
          <a:xfrm>
            <a:off x="546100" y="2214563"/>
            <a:ext cx="23336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F29D1045-A0DF-487A-973B-5F07D7C2D2AB}" type="datetime'''''''''''''''6''''''''''''0''''''''''''''0'''''''''''''">
              <a:rPr lang="en-US" altLang="en-US" sz="1200" smtClean="0">
                <a:cs typeface="+mn-cs"/>
                <a:sym typeface="+mn-lt"/>
              </a:rPr>
              <a:pPr algn="r">
                <a:spcBef>
                  <a:spcPct val="0"/>
                </a:spcBef>
                <a:spcAft>
                  <a:spcPct val="0"/>
                </a:spcAft>
              </a:pPr>
              <a:t>600</a:t>
            </a:fld>
            <a:endParaRPr lang="en-US" sz="1200" dirty="0">
              <a:cs typeface="+mn-cs"/>
              <a:sym typeface="+mn-lt"/>
            </a:endParaRPr>
          </a:p>
        </p:txBody>
      </p:sp>
      <p:sp>
        <p:nvSpPr>
          <p:cNvPr id="95" name="Text Placeholder 4">
            <a:extLst>
              <a:ext uri="{FF2B5EF4-FFF2-40B4-BE49-F238E27FC236}">
                <a16:creationId xmlns:a16="http://schemas.microsoft.com/office/drawing/2014/main" id="{4C1F3293-4EFE-461D-940D-7EE66BAE31C5}"/>
              </a:ext>
            </a:extLst>
          </p:cNvPr>
          <p:cNvSpPr>
            <a:spLocks noGrp="1"/>
          </p:cNvSpPr>
          <p:nvPr>
            <p:custDataLst>
              <p:tags r:id="rId10"/>
            </p:custDataLst>
          </p:nvPr>
        </p:nvSpPr>
        <p:spPr bwMode="gray">
          <a:xfrm>
            <a:off x="546100" y="2933700"/>
            <a:ext cx="23336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08B537E6-D546-4D8F-B847-BD6BFE5C7334}" type="datetime'''''''''''''''5''''''5''''''0'''''''''''''''''''''''''''">
              <a:rPr lang="en-US" altLang="en-US" sz="1200" smtClean="0">
                <a:cs typeface="+mn-cs"/>
                <a:sym typeface="+mn-lt"/>
              </a:rPr>
              <a:pPr algn="r">
                <a:spcBef>
                  <a:spcPct val="0"/>
                </a:spcBef>
                <a:spcAft>
                  <a:spcPct val="0"/>
                </a:spcAft>
              </a:pPr>
              <a:t>550</a:t>
            </a:fld>
            <a:endParaRPr lang="en-US" sz="1200" dirty="0">
              <a:cs typeface="+mn-cs"/>
              <a:sym typeface="+mn-lt"/>
            </a:endParaRPr>
          </a:p>
        </p:txBody>
      </p:sp>
      <p:sp>
        <p:nvSpPr>
          <p:cNvPr id="115" name="Text Placeholder 4">
            <a:extLst>
              <a:ext uri="{FF2B5EF4-FFF2-40B4-BE49-F238E27FC236}">
                <a16:creationId xmlns:a16="http://schemas.microsoft.com/office/drawing/2014/main" id="{4C1F3293-4EFE-461D-940D-7EE66BAE31C5}"/>
              </a:ext>
            </a:extLst>
          </p:cNvPr>
          <p:cNvSpPr>
            <a:spLocks noGrp="1"/>
          </p:cNvSpPr>
          <p:nvPr>
            <p:custDataLst>
              <p:tags r:id="rId11"/>
            </p:custDataLst>
          </p:nvPr>
        </p:nvSpPr>
        <p:spPr bwMode="auto">
          <a:xfrm>
            <a:off x="1127125" y="5948363"/>
            <a:ext cx="323850"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F69ABFE7-656E-4DE8-A67D-9C167EA9E157}" type="datetime'''''''''''2''''''0''''''''''0''''''''''''3'''''''''">
              <a:rPr lang="en-US" altLang="en-US" sz="1200" smtClean="0">
                <a:cs typeface="+mn-cs"/>
                <a:sym typeface="+mn-lt"/>
              </a:rPr>
              <a:pPr algn="ctr">
                <a:spcBef>
                  <a:spcPct val="0"/>
                </a:spcBef>
                <a:spcAft>
                  <a:spcPct val="0"/>
                </a:spcAft>
              </a:pPr>
              <a:t>2003</a:t>
            </a:fld>
            <a:endParaRPr lang="en-US" sz="1200" dirty="0">
              <a:cs typeface="+mn-cs"/>
              <a:sym typeface="+mn-lt"/>
            </a:endParaRPr>
          </a:p>
        </p:txBody>
      </p:sp>
      <p:sp useBgFill="1">
        <p:nvSpPr>
          <p:cNvPr id="46" name="Text Placeholder 4">
            <a:extLst>
              <a:ext uri="{FF2B5EF4-FFF2-40B4-BE49-F238E27FC236}">
                <a16:creationId xmlns:a16="http://schemas.microsoft.com/office/drawing/2014/main" id="{4C1F3293-4EFE-461D-940D-7EE66BAE31C5}"/>
              </a:ext>
            </a:extLst>
          </p:cNvPr>
          <p:cNvSpPr>
            <a:spLocks noGrp="1"/>
          </p:cNvSpPr>
          <p:nvPr>
            <p:custDataLst>
              <p:tags r:id="rId12"/>
            </p:custDataLst>
          </p:nvPr>
        </p:nvSpPr>
        <p:spPr bwMode="gray">
          <a:xfrm>
            <a:off x="1150938" y="3575050"/>
            <a:ext cx="277813" cy="182563"/>
          </a:xfrm>
          <a:prstGeom prst="rect">
            <a:avLst/>
          </a:prstGeom>
          <a:ln>
            <a:noFill/>
          </a:ln>
        </p:spPr>
        <p:txBody>
          <a:bodyPr vert="horz" wrap="none" lIns="22225" tIns="0" rIns="22225"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B85F3584-7AF9-42D7-83A1-3FBEBA52DB8C}" type="datetime'''''''''''''''''''''''''''''''''''''''''''''4''9''''''''5'">
              <a:rPr lang="en-US" altLang="en-US" sz="1200" smtClean="0">
                <a:cs typeface="+mn-cs"/>
                <a:sym typeface="+mn-lt"/>
              </a:rPr>
              <a:pPr algn="ctr">
                <a:spcBef>
                  <a:spcPct val="0"/>
                </a:spcBef>
                <a:spcAft>
                  <a:spcPct val="0"/>
                </a:spcAft>
              </a:pPr>
              <a:t>495</a:t>
            </a:fld>
            <a:endParaRPr lang="en-US" sz="1200" dirty="0">
              <a:cs typeface="+mn-cs"/>
              <a:sym typeface="+mn-lt"/>
            </a:endParaRPr>
          </a:p>
        </p:txBody>
      </p:sp>
      <p:sp>
        <p:nvSpPr>
          <p:cNvPr id="116" name="Text Placeholder 4">
            <a:extLst>
              <a:ext uri="{FF2B5EF4-FFF2-40B4-BE49-F238E27FC236}">
                <a16:creationId xmlns:a16="http://schemas.microsoft.com/office/drawing/2014/main" id="{4C1F3293-4EFE-461D-940D-7EE66BAE31C5}"/>
              </a:ext>
            </a:extLst>
          </p:cNvPr>
          <p:cNvSpPr>
            <a:spLocks noGrp="1"/>
          </p:cNvSpPr>
          <p:nvPr>
            <p:custDataLst>
              <p:tags r:id="rId13"/>
            </p:custDataLst>
          </p:nvPr>
        </p:nvSpPr>
        <p:spPr bwMode="auto">
          <a:xfrm>
            <a:off x="2020888" y="5948363"/>
            <a:ext cx="16827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418E5D70-27AD-426A-AF34-B78CD51DA13C}" type="datetime'''''''''''''''''''0''''''''''''''''''6'''">
              <a:rPr lang="en-US" altLang="en-US" sz="1200" smtClean="0">
                <a:cs typeface="+mn-cs"/>
                <a:sym typeface="+mn-lt"/>
              </a:rPr>
              <a:pPr algn="ctr">
                <a:spcBef>
                  <a:spcPct val="0"/>
                </a:spcBef>
                <a:spcAft>
                  <a:spcPct val="0"/>
                </a:spcAft>
              </a:pPr>
              <a:t>06</a:t>
            </a:fld>
            <a:endParaRPr lang="en-US" sz="1200" dirty="0">
              <a:cs typeface="+mn-cs"/>
              <a:sym typeface="+mn-lt"/>
            </a:endParaRPr>
          </a:p>
        </p:txBody>
      </p:sp>
      <p:sp>
        <p:nvSpPr>
          <p:cNvPr id="119" name="Text Placeholder 4">
            <a:extLst>
              <a:ext uri="{FF2B5EF4-FFF2-40B4-BE49-F238E27FC236}">
                <a16:creationId xmlns:a16="http://schemas.microsoft.com/office/drawing/2014/main" id="{4C1F3293-4EFE-461D-940D-7EE66BAE31C5}"/>
              </a:ext>
            </a:extLst>
          </p:cNvPr>
          <p:cNvSpPr>
            <a:spLocks noGrp="1"/>
          </p:cNvSpPr>
          <p:nvPr>
            <p:custDataLst>
              <p:tags r:id="rId14"/>
            </p:custDataLst>
          </p:nvPr>
        </p:nvSpPr>
        <p:spPr bwMode="auto">
          <a:xfrm>
            <a:off x="4467225" y="5948363"/>
            <a:ext cx="16827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942F885E-DA85-49FF-9A20-FFF7B4E2B1C2}" type="datetime'''''1''''5'''''''''''''''''''''''''">
              <a:rPr lang="en-US" altLang="en-US" sz="1200" smtClean="0">
                <a:cs typeface="+mn-cs"/>
                <a:sym typeface="+mn-lt"/>
              </a:rPr>
              <a:pPr algn="ctr">
                <a:spcBef>
                  <a:spcPct val="0"/>
                </a:spcBef>
                <a:spcAft>
                  <a:spcPct val="0"/>
                </a:spcAft>
              </a:pPr>
              <a:t>15</a:t>
            </a:fld>
            <a:endParaRPr lang="en-US" sz="1200" dirty="0">
              <a:cs typeface="+mn-cs"/>
              <a:sym typeface="+mn-lt"/>
            </a:endParaRPr>
          </a:p>
        </p:txBody>
      </p:sp>
      <p:sp>
        <p:nvSpPr>
          <p:cNvPr id="117" name="Text Placeholder 4">
            <a:extLst>
              <a:ext uri="{FF2B5EF4-FFF2-40B4-BE49-F238E27FC236}">
                <a16:creationId xmlns:a16="http://schemas.microsoft.com/office/drawing/2014/main" id="{4C1F3293-4EFE-461D-940D-7EE66BAE31C5}"/>
              </a:ext>
            </a:extLst>
          </p:cNvPr>
          <p:cNvSpPr>
            <a:spLocks noGrp="1"/>
          </p:cNvSpPr>
          <p:nvPr>
            <p:custDataLst>
              <p:tags r:id="rId15"/>
            </p:custDataLst>
          </p:nvPr>
        </p:nvSpPr>
        <p:spPr bwMode="auto">
          <a:xfrm>
            <a:off x="2836863" y="5948363"/>
            <a:ext cx="16827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645B7AA5-569C-44C5-A599-3BDDC9104A7B}" type="datetime'''''''''''''''''''''''''''''''''''''''''''''''''''08'''''''">
              <a:rPr lang="en-US" altLang="en-US" sz="1200" smtClean="0">
                <a:cs typeface="+mn-cs"/>
                <a:sym typeface="+mn-lt"/>
              </a:rPr>
              <a:pPr algn="ctr">
                <a:spcBef>
                  <a:spcPct val="0"/>
                </a:spcBef>
                <a:spcAft>
                  <a:spcPct val="0"/>
                </a:spcAft>
              </a:pPr>
              <a:t>08</a:t>
            </a:fld>
            <a:endParaRPr lang="en-US" sz="1200" dirty="0">
              <a:cs typeface="+mn-cs"/>
              <a:sym typeface="+mn-lt"/>
            </a:endParaRPr>
          </a:p>
        </p:txBody>
      </p:sp>
      <p:sp>
        <p:nvSpPr>
          <p:cNvPr id="118" name="Text Placeholder 4">
            <a:extLst>
              <a:ext uri="{FF2B5EF4-FFF2-40B4-BE49-F238E27FC236}">
                <a16:creationId xmlns:a16="http://schemas.microsoft.com/office/drawing/2014/main" id="{4C1F3293-4EFE-461D-940D-7EE66BAE31C5}"/>
              </a:ext>
            </a:extLst>
          </p:cNvPr>
          <p:cNvSpPr>
            <a:spLocks noGrp="1"/>
          </p:cNvSpPr>
          <p:nvPr>
            <p:custDataLst>
              <p:tags r:id="rId16"/>
            </p:custDataLst>
          </p:nvPr>
        </p:nvSpPr>
        <p:spPr bwMode="auto">
          <a:xfrm>
            <a:off x="3651250" y="5948363"/>
            <a:ext cx="16827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784AC7EF-366C-455B-A97E-02655C33E87D}" type="datetime'''1''''''''''2'''''''''''''">
              <a:rPr lang="en-US" altLang="en-US" sz="1200" smtClean="0">
                <a:cs typeface="+mn-cs"/>
                <a:sym typeface="+mn-lt"/>
              </a:rPr>
              <a:pPr algn="ctr">
                <a:spcBef>
                  <a:spcPct val="0"/>
                </a:spcBef>
                <a:spcAft>
                  <a:spcPct val="0"/>
                </a:spcAft>
              </a:pPr>
              <a:t>12</a:t>
            </a:fld>
            <a:endParaRPr lang="en-US" sz="1200" dirty="0">
              <a:cs typeface="+mn-cs"/>
              <a:sym typeface="+mn-lt"/>
            </a:endParaRPr>
          </a:p>
        </p:txBody>
      </p:sp>
      <p:sp>
        <p:nvSpPr>
          <p:cNvPr id="120" name="Text Placeholder 4">
            <a:extLst>
              <a:ext uri="{FF2B5EF4-FFF2-40B4-BE49-F238E27FC236}">
                <a16:creationId xmlns:a16="http://schemas.microsoft.com/office/drawing/2014/main" id="{4C1F3293-4EFE-461D-940D-7EE66BAE31C5}"/>
              </a:ext>
            </a:extLst>
          </p:cNvPr>
          <p:cNvSpPr>
            <a:spLocks noGrp="1"/>
          </p:cNvSpPr>
          <p:nvPr>
            <p:custDataLst>
              <p:tags r:id="rId17"/>
            </p:custDataLst>
          </p:nvPr>
        </p:nvSpPr>
        <p:spPr bwMode="auto">
          <a:xfrm>
            <a:off x="5205413" y="5948363"/>
            <a:ext cx="323850"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287E6DC8-515E-4413-B319-3BE6636140CE}" type="datetime'''''''''''''''''''''''2''0''''''1''''''8'''''''''''''''''''''">
              <a:rPr lang="en-US" altLang="en-US" sz="1200" smtClean="0">
                <a:cs typeface="+mn-cs"/>
                <a:sym typeface="+mn-lt"/>
              </a:rPr>
              <a:pPr algn="ctr">
                <a:spcBef>
                  <a:spcPct val="0"/>
                </a:spcBef>
                <a:spcAft>
                  <a:spcPct val="0"/>
                </a:spcAft>
              </a:pPr>
              <a:t>2018</a:t>
            </a:fld>
            <a:endParaRPr lang="en-US" sz="1200" dirty="0">
              <a:cs typeface="+mn-cs"/>
              <a:sym typeface="+mn-lt"/>
            </a:endParaRPr>
          </a:p>
        </p:txBody>
      </p:sp>
      <p:sp>
        <p:nvSpPr>
          <p:cNvPr id="2" name="2. Slide Title">
            <a:extLst>
              <a:ext uri="{FF2B5EF4-FFF2-40B4-BE49-F238E27FC236}">
                <a16:creationId xmlns:a16="http://schemas.microsoft.com/office/drawing/2014/main" id="{54EC0DCF-5EB5-4BD6-962C-5C62A003368A}"/>
              </a:ext>
            </a:extLst>
          </p:cNvPr>
          <p:cNvSpPr>
            <a:spLocks noGrp="1"/>
          </p:cNvSpPr>
          <p:nvPr>
            <p:ph type="title"/>
            <p:custDataLst>
              <p:tags r:id="rId18"/>
            </p:custDataLst>
          </p:nvPr>
        </p:nvSpPr>
        <p:spPr>
          <a:xfrm>
            <a:off x="554736" y="134291"/>
            <a:ext cx="11082528" cy="769441"/>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dirty="0"/>
              <a:t>Niet alleen de kansenongelijkheid neemt echter toe: over de hele linie gaat de kwaliteit van onderwijs achteruit</a:t>
            </a:r>
          </a:p>
        </p:txBody>
      </p:sp>
      <p:sp>
        <p:nvSpPr>
          <p:cNvPr id="18" name="5. Source">
            <a:extLst>
              <a:ext uri="{FF2B5EF4-FFF2-40B4-BE49-F238E27FC236}">
                <a16:creationId xmlns:a16="http://schemas.microsoft.com/office/drawing/2014/main" id="{84BBC06E-E8E9-4956-B1D8-083881C14C05}"/>
              </a:ext>
            </a:extLst>
          </p:cNvPr>
          <p:cNvSpPr txBox="1"/>
          <p:nvPr>
            <p:custDataLst>
              <p:tags r:id="rId19"/>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Bron: PISA-onderzoeken</a:t>
            </a:r>
          </a:p>
        </p:txBody>
      </p:sp>
      <p:cxnSp>
        <p:nvCxnSpPr>
          <p:cNvPr id="65" name="Straight Connector 64">
            <a:extLst>
              <a:ext uri="{FF2B5EF4-FFF2-40B4-BE49-F238E27FC236}">
                <a16:creationId xmlns:a16="http://schemas.microsoft.com/office/drawing/2014/main" id="{73C1CC59-F801-41C1-9F95-6BD54BF5056C}"/>
              </a:ext>
            </a:extLst>
          </p:cNvPr>
          <p:cNvCxnSpPr>
            <a:cxnSpLocks/>
          </p:cNvCxnSpPr>
          <p:nvPr/>
        </p:nvCxnSpPr>
        <p:spPr>
          <a:xfrm>
            <a:off x="6141244" y="1615742"/>
            <a:ext cx="0" cy="4594558"/>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aphicFrame>
        <p:nvGraphicFramePr>
          <p:cNvPr id="73" name="Chart 72">
            <a:extLst>
              <a:ext uri="{FF2B5EF4-FFF2-40B4-BE49-F238E27FC236}">
                <a16:creationId xmlns:a16="http://schemas.microsoft.com/office/drawing/2014/main" id="{D0FEEAF7-41E9-46C9-ACE8-2206283A5698}"/>
              </a:ext>
            </a:extLst>
          </p:cNvPr>
          <p:cNvGraphicFramePr/>
          <p:nvPr>
            <p:custDataLst>
              <p:tags r:id="rId20"/>
            </p:custDataLst>
            <p:extLst>
              <p:ext uri="{D42A27DB-BD31-4B8C-83A1-F6EECF244321}">
                <p14:modId xmlns:p14="http://schemas.microsoft.com/office/powerpoint/2010/main" val="2670771687"/>
              </p:ext>
            </p:extLst>
          </p:nvPr>
        </p:nvGraphicFramePr>
        <p:xfrm>
          <a:off x="6711950" y="2222500"/>
          <a:ext cx="5059363" cy="3757613"/>
        </p:xfrm>
        <a:graphic>
          <a:graphicData uri="http://schemas.openxmlformats.org/drawingml/2006/chart">
            <c:chart xmlns:c="http://schemas.openxmlformats.org/drawingml/2006/chart" xmlns:r="http://schemas.openxmlformats.org/officeDocument/2006/relationships" r:id="rId37"/>
          </a:graphicData>
        </a:graphic>
      </p:graphicFrame>
      <p:sp>
        <p:nvSpPr>
          <p:cNvPr id="146" name="Text Placeholder 4">
            <a:extLst>
              <a:ext uri="{FF2B5EF4-FFF2-40B4-BE49-F238E27FC236}">
                <a16:creationId xmlns:a16="http://schemas.microsoft.com/office/drawing/2014/main" id="{3E9F1C43-7F40-4F9A-AF29-F055000F764B}"/>
              </a:ext>
            </a:extLst>
          </p:cNvPr>
          <p:cNvSpPr>
            <a:spLocks noGrp="1"/>
          </p:cNvSpPr>
          <p:nvPr>
            <p:custDataLst>
              <p:tags r:id="rId21"/>
            </p:custDataLst>
          </p:nvPr>
        </p:nvSpPr>
        <p:spPr bwMode="gray">
          <a:xfrm>
            <a:off x="6459538" y="5807075"/>
            <a:ext cx="23336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F841A5D0-273E-49B2-9B30-48363C019B20}" type="datetime'''''''''3''5''''''''''''''''''''''0'''''''''''''''''''''''''">
              <a:rPr lang="en-US" altLang="en-US" sz="1200" smtClean="0">
                <a:cs typeface="+mn-cs"/>
                <a:sym typeface="+mn-lt"/>
              </a:rPr>
              <a:pPr/>
              <a:t>350</a:t>
            </a:fld>
            <a:endParaRPr lang="en-US" sz="1200" dirty="0">
              <a:cs typeface="+mn-cs"/>
              <a:sym typeface="+mn-lt"/>
            </a:endParaRPr>
          </a:p>
        </p:txBody>
      </p:sp>
      <p:sp>
        <p:nvSpPr>
          <p:cNvPr id="148" name="Text Placeholder 4">
            <a:extLst>
              <a:ext uri="{FF2B5EF4-FFF2-40B4-BE49-F238E27FC236}">
                <a16:creationId xmlns:a16="http://schemas.microsoft.com/office/drawing/2014/main" id="{0EC951A7-85D8-45F9-AAAC-B21FA2B685DD}"/>
              </a:ext>
            </a:extLst>
          </p:cNvPr>
          <p:cNvSpPr>
            <a:spLocks noGrp="1"/>
          </p:cNvSpPr>
          <p:nvPr>
            <p:custDataLst>
              <p:tags r:id="rId22"/>
            </p:custDataLst>
          </p:nvPr>
        </p:nvSpPr>
        <p:spPr bwMode="gray">
          <a:xfrm>
            <a:off x="6459538" y="2933700"/>
            <a:ext cx="23336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28089AF1-4192-40E5-99B2-2B8EAFC7B2A8}" type="datetime'''''''''''''''''5''''5''''''0'''''">
              <a:rPr lang="en-US" altLang="en-US" sz="1200" smtClean="0">
                <a:cs typeface="+mn-cs"/>
                <a:sym typeface="+mn-lt"/>
              </a:rPr>
              <a:pPr/>
              <a:t>550</a:t>
            </a:fld>
            <a:endParaRPr lang="en-US" sz="1200" dirty="0">
              <a:cs typeface="+mn-cs"/>
              <a:sym typeface="+mn-lt"/>
            </a:endParaRPr>
          </a:p>
        </p:txBody>
      </p:sp>
      <p:sp>
        <p:nvSpPr>
          <p:cNvPr id="144" name="Text Placeholder 4">
            <a:extLst>
              <a:ext uri="{FF2B5EF4-FFF2-40B4-BE49-F238E27FC236}">
                <a16:creationId xmlns:a16="http://schemas.microsoft.com/office/drawing/2014/main" id="{75488BF8-A366-4C21-ABD0-8E1E6ABE0986}"/>
              </a:ext>
            </a:extLst>
          </p:cNvPr>
          <p:cNvSpPr>
            <a:spLocks noGrp="1"/>
          </p:cNvSpPr>
          <p:nvPr>
            <p:custDataLst>
              <p:tags r:id="rId23"/>
            </p:custDataLst>
          </p:nvPr>
        </p:nvSpPr>
        <p:spPr bwMode="gray">
          <a:xfrm>
            <a:off x="6459538" y="5087938"/>
            <a:ext cx="23336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11D02359-C656-4B38-BB97-3966E577FD49}" type="datetime'''''''''''''''''4''''''''''''''''''''''''''0''0'''''''">
              <a:rPr lang="en-US" altLang="en-US" sz="1200" smtClean="0">
                <a:cs typeface="+mn-cs"/>
                <a:sym typeface="+mn-lt"/>
              </a:rPr>
              <a:pPr/>
              <a:t>400</a:t>
            </a:fld>
            <a:endParaRPr lang="en-US" sz="1200" dirty="0">
              <a:cs typeface="+mn-cs"/>
              <a:sym typeface="+mn-lt"/>
            </a:endParaRPr>
          </a:p>
        </p:txBody>
      </p:sp>
      <p:sp>
        <p:nvSpPr>
          <p:cNvPr id="147" name="Text Placeholder 4">
            <a:extLst>
              <a:ext uri="{FF2B5EF4-FFF2-40B4-BE49-F238E27FC236}">
                <a16:creationId xmlns:a16="http://schemas.microsoft.com/office/drawing/2014/main" id="{4ADF0CF0-89D4-4046-BAFB-D5244476FB42}"/>
              </a:ext>
            </a:extLst>
          </p:cNvPr>
          <p:cNvSpPr>
            <a:spLocks noGrp="1"/>
          </p:cNvSpPr>
          <p:nvPr>
            <p:custDataLst>
              <p:tags r:id="rId24"/>
            </p:custDataLst>
          </p:nvPr>
        </p:nvSpPr>
        <p:spPr bwMode="gray">
          <a:xfrm>
            <a:off x="6459538" y="4370388"/>
            <a:ext cx="23336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22889FA4-6276-4272-BB56-7411DC7D0C4A}" type="datetime'''''''''''''''''''''''''''''''''''''45''''''0'">
              <a:rPr lang="en-US" altLang="en-US" sz="1200" smtClean="0">
                <a:cs typeface="+mn-cs"/>
                <a:sym typeface="+mn-lt"/>
              </a:rPr>
              <a:pPr/>
              <a:t>450</a:t>
            </a:fld>
            <a:endParaRPr lang="en-US" sz="1200" dirty="0">
              <a:cs typeface="+mn-cs"/>
              <a:sym typeface="+mn-lt"/>
            </a:endParaRPr>
          </a:p>
        </p:txBody>
      </p:sp>
      <p:sp>
        <p:nvSpPr>
          <p:cNvPr id="145" name="Text Placeholder 4">
            <a:extLst>
              <a:ext uri="{FF2B5EF4-FFF2-40B4-BE49-F238E27FC236}">
                <a16:creationId xmlns:a16="http://schemas.microsoft.com/office/drawing/2014/main" id="{076D1535-DDCF-47C3-87DA-90526E219EDE}"/>
              </a:ext>
            </a:extLst>
          </p:cNvPr>
          <p:cNvSpPr>
            <a:spLocks noGrp="1"/>
          </p:cNvSpPr>
          <p:nvPr>
            <p:custDataLst>
              <p:tags r:id="rId25"/>
            </p:custDataLst>
          </p:nvPr>
        </p:nvSpPr>
        <p:spPr bwMode="gray">
          <a:xfrm>
            <a:off x="6459538" y="3651250"/>
            <a:ext cx="23336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2B650C7C-293D-4174-82C4-9DCE57CEFC1C}" type="datetime'''''''''''''5''''''''''''''0''''''0'''">
              <a:rPr lang="en-US" altLang="en-US" sz="1200" smtClean="0">
                <a:cs typeface="+mn-cs"/>
                <a:sym typeface="+mn-lt"/>
              </a:rPr>
              <a:pPr/>
              <a:t>500</a:t>
            </a:fld>
            <a:endParaRPr lang="en-US" sz="1200" dirty="0">
              <a:cs typeface="+mn-cs"/>
              <a:sym typeface="+mn-lt"/>
            </a:endParaRPr>
          </a:p>
        </p:txBody>
      </p:sp>
      <p:sp>
        <p:nvSpPr>
          <p:cNvPr id="149" name="Text Placeholder 4">
            <a:extLst>
              <a:ext uri="{FF2B5EF4-FFF2-40B4-BE49-F238E27FC236}">
                <a16:creationId xmlns:a16="http://schemas.microsoft.com/office/drawing/2014/main" id="{15073F8C-2123-4955-9C8F-FC1D752AE8F9}"/>
              </a:ext>
            </a:extLst>
          </p:cNvPr>
          <p:cNvSpPr>
            <a:spLocks noGrp="1"/>
          </p:cNvSpPr>
          <p:nvPr>
            <p:custDataLst>
              <p:tags r:id="rId26"/>
            </p:custDataLst>
          </p:nvPr>
        </p:nvSpPr>
        <p:spPr bwMode="gray">
          <a:xfrm>
            <a:off x="6459538" y="2214563"/>
            <a:ext cx="23336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4B025E05-7461-4D8F-81E1-2A0963FDA6B6}" type="datetime'''''''''''6''''''''''''''''''0''''''0'''''''">
              <a:rPr lang="en-US" altLang="en-US" sz="1200" smtClean="0">
                <a:cs typeface="+mn-cs"/>
                <a:sym typeface="+mn-lt"/>
              </a:rPr>
              <a:pPr/>
              <a:t>600</a:t>
            </a:fld>
            <a:endParaRPr lang="en-US" sz="1200" dirty="0">
              <a:cs typeface="+mn-cs"/>
              <a:sym typeface="+mn-lt"/>
            </a:endParaRPr>
          </a:p>
        </p:txBody>
      </p:sp>
      <p:sp>
        <p:nvSpPr>
          <p:cNvPr id="151" name="Text Placeholder 4">
            <a:extLst>
              <a:ext uri="{FF2B5EF4-FFF2-40B4-BE49-F238E27FC236}">
                <a16:creationId xmlns:a16="http://schemas.microsoft.com/office/drawing/2014/main" id="{8D309F84-E6DE-498F-B59D-07BE91EA3193}"/>
              </a:ext>
            </a:extLst>
          </p:cNvPr>
          <p:cNvSpPr>
            <a:spLocks noGrp="1"/>
          </p:cNvSpPr>
          <p:nvPr>
            <p:custDataLst>
              <p:tags r:id="rId27"/>
            </p:custDataLst>
          </p:nvPr>
        </p:nvSpPr>
        <p:spPr bwMode="auto">
          <a:xfrm>
            <a:off x="7934325" y="5948363"/>
            <a:ext cx="16827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1860C4A6-E1C5-43D9-9EBB-DB3D4205B665}" type="datetime'''''''''''''''''''''''''''''''''''''''''''''''0''6'''''''">
              <a:rPr lang="en-US" altLang="en-US" sz="1200" smtClean="0">
                <a:cs typeface="+mn-cs"/>
                <a:sym typeface="+mn-lt"/>
              </a:rPr>
              <a:pPr/>
              <a:t>06</a:t>
            </a:fld>
            <a:endParaRPr lang="en-US" sz="1200" dirty="0">
              <a:cs typeface="+mn-cs"/>
              <a:sym typeface="+mn-lt"/>
            </a:endParaRPr>
          </a:p>
        </p:txBody>
      </p:sp>
      <p:sp>
        <p:nvSpPr>
          <p:cNvPr id="150" name="Text Placeholder 4">
            <a:extLst>
              <a:ext uri="{FF2B5EF4-FFF2-40B4-BE49-F238E27FC236}">
                <a16:creationId xmlns:a16="http://schemas.microsoft.com/office/drawing/2014/main" id="{1D204E1B-33AA-413A-A7F4-A68E048986E2}"/>
              </a:ext>
            </a:extLst>
          </p:cNvPr>
          <p:cNvSpPr>
            <a:spLocks noGrp="1"/>
          </p:cNvSpPr>
          <p:nvPr>
            <p:custDataLst>
              <p:tags r:id="rId28"/>
            </p:custDataLst>
          </p:nvPr>
        </p:nvSpPr>
        <p:spPr bwMode="auto">
          <a:xfrm>
            <a:off x="7040563" y="5948363"/>
            <a:ext cx="323850"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7EFEE6F0-B5FC-42AC-AF59-C2F9C11F23BA}" type="datetime'''2''''''''0''''''''''0''''''''''''''''''''''''3'''''''''''''">
              <a:rPr lang="en-US" altLang="en-US" sz="1200" smtClean="0">
                <a:cs typeface="+mn-cs"/>
                <a:sym typeface="+mn-lt"/>
              </a:rPr>
              <a:pPr/>
              <a:t>2003</a:t>
            </a:fld>
            <a:endParaRPr lang="en-US" sz="1200" dirty="0">
              <a:cs typeface="+mn-cs"/>
              <a:sym typeface="+mn-lt"/>
            </a:endParaRPr>
          </a:p>
        </p:txBody>
      </p:sp>
      <p:sp>
        <p:nvSpPr>
          <p:cNvPr id="152" name="Text Placeholder 4">
            <a:extLst>
              <a:ext uri="{FF2B5EF4-FFF2-40B4-BE49-F238E27FC236}">
                <a16:creationId xmlns:a16="http://schemas.microsoft.com/office/drawing/2014/main" id="{1929F110-3483-440C-93E1-80E162FBA139}"/>
              </a:ext>
            </a:extLst>
          </p:cNvPr>
          <p:cNvSpPr>
            <a:spLocks noGrp="1"/>
          </p:cNvSpPr>
          <p:nvPr>
            <p:custDataLst>
              <p:tags r:id="rId29"/>
            </p:custDataLst>
          </p:nvPr>
        </p:nvSpPr>
        <p:spPr bwMode="auto">
          <a:xfrm>
            <a:off x="8750300" y="5948363"/>
            <a:ext cx="16827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C14D3741-47AE-4BD9-9B87-B80277C6460E}" type="datetime'''''''''0''''''8'''''''''''''''''''">
              <a:rPr lang="en-US" altLang="en-US" sz="1200" smtClean="0">
                <a:cs typeface="+mn-cs"/>
                <a:sym typeface="+mn-lt"/>
              </a:rPr>
              <a:pPr/>
              <a:t>08</a:t>
            </a:fld>
            <a:endParaRPr lang="en-US" sz="1200" dirty="0">
              <a:cs typeface="+mn-cs"/>
              <a:sym typeface="+mn-lt"/>
            </a:endParaRPr>
          </a:p>
        </p:txBody>
      </p:sp>
      <p:sp>
        <p:nvSpPr>
          <p:cNvPr id="153" name="Text Placeholder 4">
            <a:extLst>
              <a:ext uri="{FF2B5EF4-FFF2-40B4-BE49-F238E27FC236}">
                <a16:creationId xmlns:a16="http://schemas.microsoft.com/office/drawing/2014/main" id="{2E4E29F9-5A23-40CF-8A55-F69596F00B6D}"/>
              </a:ext>
            </a:extLst>
          </p:cNvPr>
          <p:cNvSpPr>
            <a:spLocks noGrp="1"/>
          </p:cNvSpPr>
          <p:nvPr>
            <p:custDataLst>
              <p:tags r:id="rId30"/>
            </p:custDataLst>
          </p:nvPr>
        </p:nvSpPr>
        <p:spPr bwMode="auto">
          <a:xfrm>
            <a:off x="9564688" y="5948363"/>
            <a:ext cx="16827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D690991A-B05C-455C-AEA7-03CC7B2F37D4}" type="datetime'''''''''''''''''1''''''''''''''''''''''2'''''''''''''">
              <a:rPr lang="en-US" altLang="en-US" sz="1200" smtClean="0">
                <a:cs typeface="+mn-cs"/>
                <a:sym typeface="+mn-lt"/>
              </a:rPr>
              <a:pPr/>
              <a:t>12</a:t>
            </a:fld>
            <a:endParaRPr lang="en-US" sz="1200" dirty="0">
              <a:cs typeface="+mn-cs"/>
              <a:sym typeface="+mn-lt"/>
            </a:endParaRPr>
          </a:p>
        </p:txBody>
      </p:sp>
      <p:sp>
        <p:nvSpPr>
          <p:cNvPr id="154" name="Text Placeholder 4">
            <a:extLst>
              <a:ext uri="{FF2B5EF4-FFF2-40B4-BE49-F238E27FC236}">
                <a16:creationId xmlns:a16="http://schemas.microsoft.com/office/drawing/2014/main" id="{EC86A999-C661-49B0-950E-A8AD4E25B421}"/>
              </a:ext>
            </a:extLst>
          </p:cNvPr>
          <p:cNvSpPr>
            <a:spLocks noGrp="1"/>
          </p:cNvSpPr>
          <p:nvPr>
            <p:custDataLst>
              <p:tags r:id="rId31"/>
            </p:custDataLst>
          </p:nvPr>
        </p:nvSpPr>
        <p:spPr bwMode="auto">
          <a:xfrm>
            <a:off x="10380663" y="5948363"/>
            <a:ext cx="16827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7F4362D7-B8DC-458D-8350-E8C44E547EB9}" type="datetime'''''1''''''''''''''5'''''''''''''''''">
              <a:rPr lang="en-US" altLang="en-US" sz="1200" smtClean="0">
                <a:cs typeface="+mn-cs"/>
                <a:sym typeface="+mn-lt"/>
              </a:rPr>
              <a:pPr/>
              <a:t>15</a:t>
            </a:fld>
            <a:endParaRPr lang="en-US" sz="1200" dirty="0">
              <a:cs typeface="+mn-cs"/>
              <a:sym typeface="+mn-lt"/>
            </a:endParaRPr>
          </a:p>
        </p:txBody>
      </p:sp>
      <p:sp>
        <p:nvSpPr>
          <p:cNvPr id="155" name="Text Placeholder 4">
            <a:extLst>
              <a:ext uri="{FF2B5EF4-FFF2-40B4-BE49-F238E27FC236}">
                <a16:creationId xmlns:a16="http://schemas.microsoft.com/office/drawing/2014/main" id="{965B2015-9381-446D-BC41-7FF9667F7DE0}"/>
              </a:ext>
            </a:extLst>
          </p:cNvPr>
          <p:cNvSpPr>
            <a:spLocks noGrp="1"/>
          </p:cNvSpPr>
          <p:nvPr>
            <p:custDataLst>
              <p:tags r:id="rId32"/>
            </p:custDataLst>
          </p:nvPr>
        </p:nvSpPr>
        <p:spPr bwMode="auto">
          <a:xfrm>
            <a:off x="11118850" y="5948363"/>
            <a:ext cx="323850"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615698B4-20C9-49FF-A357-677131AB5398}" type="datetime'''2''''''''''0''1''''''''''8'">
              <a:rPr lang="en-US" altLang="en-US" sz="1200" smtClean="0">
                <a:cs typeface="+mn-cs"/>
                <a:sym typeface="+mn-lt"/>
              </a:rPr>
              <a:pPr/>
              <a:t>2018</a:t>
            </a:fld>
            <a:endParaRPr lang="en-US" sz="1200" dirty="0">
              <a:cs typeface="+mn-cs"/>
              <a:sym typeface="+mn-lt"/>
            </a:endParaRPr>
          </a:p>
        </p:txBody>
      </p:sp>
      <p:cxnSp>
        <p:nvCxnSpPr>
          <p:cNvPr id="87051" name="Straight Connector 87050">
            <a:extLst>
              <a:ext uri="{FF2B5EF4-FFF2-40B4-BE49-F238E27FC236}">
                <a16:creationId xmlns:a16="http://schemas.microsoft.com/office/drawing/2014/main" id="{B00E0D2B-7ACF-4FFE-821E-F5DB85BC4666}"/>
              </a:ext>
            </a:extLst>
          </p:cNvPr>
          <p:cNvCxnSpPr>
            <a:cxnSpLocks/>
          </p:cNvCxnSpPr>
          <p:nvPr/>
        </p:nvCxnSpPr>
        <p:spPr>
          <a:xfrm>
            <a:off x="9702800" y="1332723"/>
            <a:ext cx="178882" cy="0"/>
          </a:xfrm>
          <a:prstGeom prst="line">
            <a:avLst/>
          </a:prstGeom>
          <a:ln w="28575" cap="flat">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2" name="Straight Connector 181">
            <a:extLst>
              <a:ext uri="{FF2B5EF4-FFF2-40B4-BE49-F238E27FC236}">
                <a16:creationId xmlns:a16="http://schemas.microsoft.com/office/drawing/2014/main" id="{61CB7988-04A4-4DC7-860C-267B7A55D265}"/>
              </a:ext>
            </a:extLst>
          </p:cNvPr>
          <p:cNvCxnSpPr>
            <a:cxnSpLocks/>
          </p:cNvCxnSpPr>
          <p:nvPr/>
        </p:nvCxnSpPr>
        <p:spPr>
          <a:xfrm>
            <a:off x="10234641" y="1332723"/>
            <a:ext cx="178882" cy="0"/>
          </a:xfrm>
          <a:prstGeom prst="line">
            <a:avLst/>
          </a:prstGeom>
          <a:ln w="28575" cap="flat">
            <a:solidFill>
              <a:schemeClr val="accent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3" name="Straight Connector 182">
            <a:extLst>
              <a:ext uri="{FF2B5EF4-FFF2-40B4-BE49-F238E27FC236}">
                <a16:creationId xmlns:a16="http://schemas.microsoft.com/office/drawing/2014/main" id="{52E1BAF2-228C-413D-8E0E-35900C97E4C5}"/>
              </a:ext>
            </a:extLst>
          </p:cNvPr>
          <p:cNvCxnSpPr>
            <a:cxnSpLocks/>
          </p:cNvCxnSpPr>
          <p:nvPr/>
        </p:nvCxnSpPr>
        <p:spPr>
          <a:xfrm>
            <a:off x="11118309" y="1332723"/>
            <a:ext cx="178882" cy="0"/>
          </a:xfrm>
          <a:prstGeom prst="line">
            <a:avLst/>
          </a:prstGeom>
          <a:ln w="28575"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9" name="TextBox 58">
            <a:extLst>
              <a:ext uri="{FF2B5EF4-FFF2-40B4-BE49-F238E27FC236}">
                <a16:creationId xmlns:a16="http://schemas.microsoft.com/office/drawing/2014/main" id="{7309C1F1-DAEB-4720-8C51-1EB97D39DA6E}"/>
              </a:ext>
            </a:extLst>
          </p:cNvPr>
          <p:cNvSpPr txBox="1"/>
          <p:nvPr/>
        </p:nvSpPr>
        <p:spPr>
          <a:xfrm>
            <a:off x="8352455" y="1255779"/>
            <a:ext cx="1610994"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nl-NL" sz="1000" dirty="0">
                <a:cs typeface="+mn-cs"/>
              </a:rPr>
              <a:t>Opleidingsniveau ouders:</a:t>
            </a:r>
            <a:endParaRPr lang="en-US" sz="1000" dirty="0">
              <a:cs typeface="+mn-cs"/>
            </a:endParaRPr>
          </a:p>
        </p:txBody>
      </p:sp>
      <p:sp>
        <p:nvSpPr>
          <p:cNvPr id="60" name="TextBox 59">
            <a:extLst>
              <a:ext uri="{FF2B5EF4-FFF2-40B4-BE49-F238E27FC236}">
                <a16:creationId xmlns:a16="http://schemas.microsoft.com/office/drawing/2014/main" id="{EB851577-7599-4004-B8C7-C69FF22DDB9C}"/>
              </a:ext>
            </a:extLst>
          </p:cNvPr>
          <p:cNvSpPr txBox="1"/>
          <p:nvPr/>
        </p:nvSpPr>
        <p:spPr>
          <a:xfrm>
            <a:off x="9946261" y="1255779"/>
            <a:ext cx="245518"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nl-NL" sz="1000" dirty="0">
                <a:cs typeface="+mn-cs"/>
              </a:rPr>
              <a:t>laag</a:t>
            </a:r>
            <a:endParaRPr lang="en-US" sz="1000" dirty="0">
              <a:cs typeface="+mn-cs"/>
            </a:endParaRPr>
          </a:p>
        </p:txBody>
      </p:sp>
      <p:sp>
        <p:nvSpPr>
          <p:cNvPr id="61" name="TextBox 60">
            <a:extLst>
              <a:ext uri="{FF2B5EF4-FFF2-40B4-BE49-F238E27FC236}">
                <a16:creationId xmlns:a16="http://schemas.microsoft.com/office/drawing/2014/main" id="{73ED6FEE-E965-4506-A3D5-3EEAFF903598}"/>
              </a:ext>
            </a:extLst>
          </p:cNvPr>
          <p:cNvSpPr txBox="1"/>
          <p:nvPr/>
        </p:nvSpPr>
        <p:spPr>
          <a:xfrm>
            <a:off x="10461625" y="1255779"/>
            <a:ext cx="697260"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nl-NL" sz="1000" dirty="0">
                <a:cs typeface="+mn-cs"/>
              </a:rPr>
              <a:t>middelbaar</a:t>
            </a:r>
            <a:endParaRPr lang="en-US" sz="1000" dirty="0">
              <a:cs typeface="+mn-cs"/>
            </a:endParaRPr>
          </a:p>
        </p:txBody>
      </p:sp>
      <p:sp>
        <p:nvSpPr>
          <p:cNvPr id="62" name="TextBox 61">
            <a:extLst>
              <a:ext uri="{FF2B5EF4-FFF2-40B4-BE49-F238E27FC236}">
                <a16:creationId xmlns:a16="http://schemas.microsoft.com/office/drawing/2014/main" id="{957BC44A-A9E4-4B68-9BEA-2F080434AEF9}"/>
              </a:ext>
            </a:extLst>
          </p:cNvPr>
          <p:cNvSpPr txBox="1"/>
          <p:nvPr/>
        </p:nvSpPr>
        <p:spPr>
          <a:xfrm>
            <a:off x="11365453" y="1255779"/>
            <a:ext cx="323849"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nl-NL" sz="1000" dirty="0">
                <a:cs typeface="+mn-cs"/>
              </a:rPr>
              <a:t>hoog</a:t>
            </a:r>
            <a:endParaRPr lang="en-US" sz="1000" dirty="0">
              <a:cs typeface="+mn-cs"/>
            </a:endParaRPr>
          </a:p>
        </p:txBody>
      </p:sp>
      <p:sp>
        <p:nvSpPr>
          <p:cNvPr id="48" name="TextBox 47">
            <a:extLst>
              <a:ext uri="{FF2B5EF4-FFF2-40B4-BE49-F238E27FC236}">
                <a16:creationId xmlns:a16="http://schemas.microsoft.com/office/drawing/2014/main" id="{2BF2838F-B266-48EA-AF48-53D5390B5BB2}"/>
              </a:ext>
            </a:extLst>
          </p:cNvPr>
          <p:cNvSpPr txBox="1"/>
          <p:nvPr/>
        </p:nvSpPr>
        <p:spPr>
          <a:xfrm>
            <a:off x="1817805" y="2364944"/>
            <a:ext cx="721757" cy="369332"/>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nl-NL" sz="1200" dirty="0">
                <a:solidFill>
                  <a:schemeClr val="bg1"/>
                </a:solidFill>
                <a:cs typeface="+mn-cs"/>
              </a:rPr>
              <a:t>Kloof van </a:t>
            </a:r>
            <a:r>
              <a:rPr lang="nl-NL" sz="1200" b="1" dirty="0">
                <a:solidFill>
                  <a:schemeClr val="bg1"/>
                </a:solidFill>
                <a:cs typeface="+mn-cs"/>
              </a:rPr>
              <a:t>44 punten</a:t>
            </a:r>
            <a:endParaRPr lang="en-US" sz="1200" b="1" dirty="0">
              <a:solidFill>
                <a:schemeClr val="bg1"/>
              </a:solidFill>
              <a:cs typeface="+mn-cs"/>
            </a:endParaRPr>
          </a:p>
        </p:txBody>
      </p:sp>
      <p:cxnSp>
        <p:nvCxnSpPr>
          <p:cNvPr id="7" name="Straight Arrow Connector 6">
            <a:extLst>
              <a:ext uri="{FF2B5EF4-FFF2-40B4-BE49-F238E27FC236}">
                <a16:creationId xmlns:a16="http://schemas.microsoft.com/office/drawing/2014/main" id="{19E32F10-B205-4A8F-977C-35D72EB62A5D}"/>
              </a:ext>
            </a:extLst>
          </p:cNvPr>
          <p:cNvCxnSpPr>
            <a:cxnSpLocks/>
          </p:cNvCxnSpPr>
          <p:nvPr/>
        </p:nvCxnSpPr>
        <p:spPr>
          <a:xfrm flipH="1">
            <a:off x="1624013" y="2845652"/>
            <a:ext cx="293766" cy="142825"/>
          </a:xfrm>
          <a:prstGeom prst="straightConnector1">
            <a:avLst/>
          </a:prstGeom>
          <a:ln w="6350" cap="flat">
            <a:solidFill>
              <a:schemeClr val="tx1"/>
            </a:solidFill>
            <a:prstDash val="lgDash"/>
            <a:miter lim="800000"/>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05495C38-B1B5-42B6-AA49-E510EBABF57B}"/>
              </a:ext>
            </a:extLst>
          </p:cNvPr>
          <p:cNvCxnSpPr>
            <a:cxnSpLocks/>
          </p:cNvCxnSpPr>
          <p:nvPr/>
        </p:nvCxnSpPr>
        <p:spPr>
          <a:xfrm flipH="1">
            <a:off x="1617339" y="2848091"/>
            <a:ext cx="330890" cy="726959"/>
          </a:xfrm>
          <a:prstGeom prst="straightConnector1">
            <a:avLst/>
          </a:prstGeom>
          <a:ln w="6350" cap="flat">
            <a:solidFill>
              <a:schemeClr val="tx1"/>
            </a:solidFill>
            <a:prstDash val="lgDash"/>
            <a:miter lim="800000"/>
            <a:tailEnd type="triangle"/>
          </a:ln>
        </p:spPr>
        <p:style>
          <a:lnRef idx="1">
            <a:schemeClr val="accent1"/>
          </a:lnRef>
          <a:fillRef idx="0">
            <a:schemeClr val="accent1"/>
          </a:fillRef>
          <a:effectRef idx="0">
            <a:schemeClr val="accent1"/>
          </a:effectRef>
          <a:fontRef idx="minor">
            <a:schemeClr val="tx1"/>
          </a:fontRef>
        </p:style>
      </p:cxnSp>
      <p:sp>
        <p:nvSpPr>
          <p:cNvPr id="69" name="Oval 68">
            <a:extLst>
              <a:ext uri="{FF2B5EF4-FFF2-40B4-BE49-F238E27FC236}">
                <a16:creationId xmlns:a16="http://schemas.microsoft.com/office/drawing/2014/main" id="{00C40B16-490B-4BE3-99A6-785C7BE97C26}"/>
              </a:ext>
            </a:extLst>
          </p:cNvPr>
          <p:cNvSpPr/>
          <p:nvPr/>
        </p:nvSpPr>
        <p:spPr>
          <a:xfrm>
            <a:off x="4121309" y="4855113"/>
            <a:ext cx="952500" cy="586484"/>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70" name="TextBox 69">
            <a:extLst>
              <a:ext uri="{FF2B5EF4-FFF2-40B4-BE49-F238E27FC236}">
                <a16:creationId xmlns:a16="http://schemas.microsoft.com/office/drawing/2014/main" id="{F3D06325-9655-4760-A6F6-AA3B2A13BE29}"/>
              </a:ext>
            </a:extLst>
          </p:cNvPr>
          <p:cNvSpPr txBox="1"/>
          <p:nvPr/>
        </p:nvSpPr>
        <p:spPr>
          <a:xfrm>
            <a:off x="4299148" y="4945308"/>
            <a:ext cx="721757" cy="369332"/>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nl-NL" sz="1200" dirty="0">
                <a:solidFill>
                  <a:schemeClr val="bg1"/>
                </a:solidFill>
                <a:cs typeface="+mn-cs"/>
              </a:rPr>
              <a:t>Kloof van </a:t>
            </a:r>
            <a:r>
              <a:rPr lang="nl-NL" sz="1200" b="1" dirty="0">
                <a:solidFill>
                  <a:schemeClr val="bg1"/>
                </a:solidFill>
                <a:cs typeface="+mn-cs"/>
              </a:rPr>
              <a:t>77 punten</a:t>
            </a:r>
            <a:endParaRPr lang="en-US" sz="1200" b="1" dirty="0">
              <a:solidFill>
                <a:schemeClr val="bg1"/>
              </a:solidFill>
              <a:cs typeface="+mn-cs"/>
            </a:endParaRPr>
          </a:p>
        </p:txBody>
      </p:sp>
      <p:cxnSp>
        <p:nvCxnSpPr>
          <p:cNvPr id="71" name="Straight Arrow Connector 70">
            <a:extLst>
              <a:ext uri="{FF2B5EF4-FFF2-40B4-BE49-F238E27FC236}">
                <a16:creationId xmlns:a16="http://schemas.microsoft.com/office/drawing/2014/main" id="{E0986143-AFD7-4A88-B7FC-B9E7CE4B8C43}"/>
              </a:ext>
            </a:extLst>
          </p:cNvPr>
          <p:cNvCxnSpPr>
            <a:cxnSpLocks/>
          </p:cNvCxnSpPr>
          <p:nvPr/>
        </p:nvCxnSpPr>
        <p:spPr>
          <a:xfrm flipV="1">
            <a:off x="4846977" y="3742531"/>
            <a:ext cx="374311" cy="1103221"/>
          </a:xfrm>
          <a:prstGeom prst="straightConnector1">
            <a:avLst/>
          </a:prstGeom>
          <a:ln w="6350" cap="flat">
            <a:solidFill>
              <a:schemeClr val="tx1"/>
            </a:solidFill>
            <a:prstDash val="lgDash"/>
            <a:miter lim="800000"/>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71">
            <a:extLst>
              <a:ext uri="{FF2B5EF4-FFF2-40B4-BE49-F238E27FC236}">
                <a16:creationId xmlns:a16="http://schemas.microsoft.com/office/drawing/2014/main" id="{6B5F8EBB-6CF6-456E-828C-BC7D43B8C116}"/>
              </a:ext>
            </a:extLst>
          </p:cNvPr>
          <p:cNvCxnSpPr>
            <a:cxnSpLocks/>
          </p:cNvCxnSpPr>
          <p:nvPr/>
        </p:nvCxnSpPr>
        <p:spPr>
          <a:xfrm flipV="1">
            <a:off x="4893023" y="4722861"/>
            <a:ext cx="270420" cy="132252"/>
          </a:xfrm>
          <a:prstGeom prst="straightConnector1">
            <a:avLst/>
          </a:prstGeom>
          <a:ln w="6350" cap="flat">
            <a:solidFill>
              <a:schemeClr val="tx1"/>
            </a:solidFill>
            <a:prstDash val="lgDash"/>
            <a:miter lim="800000"/>
            <a:tailEnd type="triangle"/>
          </a:ln>
        </p:spPr>
        <p:style>
          <a:lnRef idx="1">
            <a:schemeClr val="accent1"/>
          </a:lnRef>
          <a:fillRef idx="0">
            <a:schemeClr val="accent1"/>
          </a:fillRef>
          <a:effectRef idx="0">
            <a:schemeClr val="accent1"/>
          </a:effectRef>
          <a:fontRef idx="minor">
            <a:schemeClr val="tx1"/>
          </a:fontRef>
        </p:style>
      </p:cxnSp>
      <p:sp>
        <p:nvSpPr>
          <p:cNvPr id="81" name="Oval 80">
            <a:extLst>
              <a:ext uri="{FF2B5EF4-FFF2-40B4-BE49-F238E27FC236}">
                <a16:creationId xmlns:a16="http://schemas.microsoft.com/office/drawing/2014/main" id="{36235823-015A-4CF9-A8C6-AC225018614B}"/>
              </a:ext>
            </a:extLst>
          </p:cNvPr>
          <p:cNvSpPr/>
          <p:nvPr/>
        </p:nvSpPr>
        <p:spPr>
          <a:xfrm>
            <a:off x="10131425" y="4599060"/>
            <a:ext cx="952500" cy="586484"/>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82" name="TextBox 81">
            <a:extLst>
              <a:ext uri="{FF2B5EF4-FFF2-40B4-BE49-F238E27FC236}">
                <a16:creationId xmlns:a16="http://schemas.microsoft.com/office/drawing/2014/main" id="{89CA325A-841D-42E2-9433-360AE8E0A731}"/>
              </a:ext>
            </a:extLst>
          </p:cNvPr>
          <p:cNvSpPr txBox="1"/>
          <p:nvPr/>
        </p:nvSpPr>
        <p:spPr>
          <a:xfrm>
            <a:off x="10293529" y="4689255"/>
            <a:ext cx="721757" cy="369332"/>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nl-NL" sz="1200" dirty="0">
                <a:solidFill>
                  <a:schemeClr val="bg1"/>
                </a:solidFill>
                <a:cs typeface="+mn-cs"/>
              </a:rPr>
              <a:t>Kloof van </a:t>
            </a:r>
            <a:r>
              <a:rPr lang="nl-NL" sz="1200" b="1" dirty="0">
                <a:solidFill>
                  <a:schemeClr val="bg1"/>
                </a:solidFill>
                <a:cs typeface="+mn-cs"/>
              </a:rPr>
              <a:t>79 punten</a:t>
            </a:r>
            <a:endParaRPr lang="en-US" sz="1200" b="1" dirty="0">
              <a:solidFill>
                <a:schemeClr val="bg1"/>
              </a:solidFill>
              <a:cs typeface="+mn-cs"/>
            </a:endParaRPr>
          </a:p>
        </p:txBody>
      </p:sp>
      <p:cxnSp>
        <p:nvCxnSpPr>
          <p:cNvPr id="83" name="Straight Arrow Connector 82">
            <a:extLst>
              <a:ext uri="{FF2B5EF4-FFF2-40B4-BE49-F238E27FC236}">
                <a16:creationId xmlns:a16="http://schemas.microsoft.com/office/drawing/2014/main" id="{93A777EA-A53A-4DE1-9743-35FA0B7D119C}"/>
              </a:ext>
            </a:extLst>
          </p:cNvPr>
          <p:cNvCxnSpPr>
            <a:cxnSpLocks/>
          </p:cNvCxnSpPr>
          <p:nvPr/>
        </p:nvCxnSpPr>
        <p:spPr>
          <a:xfrm flipH="1" flipV="1">
            <a:off x="7461786" y="2686924"/>
            <a:ext cx="272853" cy="1441290"/>
          </a:xfrm>
          <a:prstGeom prst="straightConnector1">
            <a:avLst/>
          </a:prstGeom>
          <a:ln w="6350" cap="flat">
            <a:solidFill>
              <a:schemeClr val="tx1"/>
            </a:solidFill>
            <a:prstDash val="lgDash"/>
            <a:miter lim="800000"/>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6FB615B3-C2DA-4BA4-899A-46303E361283}"/>
              </a:ext>
            </a:extLst>
          </p:cNvPr>
          <p:cNvCxnSpPr>
            <a:cxnSpLocks/>
          </p:cNvCxnSpPr>
          <p:nvPr/>
        </p:nvCxnSpPr>
        <p:spPr>
          <a:xfrm flipV="1">
            <a:off x="10776207" y="4287980"/>
            <a:ext cx="307718" cy="303024"/>
          </a:xfrm>
          <a:prstGeom prst="straightConnector1">
            <a:avLst/>
          </a:prstGeom>
          <a:ln w="6350" cap="flat">
            <a:solidFill>
              <a:schemeClr val="tx1"/>
            </a:solidFill>
            <a:prstDash val="lgDash"/>
            <a:miter lim="800000"/>
            <a:tailEnd type="triangle"/>
          </a:ln>
        </p:spPr>
        <p:style>
          <a:lnRef idx="1">
            <a:schemeClr val="accent1"/>
          </a:lnRef>
          <a:fillRef idx="0">
            <a:schemeClr val="accent1"/>
          </a:fillRef>
          <a:effectRef idx="0">
            <a:schemeClr val="accent1"/>
          </a:effectRef>
          <a:fontRef idx="minor">
            <a:schemeClr val="tx1"/>
          </a:fontRef>
        </p:style>
      </p:cxnSp>
      <p:sp>
        <p:nvSpPr>
          <p:cNvPr id="89" name="Oval 88">
            <a:extLst>
              <a:ext uri="{FF2B5EF4-FFF2-40B4-BE49-F238E27FC236}">
                <a16:creationId xmlns:a16="http://schemas.microsoft.com/office/drawing/2014/main" id="{42646DFA-7669-49D3-8333-CE252B2ADADC}"/>
              </a:ext>
            </a:extLst>
          </p:cNvPr>
          <p:cNvSpPr/>
          <p:nvPr/>
        </p:nvSpPr>
        <p:spPr>
          <a:xfrm>
            <a:off x="7299682" y="4164976"/>
            <a:ext cx="952500" cy="586484"/>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90" name="TextBox 89">
            <a:extLst>
              <a:ext uri="{FF2B5EF4-FFF2-40B4-BE49-F238E27FC236}">
                <a16:creationId xmlns:a16="http://schemas.microsoft.com/office/drawing/2014/main" id="{960F9A22-7FFF-4ED2-AE09-EDB193D27BAC}"/>
              </a:ext>
            </a:extLst>
          </p:cNvPr>
          <p:cNvSpPr txBox="1"/>
          <p:nvPr/>
        </p:nvSpPr>
        <p:spPr>
          <a:xfrm>
            <a:off x="7461786" y="4255171"/>
            <a:ext cx="721757" cy="369332"/>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nl-NL" sz="1200" dirty="0">
                <a:solidFill>
                  <a:schemeClr val="bg1"/>
                </a:solidFill>
                <a:cs typeface="+mn-cs"/>
              </a:rPr>
              <a:t>Kloof van </a:t>
            </a:r>
            <a:r>
              <a:rPr lang="nl-NL" sz="1200" b="1" dirty="0">
                <a:solidFill>
                  <a:schemeClr val="bg1"/>
                </a:solidFill>
                <a:cs typeface="+mn-cs"/>
              </a:rPr>
              <a:t>52 punten</a:t>
            </a:r>
            <a:endParaRPr lang="en-US" sz="1200" b="1" dirty="0">
              <a:solidFill>
                <a:schemeClr val="bg1"/>
              </a:solidFill>
              <a:cs typeface="+mn-cs"/>
            </a:endParaRPr>
          </a:p>
        </p:txBody>
      </p:sp>
      <p:cxnSp>
        <p:nvCxnSpPr>
          <p:cNvPr id="92" name="Straight Arrow Connector 91">
            <a:extLst>
              <a:ext uri="{FF2B5EF4-FFF2-40B4-BE49-F238E27FC236}">
                <a16:creationId xmlns:a16="http://schemas.microsoft.com/office/drawing/2014/main" id="{7584A6D5-03FC-4042-AE45-3E88D2DB939A}"/>
              </a:ext>
            </a:extLst>
          </p:cNvPr>
          <p:cNvCxnSpPr>
            <a:cxnSpLocks/>
          </p:cNvCxnSpPr>
          <p:nvPr/>
        </p:nvCxnSpPr>
        <p:spPr>
          <a:xfrm flipV="1">
            <a:off x="10776208" y="3149714"/>
            <a:ext cx="307717" cy="1441290"/>
          </a:xfrm>
          <a:prstGeom prst="straightConnector1">
            <a:avLst/>
          </a:prstGeom>
          <a:ln w="6350" cap="flat">
            <a:solidFill>
              <a:schemeClr val="tx1"/>
            </a:solidFill>
            <a:prstDash val="lgDash"/>
            <a:miter lim="800000"/>
            <a:tailEnd type="triangle"/>
          </a:ln>
        </p:spPr>
        <p:style>
          <a:lnRef idx="1">
            <a:schemeClr val="accent1"/>
          </a:lnRef>
          <a:fillRef idx="0">
            <a:schemeClr val="accent1"/>
          </a:fillRef>
          <a:effectRef idx="0">
            <a:schemeClr val="accent1"/>
          </a:effectRef>
          <a:fontRef idx="minor">
            <a:schemeClr val="tx1"/>
          </a:fontRef>
        </p:style>
      </p:cxnSp>
      <p:cxnSp>
        <p:nvCxnSpPr>
          <p:cNvPr id="96" name="Straight Arrow Connector 95">
            <a:extLst>
              <a:ext uri="{FF2B5EF4-FFF2-40B4-BE49-F238E27FC236}">
                <a16:creationId xmlns:a16="http://schemas.microsoft.com/office/drawing/2014/main" id="{277B035D-8629-4A36-86F8-BBFC85C44E3D}"/>
              </a:ext>
            </a:extLst>
          </p:cNvPr>
          <p:cNvCxnSpPr>
            <a:cxnSpLocks/>
          </p:cNvCxnSpPr>
          <p:nvPr/>
        </p:nvCxnSpPr>
        <p:spPr>
          <a:xfrm flipH="1" flipV="1">
            <a:off x="7315835" y="3581748"/>
            <a:ext cx="392371" cy="554710"/>
          </a:xfrm>
          <a:prstGeom prst="straightConnector1">
            <a:avLst/>
          </a:prstGeom>
          <a:ln w="6350" cap="flat">
            <a:solidFill>
              <a:schemeClr val="tx1"/>
            </a:solidFill>
            <a:prstDash val="lgDash"/>
            <a:miter lim="800000"/>
            <a:tailEnd type="triangl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FF156414-7EF3-4078-A131-46356AF5DEB9}"/>
              </a:ext>
            </a:extLst>
          </p:cNvPr>
          <p:cNvSpPr txBox="1"/>
          <p:nvPr/>
        </p:nvSpPr>
        <p:spPr>
          <a:xfrm>
            <a:off x="6424612" y="1615742"/>
            <a:ext cx="5210170" cy="50783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nl-NL" sz="1400" b="1" dirty="0">
                <a:cs typeface="+mn-cs"/>
              </a:rPr>
              <a:t>Gemiddelde scores wiskunde PISA-2003 t/m PISA-2018</a:t>
            </a:r>
          </a:p>
          <a:p>
            <a:r>
              <a:rPr lang="nl-NL" sz="1400" dirty="0">
                <a:cs typeface="+mn-cs"/>
              </a:rPr>
              <a:t>Score, Nederland, naar hoogste opleidingsniveau ouders</a:t>
            </a:r>
            <a:endParaRPr lang="en-GB" sz="1400" dirty="0">
              <a:cs typeface="+mn-cs"/>
            </a:endParaRPr>
          </a:p>
        </p:txBody>
      </p:sp>
      <p:sp>
        <p:nvSpPr>
          <p:cNvPr id="10" name="TextBox 9">
            <a:extLst>
              <a:ext uri="{FF2B5EF4-FFF2-40B4-BE49-F238E27FC236}">
                <a16:creationId xmlns:a16="http://schemas.microsoft.com/office/drawing/2014/main" id="{FE033D78-0682-4EED-A9AC-39A87FCF11EF}"/>
              </a:ext>
            </a:extLst>
          </p:cNvPr>
          <p:cNvSpPr txBox="1"/>
          <p:nvPr/>
        </p:nvSpPr>
        <p:spPr>
          <a:xfrm>
            <a:off x="554737" y="1615742"/>
            <a:ext cx="5303138" cy="50783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nl-NL" sz="1400" b="1" dirty="0">
                <a:cs typeface="+mn-cs"/>
              </a:rPr>
              <a:t>Gemiddelde scores leesvaardigheid PISA-2003 t/m PISA-2018</a:t>
            </a:r>
          </a:p>
          <a:p>
            <a:r>
              <a:rPr lang="nl-NL" sz="1400" dirty="0">
                <a:cs typeface="+mn-cs"/>
              </a:rPr>
              <a:t>Score, Nederland, naar hoogste opleidingsniveau ouders</a:t>
            </a:r>
            <a:endParaRPr lang="en-GB" sz="1400" dirty="0">
              <a:cs typeface="+mn-cs"/>
            </a:endParaRPr>
          </a:p>
        </p:txBody>
      </p:sp>
    </p:spTree>
    <p:extLst>
      <p:ext uri="{BB962C8B-B14F-4D97-AF65-F5344CB8AC3E}">
        <p14:creationId xmlns:p14="http://schemas.microsoft.com/office/powerpoint/2010/main" val="276579977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2" hidden="1">
            <a:extLst>
              <a:ext uri="{FF2B5EF4-FFF2-40B4-BE49-F238E27FC236}">
                <a16:creationId xmlns:a16="http://schemas.microsoft.com/office/drawing/2014/main" id="{3F737729-CF0D-40F2-B27B-BA0A4BAB3921}"/>
              </a:ext>
            </a:extLst>
          </p:cNvPr>
          <p:cNvGraphicFramePr>
            <a:graphicFrameLocks noChangeAspect="1"/>
          </p:cNvGraphicFramePr>
          <p:nvPr>
            <p:custDataLst>
              <p:tags r:id="rId2"/>
            </p:custDataLst>
            <p:extLst>
              <p:ext uri="{D42A27DB-BD31-4B8C-83A1-F6EECF244321}">
                <p14:modId xmlns:p14="http://schemas.microsoft.com/office/powerpoint/2010/main" val="1489778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7" name="think-cell Slide" r:id="rId108" imgW="395" imgH="394" progId="TCLayout.ActiveDocument.1">
                  <p:embed/>
                </p:oleObj>
              </mc:Choice>
              <mc:Fallback>
                <p:oleObj name="think-cell Slide" r:id="rId108" imgW="395" imgH="394" progId="TCLayout.ActiveDocument.1">
                  <p:embed/>
                  <p:pic>
                    <p:nvPicPr>
                      <p:cNvPr id="9" name="Object 2" hidden="1">
                        <a:extLst>
                          <a:ext uri="{FF2B5EF4-FFF2-40B4-BE49-F238E27FC236}">
                            <a16:creationId xmlns:a16="http://schemas.microsoft.com/office/drawing/2014/main" id="{3F737729-CF0D-40F2-B27B-BA0A4BAB3921}"/>
                          </a:ext>
                        </a:extLst>
                      </p:cNvPr>
                      <p:cNvPicPr/>
                      <p:nvPr/>
                    </p:nvPicPr>
                    <p:blipFill>
                      <a:blip r:embed="rId109"/>
                      <a:stretch>
                        <a:fillRect/>
                      </a:stretch>
                    </p:blipFill>
                    <p:spPr>
                      <a:xfrm>
                        <a:off x="1588" y="1588"/>
                        <a:ext cx="1588" cy="1588"/>
                      </a:xfrm>
                      <a:prstGeom prst="rect">
                        <a:avLst/>
                      </a:prstGeom>
                    </p:spPr>
                  </p:pic>
                </p:oleObj>
              </mc:Fallback>
            </mc:AlternateContent>
          </a:graphicData>
        </a:graphic>
      </p:graphicFrame>
      <p:sp>
        <p:nvSpPr>
          <p:cNvPr id="8" name="Rectangle 3" hidden="1">
            <a:extLst>
              <a:ext uri="{FF2B5EF4-FFF2-40B4-BE49-F238E27FC236}">
                <a16:creationId xmlns:a16="http://schemas.microsoft.com/office/drawing/2014/main" id="{BEFE31BA-5280-4C8B-85E3-E245EA7E7D96}"/>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a:solidFill>
                <a:schemeClr val="bg1"/>
              </a:solidFill>
              <a:latin typeface="Calibri" panose="020F0502020204030204" pitchFamily="34" charset="0"/>
              <a:ea typeface="+mj-ea"/>
              <a:cs typeface="+mj-cs"/>
              <a:sym typeface="Calibri" panose="020F0502020204030204" pitchFamily="34" charset="0"/>
            </a:endParaRPr>
          </a:p>
        </p:txBody>
      </p:sp>
      <p:sp>
        <p:nvSpPr>
          <p:cNvPr id="2" name="2. Slide Title">
            <a:extLst>
              <a:ext uri="{FF2B5EF4-FFF2-40B4-BE49-F238E27FC236}">
                <a16:creationId xmlns:a16="http://schemas.microsoft.com/office/drawing/2014/main" id="{D89290E6-8814-48E6-9217-136316A729E6}"/>
              </a:ext>
            </a:extLst>
          </p:cNvPr>
          <p:cNvSpPr>
            <a:spLocks noGrp="1"/>
          </p:cNvSpPr>
          <p:nvPr>
            <p:ph type="title"/>
            <p:custDataLst>
              <p:tags r:id="rId4"/>
            </p:custDataLst>
          </p:nvPr>
        </p:nvSpPr>
        <p:spPr>
          <a:xfrm>
            <a:off x="554736" y="134291"/>
            <a:ext cx="6967728" cy="769441"/>
          </a:xfrm>
        </p:spPr>
        <p:txBody>
          <a:bodyPr/>
          <a:lstStyle/>
          <a:p>
            <a:r>
              <a:rPr lang="en-US" dirty="0"/>
              <a:t>Veel Nederlandse kinderen leren op school bijvoorbeeld niet meer goed genoeg lezen</a:t>
            </a:r>
          </a:p>
        </p:txBody>
      </p:sp>
      <p:sp>
        <p:nvSpPr>
          <p:cNvPr id="18" name="TextBox 17">
            <a:extLst>
              <a:ext uri="{FF2B5EF4-FFF2-40B4-BE49-F238E27FC236}">
                <a16:creationId xmlns:a16="http://schemas.microsoft.com/office/drawing/2014/main" id="{043A3BB8-D334-433C-BECE-1142F5CBA7E9}"/>
              </a:ext>
            </a:extLst>
          </p:cNvPr>
          <p:cNvSpPr txBox="1"/>
          <p:nvPr/>
        </p:nvSpPr>
        <p:spPr>
          <a:xfrm>
            <a:off x="8017668" y="1654027"/>
            <a:ext cx="3619595" cy="446276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nl-NL" sz="2000" b="1" dirty="0">
                <a:cs typeface="+mn-cs"/>
              </a:rPr>
              <a:t>Vooral het verschil in leesvaardigheid werkt kansenongelijkheid in de hand.</a:t>
            </a:r>
          </a:p>
          <a:p>
            <a:r>
              <a:rPr lang="nl-NL" sz="2000" dirty="0">
                <a:cs typeface="+mn-cs"/>
              </a:rPr>
              <a:t>De leesvaardigheid van kinderen van hoogopgeleide ouders zit op het niveau van Noorwegen en Duitsland, terwijl kinderen van laagopgeleide ouders net zo goed presteren als kinderen in Moldavië of Montenegro</a:t>
            </a:r>
          </a:p>
          <a:p>
            <a:r>
              <a:rPr lang="nl-NL" sz="2000" b="1" dirty="0">
                <a:cs typeface="+mn-cs"/>
              </a:rPr>
              <a:t>Bijna een kwart van de Nederlandse leerlingen kan zelfs niet goed genoeg lezen om goed mee te doen in de samenleving</a:t>
            </a:r>
            <a:endParaRPr lang="en-US" sz="2000" b="1" dirty="0">
              <a:cs typeface="+mn-cs"/>
            </a:endParaRPr>
          </a:p>
        </p:txBody>
      </p:sp>
      <p:graphicFrame>
        <p:nvGraphicFramePr>
          <p:cNvPr id="133" name="Chart 132">
            <a:extLst>
              <a:ext uri="{FF2B5EF4-FFF2-40B4-BE49-F238E27FC236}">
                <a16:creationId xmlns:a16="http://schemas.microsoft.com/office/drawing/2014/main" id="{83AD9D22-4930-47E2-A6E4-1BA54CFE9C1B}"/>
              </a:ext>
            </a:extLst>
          </p:cNvPr>
          <p:cNvGraphicFramePr/>
          <p:nvPr>
            <p:custDataLst>
              <p:tags r:id="rId5"/>
            </p:custDataLst>
            <p:extLst>
              <p:ext uri="{D42A27DB-BD31-4B8C-83A1-F6EECF244321}">
                <p14:modId xmlns:p14="http://schemas.microsoft.com/office/powerpoint/2010/main" val="2835367275"/>
              </p:ext>
            </p:extLst>
          </p:nvPr>
        </p:nvGraphicFramePr>
        <p:xfrm>
          <a:off x="1771650" y="1931988"/>
          <a:ext cx="2039938" cy="4314825"/>
        </p:xfrm>
        <a:graphic>
          <a:graphicData uri="http://schemas.openxmlformats.org/drawingml/2006/chart">
            <c:chart xmlns:c="http://schemas.openxmlformats.org/drawingml/2006/chart" xmlns:r="http://schemas.openxmlformats.org/officeDocument/2006/relationships" r:id="rId110"/>
          </a:graphicData>
        </a:graphic>
      </p:graphicFrame>
      <p:sp>
        <p:nvSpPr>
          <p:cNvPr id="204" name="Text Placeholder 4">
            <a:extLst>
              <a:ext uri="{FF2B5EF4-FFF2-40B4-BE49-F238E27FC236}">
                <a16:creationId xmlns:a16="http://schemas.microsoft.com/office/drawing/2014/main" id="{4C1F3293-4EFE-461D-940D-7EE66BAE31C5}"/>
              </a:ext>
            </a:extLst>
          </p:cNvPr>
          <p:cNvSpPr>
            <a:spLocks noGrp="1"/>
          </p:cNvSpPr>
          <p:nvPr>
            <p:custDataLst>
              <p:tags r:id="rId6"/>
            </p:custDataLst>
          </p:nvPr>
        </p:nvSpPr>
        <p:spPr bwMode="gray">
          <a:xfrm>
            <a:off x="2716213" y="1858963"/>
            <a:ext cx="1524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C01E992B-C796-465F-AF8B-1021EA38512D}" type="datetime'''4''''''5''''''''''''''''''''''''''''''''''''0'''">
              <a:rPr lang="en-US" altLang="en-US" sz="800" smtClean="0">
                <a:sym typeface="+mn-lt"/>
              </a:rPr>
              <a:pPr algn="ctr">
                <a:spcBef>
                  <a:spcPct val="0"/>
                </a:spcBef>
                <a:spcAft>
                  <a:spcPct val="0"/>
                </a:spcAft>
              </a:pPr>
              <a:t>450</a:t>
            </a:fld>
            <a:endParaRPr lang="en-US" sz="800" dirty="0">
              <a:sym typeface="+mn-lt"/>
            </a:endParaRPr>
          </a:p>
        </p:txBody>
      </p:sp>
      <p:sp>
        <p:nvSpPr>
          <p:cNvPr id="104" name="Text Placeholder 4">
            <a:extLst>
              <a:ext uri="{FF2B5EF4-FFF2-40B4-BE49-F238E27FC236}">
                <a16:creationId xmlns:a16="http://schemas.microsoft.com/office/drawing/2014/main" id="{4C1F3293-4EFE-461D-940D-7EE66BAE31C5}"/>
              </a:ext>
            </a:extLst>
          </p:cNvPr>
          <p:cNvSpPr>
            <a:spLocks noGrp="1"/>
          </p:cNvSpPr>
          <p:nvPr>
            <p:custDataLst>
              <p:tags r:id="rId7"/>
            </p:custDataLst>
          </p:nvPr>
        </p:nvSpPr>
        <p:spPr bwMode="gray">
          <a:xfrm>
            <a:off x="2403475" y="1858963"/>
            <a:ext cx="1524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2CC270C1-93FC-4585-9C54-096593F0DE99}" type="datetime'4''''''0''''''''''''''''''''''0'''''''''''">
              <a:rPr lang="en-GB" altLang="en-US" sz="800" smtClean="0">
                <a:sym typeface="+mn-lt"/>
              </a:rPr>
              <a:pPr algn="ctr">
                <a:spcBef>
                  <a:spcPct val="0"/>
                </a:spcBef>
                <a:spcAft>
                  <a:spcPct val="0"/>
                </a:spcAft>
              </a:pPr>
              <a:t>400</a:t>
            </a:fld>
            <a:endParaRPr lang="en-GB" sz="800" dirty="0">
              <a:sym typeface="+mn-lt"/>
            </a:endParaRPr>
          </a:p>
        </p:txBody>
      </p:sp>
      <p:sp>
        <p:nvSpPr>
          <p:cNvPr id="203" name="Text Placeholder 4">
            <a:extLst>
              <a:ext uri="{FF2B5EF4-FFF2-40B4-BE49-F238E27FC236}">
                <a16:creationId xmlns:a16="http://schemas.microsoft.com/office/drawing/2014/main" id="{4C1F3293-4EFE-461D-940D-7EE66BAE31C5}"/>
              </a:ext>
            </a:extLst>
          </p:cNvPr>
          <p:cNvSpPr>
            <a:spLocks noGrp="1"/>
          </p:cNvSpPr>
          <p:nvPr>
            <p:custDataLst>
              <p:tags r:id="rId8"/>
            </p:custDataLst>
          </p:nvPr>
        </p:nvSpPr>
        <p:spPr bwMode="gray">
          <a:xfrm>
            <a:off x="2090738" y="1858963"/>
            <a:ext cx="1524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DCE6A530-C6A4-4B9F-A615-5E8BDA7611CB}" type="datetime'''3''''''''''''''''''''''''''''''''50'">
              <a:rPr lang="en-US" altLang="en-US" sz="800" smtClean="0">
                <a:sym typeface="+mn-lt"/>
              </a:rPr>
              <a:pPr algn="ctr">
                <a:spcBef>
                  <a:spcPct val="0"/>
                </a:spcBef>
                <a:spcAft>
                  <a:spcPct val="0"/>
                </a:spcAft>
              </a:pPr>
              <a:t>350</a:t>
            </a:fld>
            <a:endParaRPr lang="en-US" sz="800" dirty="0">
              <a:sym typeface="+mn-lt"/>
            </a:endParaRPr>
          </a:p>
        </p:txBody>
      </p:sp>
      <p:sp>
        <p:nvSpPr>
          <p:cNvPr id="105" name="Text Placeholder 4">
            <a:extLst>
              <a:ext uri="{FF2B5EF4-FFF2-40B4-BE49-F238E27FC236}">
                <a16:creationId xmlns:a16="http://schemas.microsoft.com/office/drawing/2014/main" id="{4C1F3293-4EFE-461D-940D-7EE66BAE31C5}"/>
              </a:ext>
            </a:extLst>
          </p:cNvPr>
          <p:cNvSpPr>
            <a:spLocks noGrp="1"/>
          </p:cNvSpPr>
          <p:nvPr>
            <p:custDataLst>
              <p:tags r:id="rId9"/>
            </p:custDataLst>
          </p:nvPr>
        </p:nvSpPr>
        <p:spPr bwMode="gray">
          <a:xfrm>
            <a:off x="3027363" y="1858963"/>
            <a:ext cx="1524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E4246A00-F44C-4FF2-A346-4E9B33367C8F}" type="datetime'''5''''0''''''0'''''''''''''''''''''''''''''''''">
              <a:rPr lang="en-GB" altLang="en-US" sz="800" smtClean="0">
                <a:sym typeface="+mn-lt"/>
              </a:rPr>
              <a:pPr algn="ctr">
                <a:spcBef>
                  <a:spcPct val="0"/>
                </a:spcBef>
                <a:spcAft>
                  <a:spcPct val="0"/>
                </a:spcAft>
              </a:pPr>
              <a:t>500</a:t>
            </a:fld>
            <a:endParaRPr lang="en-GB" sz="800" dirty="0">
              <a:sym typeface="+mn-lt"/>
            </a:endParaRPr>
          </a:p>
        </p:txBody>
      </p:sp>
      <p:sp>
        <p:nvSpPr>
          <p:cNvPr id="106" name="Text Placeholder 4">
            <a:extLst>
              <a:ext uri="{FF2B5EF4-FFF2-40B4-BE49-F238E27FC236}">
                <a16:creationId xmlns:a16="http://schemas.microsoft.com/office/drawing/2014/main" id="{4C1F3293-4EFE-461D-940D-7EE66BAE31C5}"/>
              </a:ext>
            </a:extLst>
          </p:cNvPr>
          <p:cNvSpPr>
            <a:spLocks noGrp="1"/>
          </p:cNvSpPr>
          <p:nvPr>
            <p:custDataLst>
              <p:tags r:id="rId10"/>
            </p:custDataLst>
          </p:nvPr>
        </p:nvSpPr>
        <p:spPr bwMode="gray">
          <a:xfrm>
            <a:off x="3652838" y="1858963"/>
            <a:ext cx="1524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B81F5204-32C7-4955-A879-6E6482E1A6A0}" type="datetime'''''''''''''6''''''''''''''''''''''''''''''0''''''''''''0'''''">
              <a:rPr lang="en-GB" altLang="en-US" sz="800" smtClean="0">
                <a:sym typeface="+mn-lt"/>
              </a:rPr>
              <a:pPr algn="ctr">
                <a:spcBef>
                  <a:spcPct val="0"/>
                </a:spcBef>
                <a:spcAft>
                  <a:spcPct val="0"/>
                </a:spcAft>
              </a:pPr>
              <a:t>600</a:t>
            </a:fld>
            <a:endParaRPr lang="en-GB" sz="800" dirty="0">
              <a:sym typeface="+mn-lt"/>
            </a:endParaRPr>
          </a:p>
        </p:txBody>
      </p:sp>
      <p:sp>
        <p:nvSpPr>
          <p:cNvPr id="103" name="Text Placeholder 4">
            <a:extLst>
              <a:ext uri="{FF2B5EF4-FFF2-40B4-BE49-F238E27FC236}">
                <a16:creationId xmlns:a16="http://schemas.microsoft.com/office/drawing/2014/main" id="{4C1F3293-4EFE-461D-940D-7EE66BAE31C5}"/>
              </a:ext>
            </a:extLst>
          </p:cNvPr>
          <p:cNvSpPr>
            <a:spLocks noGrp="1"/>
          </p:cNvSpPr>
          <p:nvPr>
            <p:custDataLst>
              <p:tags r:id="rId11"/>
            </p:custDataLst>
          </p:nvPr>
        </p:nvSpPr>
        <p:spPr bwMode="gray">
          <a:xfrm>
            <a:off x="1778000" y="1858963"/>
            <a:ext cx="1524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DE4C86B6-8062-4E36-BECA-6F262108B850}" type="datetime'''''''''3''''''''''''''''''''''''''''''''''''0''''0'''''">
              <a:rPr lang="en-GB" altLang="en-US" sz="800" smtClean="0">
                <a:sym typeface="+mn-lt"/>
              </a:rPr>
              <a:pPr algn="ctr">
                <a:spcBef>
                  <a:spcPct val="0"/>
                </a:spcBef>
                <a:spcAft>
                  <a:spcPct val="0"/>
                </a:spcAft>
              </a:pPr>
              <a:t>300</a:t>
            </a:fld>
            <a:endParaRPr lang="en-GB" sz="800" dirty="0">
              <a:sym typeface="+mn-lt"/>
            </a:endParaRPr>
          </a:p>
        </p:txBody>
      </p:sp>
      <p:sp>
        <p:nvSpPr>
          <p:cNvPr id="205" name="Text Placeholder 4">
            <a:extLst>
              <a:ext uri="{FF2B5EF4-FFF2-40B4-BE49-F238E27FC236}">
                <a16:creationId xmlns:a16="http://schemas.microsoft.com/office/drawing/2014/main" id="{4C1F3293-4EFE-461D-940D-7EE66BAE31C5}"/>
              </a:ext>
            </a:extLst>
          </p:cNvPr>
          <p:cNvSpPr>
            <a:spLocks noGrp="1"/>
          </p:cNvSpPr>
          <p:nvPr>
            <p:custDataLst>
              <p:tags r:id="rId12"/>
            </p:custDataLst>
          </p:nvPr>
        </p:nvSpPr>
        <p:spPr bwMode="gray">
          <a:xfrm>
            <a:off x="3340100" y="1858963"/>
            <a:ext cx="1524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25BBBE3A-64BB-4F1D-BE54-B6989EAE038F}" type="datetime'''''''''''''''5''''''''''''''''5''''''''''''0'''''''''''''''">
              <a:rPr lang="en-US" altLang="en-US" sz="800" smtClean="0">
                <a:sym typeface="+mn-lt"/>
              </a:rPr>
              <a:pPr algn="ctr">
                <a:spcBef>
                  <a:spcPct val="0"/>
                </a:spcBef>
                <a:spcAft>
                  <a:spcPct val="0"/>
                </a:spcAft>
              </a:pPr>
              <a:t>550</a:t>
            </a:fld>
            <a:endParaRPr lang="en-US" sz="800" dirty="0">
              <a:sym typeface="+mn-lt"/>
            </a:endParaRPr>
          </a:p>
        </p:txBody>
      </p:sp>
      <p:sp>
        <p:nvSpPr>
          <p:cNvPr id="442" name="Text Placeholder 4">
            <a:extLst>
              <a:ext uri="{FF2B5EF4-FFF2-40B4-BE49-F238E27FC236}">
                <a16:creationId xmlns:a16="http://schemas.microsoft.com/office/drawing/2014/main" id="{C8A3B4CE-24AD-43F3-86FA-1C731227ADBD}"/>
              </a:ext>
            </a:extLst>
          </p:cNvPr>
          <p:cNvSpPr>
            <a:spLocks noGrp="1"/>
          </p:cNvSpPr>
          <p:nvPr>
            <p:custDataLst>
              <p:tags r:id="rId13"/>
            </p:custDataLst>
          </p:nvPr>
        </p:nvSpPr>
        <p:spPr bwMode="auto">
          <a:xfrm>
            <a:off x="558800" y="5221288"/>
            <a:ext cx="2063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82F9E17C-D9DC-4AC7-8A49-5E89AED6488F}" type="datetime'''''I''''''''''''''''''t''''al''''''''''''''''ië'''">
              <a:rPr lang="en-US" altLang="en-US" sz="800" smtClean="0"/>
              <a:pPr/>
              <a:t>Italië</a:t>
            </a:fld>
            <a:endParaRPr lang="en-US" sz="800" dirty="0">
              <a:sym typeface="+mn-lt"/>
            </a:endParaRPr>
          </a:p>
        </p:txBody>
      </p:sp>
      <p:sp>
        <p:nvSpPr>
          <p:cNvPr id="24" name="Text Placeholder 4">
            <a:extLst>
              <a:ext uri="{FF2B5EF4-FFF2-40B4-BE49-F238E27FC236}">
                <a16:creationId xmlns:a16="http://schemas.microsoft.com/office/drawing/2014/main" id="{DBE7A6A5-5070-455E-BA94-A2B7E593174A}"/>
              </a:ext>
            </a:extLst>
          </p:cNvPr>
          <p:cNvSpPr>
            <a:spLocks noGrp="1"/>
          </p:cNvSpPr>
          <p:nvPr>
            <p:custDataLst>
              <p:tags r:id="rId14"/>
            </p:custDataLst>
          </p:nvPr>
        </p:nvSpPr>
        <p:spPr bwMode="auto">
          <a:xfrm>
            <a:off x="558800" y="2005013"/>
            <a:ext cx="23495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32EA9AB4-C554-4CD0-84F1-231C285D4B42}" type="datetime'''''C''''''''''''''''''''''hi''''na'''''''''">
              <a:rPr lang="en-US" altLang="en-US" sz="800" smtClean="0"/>
              <a:pPr/>
              <a:t>China</a:t>
            </a:fld>
            <a:endParaRPr lang="en-US" sz="800" dirty="0">
              <a:sym typeface="+mn-lt"/>
            </a:endParaRPr>
          </a:p>
        </p:txBody>
      </p:sp>
      <p:sp>
        <p:nvSpPr>
          <p:cNvPr id="125" name="Text Placeholder 4">
            <a:extLst>
              <a:ext uri="{FF2B5EF4-FFF2-40B4-BE49-F238E27FC236}">
                <a16:creationId xmlns:a16="http://schemas.microsoft.com/office/drawing/2014/main" id="{597C7A9E-E21D-4D93-905C-1D3CBD8DBEA3}"/>
              </a:ext>
            </a:extLst>
          </p:cNvPr>
          <p:cNvSpPr>
            <a:spLocks noGrp="1"/>
          </p:cNvSpPr>
          <p:nvPr>
            <p:custDataLst>
              <p:tags r:id="rId15"/>
            </p:custDataLst>
          </p:nvPr>
        </p:nvSpPr>
        <p:spPr bwMode="auto">
          <a:xfrm>
            <a:off x="558800" y="5740400"/>
            <a:ext cx="122872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sz="800" b="1" dirty="0">
                <a:solidFill>
                  <a:schemeClr val="accent2"/>
                </a:solidFill>
              </a:rPr>
              <a:t>NL – Middelopgeleide ouders</a:t>
            </a:r>
            <a:endParaRPr lang="en-US" sz="800" b="1" dirty="0">
              <a:solidFill>
                <a:schemeClr val="accent2"/>
              </a:solidFill>
              <a:sym typeface="+mn-lt"/>
            </a:endParaRPr>
          </a:p>
        </p:txBody>
      </p:sp>
      <p:sp>
        <p:nvSpPr>
          <p:cNvPr id="29" name="Text Placeholder 4">
            <a:extLst>
              <a:ext uri="{FF2B5EF4-FFF2-40B4-BE49-F238E27FC236}">
                <a16:creationId xmlns:a16="http://schemas.microsoft.com/office/drawing/2014/main" id="{966B7A12-095D-4E88-A116-2DE3CD7EC747}"/>
              </a:ext>
            </a:extLst>
          </p:cNvPr>
          <p:cNvSpPr>
            <a:spLocks noGrp="1"/>
          </p:cNvSpPr>
          <p:nvPr>
            <p:custDataLst>
              <p:tags r:id="rId16"/>
            </p:custDataLst>
          </p:nvPr>
        </p:nvSpPr>
        <p:spPr bwMode="auto">
          <a:xfrm>
            <a:off x="558800" y="2109788"/>
            <a:ext cx="414338"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FD01ACD2-1B2D-4888-8373-77172851264E}" type="datetime'Sin''''''''g''a''''''''po''r''''''''e'''''''''''''''">
              <a:rPr lang="en-US" altLang="en-US" sz="800" smtClean="0"/>
              <a:pPr/>
              <a:t>Singapore</a:t>
            </a:fld>
            <a:endParaRPr lang="en-US" sz="800" dirty="0">
              <a:sym typeface="+mn-lt"/>
            </a:endParaRPr>
          </a:p>
        </p:txBody>
      </p:sp>
      <p:sp>
        <p:nvSpPr>
          <p:cNvPr id="36" name="Text Placeholder 4">
            <a:extLst>
              <a:ext uri="{FF2B5EF4-FFF2-40B4-BE49-F238E27FC236}">
                <a16:creationId xmlns:a16="http://schemas.microsoft.com/office/drawing/2014/main" id="{5C07889B-91F7-4DC5-98F5-53F9D117F143}"/>
              </a:ext>
            </a:extLst>
          </p:cNvPr>
          <p:cNvSpPr>
            <a:spLocks noGrp="1"/>
          </p:cNvSpPr>
          <p:nvPr>
            <p:custDataLst>
              <p:tags r:id="rId17"/>
            </p:custDataLst>
          </p:nvPr>
        </p:nvSpPr>
        <p:spPr bwMode="auto">
          <a:xfrm>
            <a:off x="558800" y="2732088"/>
            <a:ext cx="452438"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83962C71-FA90-4E0A-8AB4-E280809599DD}" type="datetime'''Z''''ui''''''''''''''d-''''''''''Ko''''''''r''''''''ea'''">
              <a:rPr lang="en-US" altLang="en-US" sz="800" smtClean="0"/>
              <a:pPr/>
              <a:t>Zuid-Korea</a:t>
            </a:fld>
            <a:endParaRPr lang="en-US" sz="800" dirty="0">
              <a:sym typeface="+mn-lt"/>
            </a:endParaRPr>
          </a:p>
        </p:txBody>
      </p:sp>
      <p:sp>
        <p:nvSpPr>
          <p:cNvPr id="25" name="Text Placeholder 4">
            <a:extLst>
              <a:ext uri="{FF2B5EF4-FFF2-40B4-BE49-F238E27FC236}">
                <a16:creationId xmlns:a16="http://schemas.microsoft.com/office/drawing/2014/main" id="{76194AB6-E3F1-407F-AAD1-E24BBC9B8384}"/>
              </a:ext>
            </a:extLst>
          </p:cNvPr>
          <p:cNvSpPr>
            <a:spLocks noGrp="1"/>
          </p:cNvSpPr>
          <p:nvPr>
            <p:custDataLst>
              <p:tags r:id="rId18"/>
            </p:custDataLst>
          </p:nvPr>
        </p:nvSpPr>
        <p:spPr bwMode="auto">
          <a:xfrm>
            <a:off x="558800" y="2212975"/>
            <a:ext cx="77152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69C5A044-634A-4E5B-BE7C-69DC7C8332DB}" type="datetime'''''Ho''n''''g'''' K''''''on''g''/''''''''''''''M''''''a''cau'">
              <a:rPr lang="en-US" altLang="en-US" sz="800" smtClean="0"/>
              <a:pPr/>
              <a:t>Hong Kong/Macau</a:t>
            </a:fld>
            <a:endParaRPr lang="en-US" sz="800" dirty="0">
              <a:sym typeface="+mn-lt"/>
            </a:endParaRPr>
          </a:p>
        </p:txBody>
      </p:sp>
      <p:sp>
        <p:nvSpPr>
          <p:cNvPr id="445" name="Text Placeholder 4">
            <a:extLst>
              <a:ext uri="{FF2B5EF4-FFF2-40B4-BE49-F238E27FC236}">
                <a16:creationId xmlns:a16="http://schemas.microsoft.com/office/drawing/2014/main" id="{29EA42B8-DD9D-4745-BBA5-C4D36F1A0FC1}"/>
              </a:ext>
            </a:extLst>
          </p:cNvPr>
          <p:cNvSpPr>
            <a:spLocks noGrp="1"/>
          </p:cNvSpPr>
          <p:nvPr>
            <p:custDataLst>
              <p:tags r:id="rId19"/>
            </p:custDataLst>
          </p:nvPr>
        </p:nvSpPr>
        <p:spPr bwMode="auto">
          <a:xfrm>
            <a:off x="558800" y="5532438"/>
            <a:ext cx="27781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40BB9F85-A8FF-46E8-A3EC-76AE16E15C78}" type="datetime'''''''''''''''I''''J''s''''''la''''n''''''''''''''d'''''">
              <a:rPr lang="en-US" altLang="en-US" sz="800" smtClean="0"/>
              <a:pPr/>
              <a:t>IJsland</a:t>
            </a:fld>
            <a:endParaRPr lang="en-US" sz="800" dirty="0">
              <a:sym typeface="+mn-lt"/>
            </a:endParaRPr>
          </a:p>
        </p:txBody>
      </p:sp>
      <p:sp>
        <p:nvSpPr>
          <p:cNvPr id="30" name="Text Placeholder 4">
            <a:extLst>
              <a:ext uri="{FF2B5EF4-FFF2-40B4-BE49-F238E27FC236}">
                <a16:creationId xmlns:a16="http://schemas.microsoft.com/office/drawing/2014/main" id="{AEDDC430-7C9C-4E76-97D1-81166DADE8C1}"/>
              </a:ext>
            </a:extLst>
          </p:cNvPr>
          <p:cNvSpPr>
            <a:spLocks noGrp="1"/>
          </p:cNvSpPr>
          <p:nvPr>
            <p:custDataLst>
              <p:tags r:id="rId20"/>
            </p:custDataLst>
          </p:nvPr>
        </p:nvSpPr>
        <p:spPr bwMode="auto">
          <a:xfrm>
            <a:off x="558800" y="2316163"/>
            <a:ext cx="30321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869160BA-F2D8-4FD0-AC3F-2D90AB0F7437}" type="datetime'E''''''''s''''''''''''''t''''''''''l''''''''an''''''''d'''''''">
              <a:rPr lang="en-US" altLang="en-US" sz="800" smtClean="0"/>
              <a:pPr/>
              <a:t>Estland</a:t>
            </a:fld>
            <a:endParaRPr lang="en-US" sz="800" dirty="0">
              <a:sym typeface="+mn-lt"/>
            </a:endParaRPr>
          </a:p>
        </p:txBody>
      </p:sp>
      <p:sp>
        <p:nvSpPr>
          <p:cNvPr id="447" name="Text Placeholder 4">
            <a:extLst>
              <a:ext uri="{FF2B5EF4-FFF2-40B4-BE49-F238E27FC236}">
                <a16:creationId xmlns:a16="http://schemas.microsoft.com/office/drawing/2014/main" id="{66C63EF1-44A5-4CB4-9A4C-88A7377A2BE4}"/>
              </a:ext>
            </a:extLst>
          </p:cNvPr>
          <p:cNvSpPr>
            <a:spLocks noGrp="1"/>
          </p:cNvSpPr>
          <p:nvPr>
            <p:custDataLst>
              <p:tags r:id="rId21"/>
            </p:custDataLst>
          </p:nvPr>
        </p:nvSpPr>
        <p:spPr bwMode="auto">
          <a:xfrm>
            <a:off x="558800" y="5843588"/>
            <a:ext cx="223838"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4EF84AD5-12C2-48EA-B10B-5FC96EC43CA3}" type="datetime'''''''''Is''''''''''''''''''r''a''''ë''''''''''''''''''''l'''">
              <a:rPr lang="en-US" altLang="en-US" sz="800" smtClean="0"/>
              <a:pPr/>
              <a:t>Israël</a:t>
            </a:fld>
            <a:endParaRPr lang="en-US" sz="800" dirty="0">
              <a:sym typeface="+mn-lt"/>
            </a:endParaRPr>
          </a:p>
        </p:txBody>
      </p:sp>
      <p:sp>
        <p:nvSpPr>
          <p:cNvPr id="37" name="Text Placeholder 4">
            <a:extLst>
              <a:ext uri="{FF2B5EF4-FFF2-40B4-BE49-F238E27FC236}">
                <a16:creationId xmlns:a16="http://schemas.microsoft.com/office/drawing/2014/main" id="{75628887-9FDD-45A8-B29B-CB569F1EB8E6}"/>
              </a:ext>
            </a:extLst>
          </p:cNvPr>
          <p:cNvSpPr>
            <a:spLocks noGrp="1"/>
          </p:cNvSpPr>
          <p:nvPr>
            <p:custDataLst>
              <p:tags r:id="rId22"/>
            </p:custDataLst>
          </p:nvPr>
        </p:nvSpPr>
        <p:spPr bwMode="auto">
          <a:xfrm>
            <a:off x="558800" y="2835275"/>
            <a:ext cx="23495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CC7CAEE5-184F-4CC0-A4A0-D0B2BD49B2A0}" type="datetime'P''''''''o''''l''''''''''''''''''e''''''''''n'''''''''''''''''">
              <a:rPr lang="en-US" altLang="en-US" sz="800" smtClean="0"/>
              <a:pPr/>
              <a:t>Polen</a:t>
            </a:fld>
            <a:endParaRPr lang="en-US" sz="800" dirty="0">
              <a:sym typeface="+mn-lt"/>
            </a:endParaRPr>
          </a:p>
        </p:txBody>
      </p:sp>
      <p:sp>
        <p:nvSpPr>
          <p:cNvPr id="33" name="Text Placeholder 4">
            <a:extLst>
              <a:ext uri="{FF2B5EF4-FFF2-40B4-BE49-F238E27FC236}">
                <a16:creationId xmlns:a16="http://schemas.microsoft.com/office/drawing/2014/main" id="{4556D97B-947C-4113-B23C-89B00C8F5025}"/>
              </a:ext>
            </a:extLst>
          </p:cNvPr>
          <p:cNvSpPr>
            <a:spLocks noGrp="1"/>
          </p:cNvSpPr>
          <p:nvPr>
            <p:custDataLst>
              <p:tags r:id="rId23"/>
            </p:custDataLst>
          </p:nvPr>
        </p:nvSpPr>
        <p:spPr bwMode="auto">
          <a:xfrm>
            <a:off x="558800" y="2420938"/>
            <a:ext cx="30956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9852344A-383C-4013-8080-43E2B6F10A13}" type="datetime'''''C''''''''''''''''''''''''a''''''''n''''ad''a'''''''''">
              <a:rPr lang="en-US" altLang="en-US" sz="800" smtClean="0"/>
              <a:pPr/>
              <a:t>Canada</a:t>
            </a:fld>
            <a:endParaRPr lang="en-US" sz="800" dirty="0">
              <a:sym typeface="+mn-lt"/>
            </a:endParaRPr>
          </a:p>
        </p:txBody>
      </p:sp>
      <p:sp>
        <p:nvSpPr>
          <p:cNvPr id="71" name="Text Placeholder 4">
            <a:extLst>
              <a:ext uri="{FF2B5EF4-FFF2-40B4-BE49-F238E27FC236}">
                <a16:creationId xmlns:a16="http://schemas.microsoft.com/office/drawing/2014/main" id="{7B3A6F19-9065-4088-B396-B31F3699918F}"/>
              </a:ext>
            </a:extLst>
          </p:cNvPr>
          <p:cNvSpPr>
            <a:spLocks noGrp="1"/>
          </p:cNvSpPr>
          <p:nvPr>
            <p:custDataLst>
              <p:tags r:id="rId24"/>
            </p:custDataLst>
          </p:nvPr>
        </p:nvSpPr>
        <p:spPr bwMode="auto">
          <a:xfrm>
            <a:off x="558800" y="4391025"/>
            <a:ext cx="34925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ADED83C6-A1FC-472A-9D07-E7BE584D3FB1}" type="datetime'P''''''''''''''''o''''''''''''''''''rtu''''''''''''g''al'''''">
              <a:rPr lang="en-US" altLang="en-US" sz="800" smtClean="0"/>
              <a:pPr/>
              <a:t>Portugal</a:t>
            </a:fld>
            <a:endParaRPr lang="en-US" sz="800" dirty="0">
              <a:sym typeface="+mn-lt"/>
            </a:endParaRPr>
          </a:p>
        </p:txBody>
      </p:sp>
      <p:sp>
        <p:nvSpPr>
          <p:cNvPr id="39" name="Text Placeholder 4">
            <a:extLst>
              <a:ext uri="{FF2B5EF4-FFF2-40B4-BE49-F238E27FC236}">
                <a16:creationId xmlns:a16="http://schemas.microsoft.com/office/drawing/2014/main" id="{F11B491D-1DA0-416F-A71E-C8345B3DFD81}"/>
              </a:ext>
            </a:extLst>
          </p:cNvPr>
          <p:cNvSpPr>
            <a:spLocks noGrp="1"/>
          </p:cNvSpPr>
          <p:nvPr>
            <p:custDataLst>
              <p:tags r:id="rId25"/>
            </p:custDataLst>
          </p:nvPr>
        </p:nvSpPr>
        <p:spPr bwMode="auto">
          <a:xfrm>
            <a:off x="558800" y="3146425"/>
            <a:ext cx="712788"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21F82D7A-0FB8-4F16-A1FC-E9AB03ED3F08}" type="datetime'''Ve''r''''''''e''''nigd''''''e'''''''' ''Stat''''''''e''n'">
              <a:rPr lang="en-US" altLang="en-US" sz="800" smtClean="0"/>
              <a:pPr/>
              <a:t>Verenigde Staten</a:t>
            </a:fld>
            <a:endParaRPr lang="en-US" sz="800" dirty="0">
              <a:sym typeface="+mn-lt"/>
            </a:endParaRPr>
          </a:p>
        </p:txBody>
      </p:sp>
      <p:sp>
        <p:nvSpPr>
          <p:cNvPr id="34" name="Text Placeholder 4">
            <a:extLst>
              <a:ext uri="{FF2B5EF4-FFF2-40B4-BE49-F238E27FC236}">
                <a16:creationId xmlns:a16="http://schemas.microsoft.com/office/drawing/2014/main" id="{C8FA4E82-A76B-4769-BC04-DF67D2075C24}"/>
              </a:ext>
            </a:extLst>
          </p:cNvPr>
          <p:cNvSpPr>
            <a:spLocks noGrp="1"/>
          </p:cNvSpPr>
          <p:nvPr>
            <p:custDataLst>
              <p:tags r:id="rId26"/>
            </p:custDataLst>
          </p:nvPr>
        </p:nvSpPr>
        <p:spPr bwMode="auto">
          <a:xfrm>
            <a:off x="558800" y="2524125"/>
            <a:ext cx="3048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37E53236-91DA-4C97-AAEA-CAF50A4D0A32}" type="datetime'''''''F''''''''''''''''i''nla''n''''d'''''''''''''''">
              <a:rPr lang="en-US" altLang="en-US" sz="800" smtClean="0"/>
              <a:pPr/>
              <a:t>Finland</a:t>
            </a:fld>
            <a:endParaRPr lang="en-US" sz="800" dirty="0">
              <a:sym typeface="+mn-lt"/>
            </a:endParaRPr>
          </a:p>
        </p:txBody>
      </p:sp>
      <p:sp>
        <p:nvSpPr>
          <p:cNvPr id="41" name="Text Placeholder 4">
            <a:extLst>
              <a:ext uri="{FF2B5EF4-FFF2-40B4-BE49-F238E27FC236}">
                <a16:creationId xmlns:a16="http://schemas.microsoft.com/office/drawing/2014/main" id="{573261D8-9D68-4490-AB64-FD09F100B417}"/>
              </a:ext>
            </a:extLst>
          </p:cNvPr>
          <p:cNvSpPr>
            <a:spLocks noGrp="1"/>
          </p:cNvSpPr>
          <p:nvPr>
            <p:custDataLst>
              <p:tags r:id="rId27"/>
            </p:custDataLst>
          </p:nvPr>
        </p:nvSpPr>
        <p:spPr bwMode="auto">
          <a:xfrm>
            <a:off x="558800" y="3457575"/>
            <a:ext cx="3683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sz="800" dirty="0"/>
              <a:t>Australië</a:t>
            </a:r>
            <a:endParaRPr lang="en-US" sz="800" dirty="0">
              <a:sym typeface="+mn-lt"/>
            </a:endParaRPr>
          </a:p>
        </p:txBody>
      </p:sp>
      <p:sp>
        <p:nvSpPr>
          <p:cNvPr id="38" name="Text Placeholder 4">
            <a:extLst>
              <a:ext uri="{FF2B5EF4-FFF2-40B4-BE49-F238E27FC236}">
                <a16:creationId xmlns:a16="http://schemas.microsoft.com/office/drawing/2014/main" id="{771984AF-2E5B-4694-A119-CC8B439F8477}"/>
              </a:ext>
            </a:extLst>
          </p:cNvPr>
          <p:cNvSpPr>
            <a:spLocks noGrp="1"/>
          </p:cNvSpPr>
          <p:nvPr>
            <p:custDataLst>
              <p:tags r:id="rId28"/>
            </p:custDataLst>
          </p:nvPr>
        </p:nvSpPr>
        <p:spPr bwMode="auto">
          <a:xfrm>
            <a:off x="558800" y="2940050"/>
            <a:ext cx="3302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62EC6423-FFB2-49D8-907F-F4F6915CC258}" type="datetime'''''''''''''''''''''''Z''''''''''w''''''''e''d''''''e''''n'''">
              <a:rPr lang="en-US" altLang="en-US" sz="800" smtClean="0"/>
              <a:pPr/>
              <a:t>Zweden</a:t>
            </a:fld>
            <a:endParaRPr lang="en-US" sz="800" dirty="0">
              <a:sym typeface="+mn-lt"/>
            </a:endParaRPr>
          </a:p>
        </p:txBody>
      </p:sp>
      <p:sp>
        <p:nvSpPr>
          <p:cNvPr id="27" name="Text Placeholder 4">
            <a:extLst>
              <a:ext uri="{FF2B5EF4-FFF2-40B4-BE49-F238E27FC236}">
                <a16:creationId xmlns:a16="http://schemas.microsoft.com/office/drawing/2014/main" id="{F75CD66F-E3AE-4CB0-B5DC-77CDBC99FD74}"/>
              </a:ext>
            </a:extLst>
          </p:cNvPr>
          <p:cNvSpPr>
            <a:spLocks noGrp="1"/>
          </p:cNvSpPr>
          <p:nvPr>
            <p:custDataLst>
              <p:tags r:id="rId29"/>
            </p:custDataLst>
          </p:nvPr>
        </p:nvSpPr>
        <p:spPr bwMode="auto">
          <a:xfrm>
            <a:off x="558800" y="3043238"/>
            <a:ext cx="62865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5B83286A-99BB-4FE3-A82D-8BB27D50AA3F}" type="datetime'''Nie''uw''''''''-''Z''''''''''''''ee''la''''n''''''''d'">
              <a:rPr lang="en-US" altLang="en-US" sz="800" smtClean="0"/>
              <a:pPr/>
              <a:t>Nieuw-Zeeland</a:t>
            </a:fld>
            <a:endParaRPr lang="en-US" sz="800" dirty="0">
              <a:sym typeface="+mn-lt"/>
            </a:endParaRPr>
          </a:p>
        </p:txBody>
      </p:sp>
      <p:sp>
        <p:nvSpPr>
          <p:cNvPr id="26" name="Text Placeholder 4">
            <a:extLst>
              <a:ext uri="{FF2B5EF4-FFF2-40B4-BE49-F238E27FC236}">
                <a16:creationId xmlns:a16="http://schemas.microsoft.com/office/drawing/2014/main" id="{7886A45B-41D0-42CE-A913-B30EFAC6F870}"/>
              </a:ext>
            </a:extLst>
          </p:cNvPr>
          <p:cNvSpPr>
            <a:spLocks noGrp="1"/>
          </p:cNvSpPr>
          <p:nvPr>
            <p:custDataLst>
              <p:tags r:id="rId30"/>
            </p:custDataLst>
          </p:nvPr>
        </p:nvSpPr>
        <p:spPr bwMode="auto">
          <a:xfrm>
            <a:off x="558800" y="3251200"/>
            <a:ext cx="808038"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9BFE6F89-1874-4A00-837A-3865D5BE1D2B}" type="datetime'V''''''''''e''r''''e''n''ig''''''d'' K''''''o''n''i''nk''rijk'">
              <a:rPr lang="en-US" altLang="en-US" sz="800" smtClean="0"/>
              <a:pPr/>
              <a:t>Verenigd Koninkrijk</a:t>
            </a:fld>
            <a:endParaRPr lang="en-US" sz="800" dirty="0">
              <a:sym typeface="+mn-lt"/>
            </a:endParaRPr>
          </a:p>
        </p:txBody>
      </p:sp>
      <p:sp>
        <p:nvSpPr>
          <p:cNvPr id="40" name="Text Placeholder 4">
            <a:extLst>
              <a:ext uri="{FF2B5EF4-FFF2-40B4-BE49-F238E27FC236}">
                <a16:creationId xmlns:a16="http://schemas.microsoft.com/office/drawing/2014/main" id="{12FFB44A-7521-45C8-BB3A-011DDADD2984}"/>
              </a:ext>
            </a:extLst>
          </p:cNvPr>
          <p:cNvSpPr>
            <a:spLocks noGrp="1"/>
          </p:cNvSpPr>
          <p:nvPr>
            <p:custDataLst>
              <p:tags r:id="rId31"/>
            </p:custDataLst>
          </p:nvPr>
        </p:nvSpPr>
        <p:spPr bwMode="auto">
          <a:xfrm>
            <a:off x="558800" y="3354388"/>
            <a:ext cx="23812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F04F69FA-FDF5-4078-8896-EA39582C4BF1}" type="datetime'''''''''''''''''''''''''''J''''''a''p''''''''''''''''''''''an'">
              <a:rPr lang="en-US" altLang="en-US" sz="800" smtClean="0"/>
              <a:pPr/>
              <a:t>Japan</a:t>
            </a:fld>
            <a:endParaRPr lang="en-US" sz="800" dirty="0">
              <a:sym typeface="+mn-lt"/>
            </a:endParaRPr>
          </a:p>
        </p:txBody>
      </p:sp>
      <p:sp>
        <p:nvSpPr>
          <p:cNvPr id="42" name="Text Placeholder 4">
            <a:extLst>
              <a:ext uri="{FF2B5EF4-FFF2-40B4-BE49-F238E27FC236}">
                <a16:creationId xmlns:a16="http://schemas.microsoft.com/office/drawing/2014/main" id="{BCF253D1-82FE-4732-B526-01E526CCC648}"/>
              </a:ext>
            </a:extLst>
          </p:cNvPr>
          <p:cNvSpPr>
            <a:spLocks noGrp="1"/>
          </p:cNvSpPr>
          <p:nvPr>
            <p:custDataLst>
              <p:tags r:id="rId32"/>
            </p:custDataLst>
          </p:nvPr>
        </p:nvSpPr>
        <p:spPr bwMode="auto">
          <a:xfrm>
            <a:off x="558800" y="3562350"/>
            <a:ext cx="29845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7D4950C0-1AC1-4FC6-B11E-3E33CD31E75F}" type="datetime'''''T''''a''''''''''''''''''''i''''''''''''wa''''''''''''''n'">
              <a:rPr lang="en-US" altLang="en-US" sz="800" smtClean="0"/>
              <a:pPr/>
              <a:t>Taiwan</a:t>
            </a:fld>
            <a:endParaRPr lang="en-US" sz="800" dirty="0">
              <a:sym typeface="+mn-lt"/>
            </a:endParaRPr>
          </a:p>
        </p:txBody>
      </p:sp>
      <p:sp>
        <p:nvSpPr>
          <p:cNvPr id="43" name="Text Placeholder 4">
            <a:extLst>
              <a:ext uri="{FF2B5EF4-FFF2-40B4-BE49-F238E27FC236}">
                <a16:creationId xmlns:a16="http://schemas.microsoft.com/office/drawing/2014/main" id="{6B4F01CA-21E6-4F30-9F9C-622F3643F257}"/>
              </a:ext>
            </a:extLst>
          </p:cNvPr>
          <p:cNvSpPr>
            <a:spLocks noGrp="1"/>
          </p:cNvSpPr>
          <p:nvPr>
            <p:custDataLst>
              <p:tags r:id="rId33"/>
            </p:custDataLst>
          </p:nvPr>
        </p:nvSpPr>
        <p:spPr bwMode="auto">
          <a:xfrm>
            <a:off x="558800" y="3665538"/>
            <a:ext cx="5334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2E12A781-3FE0-407B-B47D-E01C1469AEC8}" type="datetime'D''e''n''''''''e''m''''''''''''''''''''''ark''''''''''e''''n'">
              <a:rPr lang="en-US" altLang="en-US" sz="800" smtClean="0"/>
              <a:pPr/>
              <a:t>Denemarken</a:t>
            </a:fld>
            <a:endParaRPr lang="en-US" sz="800" dirty="0">
              <a:sym typeface="+mn-lt"/>
            </a:endParaRPr>
          </a:p>
        </p:txBody>
      </p:sp>
      <p:sp>
        <p:nvSpPr>
          <p:cNvPr id="32" name="Text Placeholder 4">
            <a:extLst>
              <a:ext uri="{FF2B5EF4-FFF2-40B4-BE49-F238E27FC236}">
                <a16:creationId xmlns:a16="http://schemas.microsoft.com/office/drawing/2014/main" id="{F59978CE-461F-4599-A857-3B3135958898}"/>
              </a:ext>
            </a:extLst>
          </p:cNvPr>
          <p:cNvSpPr>
            <a:spLocks noGrp="1"/>
          </p:cNvSpPr>
          <p:nvPr>
            <p:custDataLst>
              <p:tags r:id="rId34"/>
            </p:custDataLst>
          </p:nvPr>
        </p:nvSpPr>
        <p:spPr bwMode="auto">
          <a:xfrm>
            <a:off x="558800" y="3768725"/>
            <a:ext cx="484188"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06659D08-EEC6-4A90-8D6A-335270564B2A}" type="datetime'N''''''''oor''''''w''e''''g''''''''''''''e''''''n'''''">
              <a:rPr lang="en-US" altLang="en-US" sz="800" smtClean="0"/>
              <a:pPr/>
              <a:t>Noorwegen</a:t>
            </a:fld>
            <a:endParaRPr lang="en-US" sz="800" dirty="0">
              <a:sym typeface="+mn-lt"/>
            </a:endParaRPr>
          </a:p>
        </p:txBody>
      </p:sp>
      <p:sp>
        <p:nvSpPr>
          <p:cNvPr id="67" name="Text Placeholder 4">
            <a:extLst>
              <a:ext uri="{FF2B5EF4-FFF2-40B4-BE49-F238E27FC236}">
                <a16:creationId xmlns:a16="http://schemas.microsoft.com/office/drawing/2014/main" id="{A9F7470C-BA49-4FF0-BE1E-6F0C75B01C47}"/>
              </a:ext>
            </a:extLst>
          </p:cNvPr>
          <p:cNvSpPr>
            <a:spLocks noGrp="1"/>
          </p:cNvSpPr>
          <p:nvPr>
            <p:custDataLst>
              <p:tags r:id="rId35"/>
            </p:custDataLst>
          </p:nvPr>
        </p:nvSpPr>
        <p:spPr bwMode="auto">
          <a:xfrm>
            <a:off x="558800" y="4184650"/>
            <a:ext cx="3587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340870E2-79BE-4E5C-9BAB-33B7E2F3D532}" type="datetime'F''r''''''''a''''''''n''''''''''k''''''''r''''''''''i''''jk'''">
              <a:rPr lang="en-US" altLang="en-US" sz="800" smtClean="0"/>
              <a:pPr/>
              <a:t>Frankrijk</a:t>
            </a:fld>
            <a:endParaRPr lang="en-US" sz="800" dirty="0">
              <a:sym typeface="+mn-lt"/>
            </a:endParaRPr>
          </a:p>
        </p:txBody>
      </p:sp>
      <p:sp>
        <p:nvSpPr>
          <p:cNvPr id="114" name="Text Placeholder 4">
            <a:extLst>
              <a:ext uri="{FF2B5EF4-FFF2-40B4-BE49-F238E27FC236}">
                <a16:creationId xmlns:a16="http://schemas.microsoft.com/office/drawing/2014/main" id="{0D462042-10F1-47E7-891C-07119D19A0EE}"/>
              </a:ext>
            </a:extLst>
          </p:cNvPr>
          <p:cNvSpPr>
            <a:spLocks noGrp="1"/>
          </p:cNvSpPr>
          <p:nvPr>
            <p:custDataLst>
              <p:tags r:id="rId36"/>
            </p:custDataLst>
          </p:nvPr>
        </p:nvSpPr>
        <p:spPr bwMode="auto">
          <a:xfrm>
            <a:off x="558800" y="3873500"/>
            <a:ext cx="114935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sz="800" b="1" dirty="0">
                <a:solidFill>
                  <a:schemeClr val="accent2"/>
                </a:solidFill>
              </a:rPr>
              <a:t>NL – Hoogopgeleide ouders</a:t>
            </a:r>
            <a:endParaRPr lang="nl-NL" altLang="en-US" sz="800" b="1" dirty="0">
              <a:solidFill>
                <a:schemeClr val="accent2"/>
              </a:solidFill>
            </a:endParaRPr>
          </a:p>
        </p:txBody>
      </p:sp>
      <p:sp>
        <p:nvSpPr>
          <p:cNvPr id="441" name="Text Placeholder 4">
            <a:extLst>
              <a:ext uri="{FF2B5EF4-FFF2-40B4-BE49-F238E27FC236}">
                <a16:creationId xmlns:a16="http://schemas.microsoft.com/office/drawing/2014/main" id="{E9B83547-44D8-42D1-8723-87DE766543DA}"/>
              </a:ext>
            </a:extLst>
          </p:cNvPr>
          <p:cNvSpPr>
            <a:spLocks noGrp="1"/>
          </p:cNvSpPr>
          <p:nvPr>
            <p:custDataLst>
              <p:tags r:id="rId37"/>
            </p:custDataLst>
          </p:nvPr>
        </p:nvSpPr>
        <p:spPr bwMode="auto">
          <a:xfrm>
            <a:off x="558800" y="5118100"/>
            <a:ext cx="27781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C06E3CC5-51BC-49E6-99EC-638A88D885AE}" type="datetime'''''''''''''''''''''S''''''p''''''''''a''''n''j''''''e'''">
              <a:rPr lang="en-US" altLang="en-US" sz="800" smtClean="0"/>
              <a:pPr/>
              <a:t>Spanje</a:t>
            </a:fld>
            <a:endParaRPr lang="en-US" sz="800" dirty="0">
              <a:sym typeface="+mn-lt"/>
            </a:endParaRPr>
          </a:p>
        </p:txBody>
      </p:sp>
      <p:sp>
        <p:nvSpPr>
          <p:cNvPr id="31" name="Text Placeholder 4">
            <a:extLst>
              <a:ext uri="{FF2B5EF4-FFF2-40B4-BE49-F238E27FC236}">
                <a16:creationId xmlns:a16="http://schemas.microsoft.com/office/drawing/2014/main" id="{6DA3557E-6B25-4FEE-A03B-1A41E204508D}"/>
              </a:ext>
            </a:extLst>
          </p:cNvPr>
          <p:cNvSpPr>
            <a:spLocks noGrp="1"/>
          </p:cNvSpPr>
          <p:nvPr>
            <p:custDataLst>
              <p:tags r:id="rId38"/>
            </p:custDataLst>
          </p:nvPr>
        </p:nvSpPr>
        <p:spPr bwMode="auto">
          <a:xfrm>
            <a:off x="558800" y="3976688"/>
            <a:ext cx="3937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F35DC9FB-56B6-4E9B-B044-5E364B1227F1}" type="datetime'''D''''''u''''''''i''''t''sl''''a''''''''''''''''n''''''''d'">
              <a:rPr lang="en-US" altLang="en-US" sz="800" smtClean="0"/>
              <a:pPr/>
              <a:t>Duitsland</a:t>
            </a:fld>
            <a:endParaRPr lang="en-US" sz="800" dirty="0">
              <a:sym typeface="+mn-lt"/>
            </a:endParaRPr>
          </a:p>
        </p:txBody>
      </p:sp>
      <p:sp>
        <p:nvSpPr>
          <p:cNvPr id="44" name="Text Placeholder 4">
            <a:extLst>
              <a:ext uri="{FF2B5EF4-FFF2-40B4-BE49-F238E27FC236}">
                <a16:creationId xmlns:a16="http://schemas.microsoft.com/office/drawing/2014/main" id="{5ECEB326-1F0F-4BDB-AC9B-A5E41DE7F63F}"/>
              </a:ext>
            </a:extLst>
          </p:cNvPr>
          <p:cNvSpPr>
            <a:spLocks noGrp="1"/>
          </p:cNvSpPr>
          <p:nvPr>
            <p:custDataLst>
              <p:tags r:id="rId39"/>
            </p:custDataLst>
          </p:nvPr>
        </p:nvSpPr>
        <p:spPr bwMode="auto">
          <a:xfrm>
            <a:off x="558800" y="4079875"/>
            <a:ext cx="34925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sz="800" dirty="0"/>
              <a:t>Slovenië</a:t>
            </a:r>
            <a:endParaRPr lang="en-US" sz="800" dirty="0">
              <a:sym typeface="+mn-lt"/>
            </a:endParaRPr>
          </a:p>
        </p:txBody>
      </p:sp>
      <p:sp>
        <p:nvSpPr>
          <p:cNvPr id="35" name="Text Placeholder 4">
            <a:extLst>
              <a:ext uri="{FF2B5EF4-FFF2-40B4-BE49-F238E27FC236}">
                <a16:creationId xmlns:a16="http://schemas.microsoft.com/office/drawing/2014/main" id="{3783EAD5-6430-4CB9-AA09-BF2537BCB9FD}"/>
              </a:ext>
            </a:extLst>
          </p:cNvPr>
          <p:cNvSpPr>
            <a:spLocks noGrp="1"/>
          </p:cNvSpPr>
          <p:nvPr>
            <p:custDataLst>
              <p:tags r:id="rId40"/>
            </p:custDataLst>
          </p:nvPr>
        </p:nvSpPr>
        <p:spPr bwMode="auto">
          <a:xfrm>
            <a:off x="558800" y="2627313"/>
            <a:ext cx="2921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510C9FFF-CA93-4CE7-919F-71F7B8C57BD5}" type="datetime'''''Ie''r''''''''''''''''''''''''''l''''''''''''''an''''d'''">
              <a:rPr lang="en-US" altLang="en-US" sz="800" smtClean="0"/>
              <a:pPr/>
              <a:t>Ierland</a:t>
            </a:fld>
            <a:endParaRPr lang="en-US" sz="800" dirty="0">
              <a:sym typeface="+mn-lt"/>
            </a:endParaRPr>
          </a:p>
        </p:txBody>
      </p:sp>
      <p:sp>
        <p:nvSpPr>
          <p:cNvPr id="69" name="Text Placeholder 4">
            <a:extLst>
              <a:ext uri="{FF2B5EF4-FFF2-40B4-BE49-F238E27FC236}">
                <a16:creationId xmlns:a16="http://schemas.microsoft.com/office/drawing/2014/main" id="{CB124266-D12D-4D56-AE0D-4C976B8FA74E}"/>
              </a:ext>
            </a:extLst>
          </p:cNvPr>
          <p:cNvSpPr>
            <a:spLocks noGrp="1"/>
          </p:cNvSpPr>
          <p:nvPr>
            <p:custDataLst>
              <p:tags r:id="rId41"/>
            </p:custDataLst>
          </p:nvPr>
        </p:nvSpPr>
        <p:spPr bwMode="auto">
          <a:xfrm>
            <a:off x="558800" y="4287838"/>
            <a:ext cx="25241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sz="800" dirty="0"/>
              <a:t>België</a:t>
            </a:r>
            <a:endParaRPr lang="en-US" sz="800" dirty="0">
              <a:sym typeface="+mn-lt"/>
            </a:endParaRPr>
          </a:p>
        </p:txBody>
      </p:sp>
      <p:sp>
        <p:nvSpPr>
          <p:cNvPr id="84" name="Text Placeholder 4">
            <a:extLst>
              <a:ext uri="{FF2B5EF4-FFF2-40B4-BE49-F238E27FC236}">
                <a16:creationId xmlns:a16="http://schemas.microsoft.com/office/drawing/2014/main" id="{CC1FA027-25D5-4DDF-8047-BC8BAB996984}"/>
              </a:ext>
            </a:extLst>
          </p:cNvPr>
          <p:cNvSpPr>
            <a:spLocks noGrp="1"/>
          </p:cNvSpPr>
          <p:nvPr>
            <p:custDataLst>
              <p:tags r:id="rId42"/>
            </p:custDataLst>
          </p:nvPr>
        </p:nvSpPr>
        <p:spPr bwMode="auto">
          <a:xfrm>
            <a:off x="558800" y="4910138"/>
            <a:ext cx="3079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9C83DC31-9763-45FF-A853-E6A9010D44E4}" type="datetime'L''''''''e''''''''t''l''''''''''''an''''''''''d'''''">
              <a:rPr lang="en-US" altLang="en-US" sz="800" smtClean="0"/>
              <a:pPr/>
              <a:t>Letland</a:t>
            </a:fld>
            <a:endParaRPr lang="en-US" sz="800" dirty="0">
              <a:sym typeface="+mn-lt"/>
            </a:endParaRPr>
          </a:p>
        </p:txBody>
      </p:sp>
      <p:sp>
        <p:nvSpPr>
          <p:cNvPr id="73" name="Text Placeholder 4">
            <a:extLst>
              <a:ext uri="{FF2B5EF4-FFF2-40B4-BE49-F238E27FC236}">
                <a16:creationId xmlns:a16="http://schemas.microsoft.com/office/drawing/2014/main" id="{0DBB1307-C39F-4919-AA8D-BAC1798946E4}"/>
              </a:ext>
            </a:extLst>
          </p:cNvPr>
          <p:cNvSpPr>
            <a:spLocks noGrp="1"/>
          </p:cNvSpPr>
          <p:nvPr>
            <p:custDataLst>
              <p:tags r:id="rId43"/>
            </p:custDataLst>
          </p:nvPr>
        </p:nvSpPr>
        <p:spPr bwMode="auto">
          <a:xfrm>
            <a:off x="558800" y="4495800"/>
            <a:ext cx="33496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sz="800" dirty="0"/>
              <a:t>Tsjechië</a:t>
            </a:r>
          </a:p>
        </p:txBody>
      </p:sp>
      <p:sp>
        <p:nvSpPr>
          <p:cNvPr id="77" name="Text Placeholder 4">
            <a:extLst>
              <a:ext uri="{FF2B5EF4-FFF2-40B4-BE49-F238E27FC236}">
                <a16:creationId xmlns:a16="http://schemas.microsoft.com/office/drawing/2014/main" id="{33B33539-5925-4E4A-ADBC-8C7DEAD1F7F3}"/>
              </a:ext>
            </a:extLst>
          </p:cNvPr>
          <p:cNvSpPr>
            <a:spLocks noGrp="1"/>
          </p:cNvSpPr>
          <p:nvPr>
            <p:custDataLst>
              <p:tags r:id="rId44"/>
            </p:custDataLst>
          </p:nvPr>
        </p:nvSpPr>
        <p:spPr bwMode="auto">
          <a:xfrm>
            <a:off x="558800" y="4598988"/>
            <a:ext cx="427038"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386EB92A-788C-49D6-A5FC-FE3125F40EA6}" type="datetime'''''''''''''Oo''s''''''''te''''n''r''''''''''''''i''j''k'''">
              <a:rPr lang="en-US" altLang="en-US" sz="800" smtClean="0"/>
              <a:pPr/>
              <a:t>Oostenrijk</a:t>
            </a:fld>
            <a:endParaRPr lang="en-US" sz="800" dirty="0">
              <a:sym typeface="+mn-lt"/>
            </a:endParaRPr>
          </a:p>
        </p:txBody>
      </p:sp>
      <p:sp>
        <p:nvSpPr>
          <p:cNvPr id="82" name="Text Placeholder 4">
            <a:extLst>
              <a:ext uri="{FF2B5EF4-FFF2-40B4-BE49-F238E27FC236}">
                <a16:creationId xmlns:a16="http://schemas.microsoft.com/office/drawing/2014/main" id="{13E35A46-0A8D-4CAC-8FA2-70CF3C6447C3}"/>
              </a:ext>
            </a:extLst>
          </p:cNvPr>
          <p:cNvSpPr>
            <a:spLocks noGrp="1"/>
          </p:cNvSpPr>
          <p:nvPr>
            <p:custDataLst>
              <p:tags r:id="rId45"/>
            </p:custDataLst>
          </p:nvPr>
        </p:nvSpPr>
        <p:spPr bwMode="auto">
          <a:xfrm>
            <a:off x="558800" y="4806950"/>
            <a:ext cx="29845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sz="800" dirty="0"/>
              <a:t>Kroatië</a:t>
            </a:r>
            <a:endParaRPr lang="en-US" sz="800" dirty="0">
              <a:sym typeface="+mn-lt"/>
            </a:endParaRPr>
          </a:p>
        </p:txBody>
      </p:sp>
      <p:sp>
        <p:nvSpPr>
          <p:cNvPr id="80" name="Text Placeholder 4">
            <a:extLst>
              <a:ext uri="{FF2B5EF4-FFF2-40B4-BE49-F238E27FC236}">
                <a16:creationId xmlns:a16="http://schemas.microsoft.com/office/drawing/2014/main" id="{CA39CA13-9194-47C2-9CB2-AA1C0DBE889A}"/>
              </a:ext>
            </a:extLst>
          </p:cNvPr>
          <p:cNvSpPr>
            <a:spLocks noGrp="1"/>
          </p:cNvSpPr>
          <p:nvPr>
            <p:custDataLst>
              <p:tags r:id="rId46"/>
            </p:custDataLst>
          </p:nvPr>
        </p:nvSpPr>
        <p:spPr bwMode="auto">
          <a:xfrm>
            <a:off x="558800" y="4702175"/>
            <a:ext cx="484188"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4E08D8A9-E849-46EE-A5FE-AA286D8F22F3}" type="datetime'''''Z''''''''''w''i''''''''ts''''e''''''''r''''l''an''''''d'">
              <a:rPr lang="en-US" altLang="en-US" sz="800" smtClean="0"/>
              <a:pPr/>
              <a:t>Zwitserland</a:t>
            </a:fld>
            <a:endParaRPr lang="en-US" sz="800" dirty="0">
              <a:sym typeface="+mn-lt"/>
            </a:endParaRPr>
          </a:p>
        </p:txBody>
      </p:sp>
      <p:sp>
        <p:nvSpPr>
          <p:cNvPr id="443" name="Text Placeholder 4">
            <a:extLst>
              <a:ext uri="{FF2B5EF4-FFF2-40B4-BE49-F238E27FC236}">
                <a16:creationId xmlns:a16="http://schemas.microsoft.com/office/drawing/2014/main" id="{B4D2EE5C-DADD-4808-9986-3FC83BF1ACA2}"/>
              </a:ext>
            </a:extLst>
          </p:cNvPr>
          <p:cNvSpPr>
            <a:spLocks noGrp="1"/>
          </p:cNvSpPr>
          <p:nvPr>
            <p:custDataLst>
              <p:tags r:id="rId47"/>
            </p:custDataLst>
          </p:nvPr>
        </p:nvSpPr>
        <p:spPr bwMode="auto">
          <a:xfrm>
            <a:off x="558800" y="5326063"/>
            <a:ext cx="401638"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88786991-0EC8-4863-8C3F-5A117F6C5C0E}" type="datetime'Ho''n''g''''''''''''''a''''''''''''''r''''i''''''''''j''''e'">
              <a:rPr lang="en-US" altLang="en-US" sz="800" smtClean="0"/>
              <a:pPr/>
              <a:t>Hongarije</a:t>
            </a:fld>
            <a:endParaRPr lang="en-US" sz="800" dirty="0">
              <a:sym typeface="+mn-lt"/>
            </a:endParaRPr>
          </a:p>
        </p:txBody>
      </p:sp>
      <p:sp>
        <p:nvSpPr>
          <p:cNvPr id="444" name="Text Placeholder 4">
            <a:extLst>
              <a:ext uri="{FF2B5EF4-FFF2-40B4-BE49-F238E27FC236}">
                <a16:creationId xmlns:a16="http://schemas.microsoft.com/office/drawing/2014/main" id="{558E2B92-26AD-4B47-B2E5-8018B1BDC902}"/>
              </a:ext>
            </a:extLst>
          </p:cNvPr>
          <p:cNvSpPr>
            <a:spLocks noGrp="1"/>
          </p:cNvSpPr>
          <p:nvPr>
            <p:custDataLst>
              <p:tags r:id="rId48"/>
            </p:custDataLst>
          </p:nvPr>
        </p:nvSpPr>
        <p:spPr bwMode="auto">
          <a:xfrm>
            <a:off x="558800" y="5429250"/>
            <a:ext cx="38576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E2294AD6-EEEF-4081-B5C4-1468366FDE40}" type="datetime'''''Li''''''''t''o''''''''u''''''w''''''''''e''''''''''''''n'">
              <a:rPr lang="en-US" altLang="en-US" sz="800" smtClean="0"/>
              <a:pPr/>
              <a:t>Litouwen</a:t>
            </a:fld>
            <a:endParaRPr lang="en-US" sz="800" dirty="0">
              <a:sym typeface="+mn-lt"/>
            </a:endParaRPr>
          </a:p>
        </p:txBody>
      </p:sp>
      <p:sp>
        <p:nvSpPr>
          <p:cNvPr id="446" name="Text Placeholder 4">
            <a:extLst>
              <a:ext uri="{FF2B5EF4-FFF2-40B4-BE49-F238E27FC236}">
                <a16:creationId xmlns:a16="http://schemas.microsoft.com/office/drawing/2014/main" id="{45C85F7B-AE59-4483-A545-0501A5048CC4}"/>
              </a:ext>
            </a:extLst>
          </p:cNvPr>
          <p:cNvSpPr>
            <a:spLocks noGrp="1"/>
          </p:cNvSpPr>
          <p:nvPr>
            <p:custDataLst>
              <p:tags r:id="rId49"/>
            </p:custDataLst>
          </p:nvPr>
        </p:nvSpPr>
        <p:spPr bwMode="auto">
          <a:xfrm>
            <a:off x="558800" y="5637213"/>
            <a:ext cx="509588"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74357572-66D2-4C58-81BB-34B03488E577}" type="datetime'W''''i''''t''''''-''''''''''''''''R''u''s''lan''d'''''''''">
              <a:rPr lang="en-US" altLang="en-US" sz="800" smtClean="0"/>
              <a:pPr/>
              <a:t>Wit-Rusland</a:t>
            </a:fld>
            <a:endParaRPr lang="en-US" sz="800" dirty="0">
              <a:sym typeface="+mn-lt"/>
            </a:endParaRPr>
          </a:p>
        </p:txBody>
      </p:sp>
      <p:sp>
        <p:nvSpPr>
          <p:cNvPr id="448" name="Text Placeholder 4">
            <a:extLst>
              <a:ext uri="{FF2B5EF4-FFF2-40B4-BE49-F238E27FC236}">
                <a16:creationId xmlns:a16="http://schemas.microsoft.com/office/drawing/2014/main" id="{155A4468-EC41-41A4-87D9-1C6CBE929C74}"/>
              </a:ext>
            </a:extLst>
          </p:cNvPr>
          <p:cNvSpPr>
            <a:spLocks noGrp="1"/>
          </p:cNvSpPr>
          <p:nvPr>
            <p:custDataLst>
              <p:tags r:id="rId50"/>
            </p:custDataLst>
          </p:nvPr>
        </p:nvSpPr>
        <p:spPr bwMode="auto">
          <a:xfrm>
            <a:off x="558800" y="5948363"/>
            <a:ext cx="46355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28FC1B16-D33C-4101-BEA6-0854B18B27B7}" type="datetime'L''''''''''''''''''''''''''''''''u''xe''m''b''''''urg'''''''">
              <a:rPr lang="en-US" altLang="en-US" sz="800" smtClean="0"/>
              <a:pPr/>
              <a:t>Luxemburg</a:t>
            </a:fld>
            <a:endParaRPr lang="en-US" sz="800" dirty="0">
              <a:sym typeface="+mn-lt"/>
            </a:endParaRPr>
          </a:p>
        </p:txBody>
      </p:sp>
      <p:sp>
        <p:nvSpPr>
          <p:cNvPr id="449" name="Text Placeholder 4">
            <a:extLst>
              <a:ext uri="{FF2B5EF4-FFF2-40B4-BE49-F238E27FC236}">
                <a16:creationId xmlns:a16="http://schemas.microsoft.com/office/drawing/2014/main" id="{88FB3218-DA24-497E-A145-1A95F43A4064}"/>
              </a:ext>
            </a:extLst>
          </p:cNvPr>
          <p:cNvSpPr>
            <a:spLocks noGrp="1"/>
          </p:cNvSpPr>
          <p:nvPr>
            <p:custDataLst>
              <p:tags r:id="rId51"/>
            </p:custDataLst>
          </p:nvPr>
        </p:nvSpPr>
        <p:spPr bwMode="auto">
          <a:xfrm>
            <a:off x="558800" y="6051550"/>
            <a:ext cx="376238"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C71434DF-4AC7-46B4-BC0D-0C1E496DDA36}" type="datetime'''''''O''e''''''''k''r''a''''''''''''''''ï''''''''n''''''''e'">
              <a:rPr lang="en-US" altLang="en-US" sz="800" smtClean="0"/>
              <a:pPr/>
              <a:t>Oekraïne</a:t>
            </a:fld>
            <a:endParaRPr lang="en-US" sz="800" dirty="0">
              <a:sym typeface="+mn-lt"/>
            </a:endParaRPr>
          </a:p>
        </p:txBody>
      </p:sp>
      <p:sp>
        <p:nvSpPr>
          <p:cNvPr id="86" name="Text Placeholder 4">
            <a:extLst>
              <a:ext uri="{FF2B5EF4-FFF2-40B4-BE49-F238E27FC236}">
                <a16:creationId xmlns:a16="http://schemas.microsoft.com/office/drawing/2014/main" id="{B809D72C-177D-404C-9062-F9035EA00F5A}"/>
              </a:ext>
            </a:extLst>
          </p:cNvPr>
          <p:cNvSpPr>
            <a:spLocks noGrp="1"/>
          </p:cNvSpPr>
          <p:nvPr>
            <p:custDataLst>
              <p:tags r:id="rId52"/>
            </p:custDataLst>
          </p:nvPr>
        </p:nvSpPr>
        <p:spPr bwMode="auto">
          <a:xfrm>
            <a:off x="558800" y="5014913"/>
            <a:ext cx="3302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F8BF36EC-9DAA-435C-AF9D-4F0A707FC17F}" type="datetime'''''''''''''''R''''u''''''''''''sl''''a''''nd'''''''">
              <a:rPr lang="en-US" altLang="en-US" sz="800" smtClean="0"/>
              <a:pPr/>
              <a:t>Rusland</a:t>
            </a:fld>
            <a:endParaRPr lang="en-US" sz="800" dirty="0">
              <a:sym typeface="+mn-lt"/>
            </a:endParaRPr>
          </a:p>
        </p:txBody>
      </p:sp>
      <p:graphicFrame>
        <p:nvGraphicFramePr>
          <p:cNvPr id="134" name="Chart 133">
            <a:extLst>
              <a:ext uri="{FF2B5EF4-FFF2-40B4-BE49-F238E27FC236}">
                <a16:creationId xmlns:a16="http://schemas.microsoft.com/office/drawing/2014/main" id="{12AA2C1A-3946-4A7A-BAD9-FB4BF72B4A3E}"/>
              </a:ext>
            </a:extLst>
          </p:cNvPr>
          <p:cNvGraphicFramePr/>
          <p:nvPr>
            <p:custDataLst>
              <p:tags r:id="rId53"/>
            </p:custDataLst>
            <p:extLst>
              <p:ext uri="{D42A27DB-BD31-4B8C-83A1-F6EECF244321}">
                <p14:modId xmlns:p14="http://schemas.microsoft.com/office/powerpoint/2010/main" val="2205847549"/>
              </p:ext>
            </p:extLst>
          </p:nvPr>
        </p:nvGraphicFramePr>
        <p:xfrm>
          <a:off x="5375275" y="1909763"/>
          <a:ext cx="2025650" cy="4337050"/>
        </p:xfrm>
        <a:graphic>
          <a:graphicData uri="http://schemas.openxmlformats.org/drawingml/2006/chart">
            <c:chart xmlns:c="http://schemas.openxmlformats.org/drawingml/2006/chart" xmlns:r="http://schemas.openxmlformats.org/officeDocument/2006/relationships" r:id="rId111"/>
          </a:graphicData>
        </a:graphic>
      </p:graphicFrame>
      <p:sp>
        <p:nvSpPr>
          <p:cNvPr id="166" name="Text Placeholder 4">
            <a:extLst>
              <a:ext uri="{FF2B5EF4-FFF2-40B4-BE49-F238E27FC236}">
                <a16:creationId xmlns:a16="http://schemas.microsoft.com/office/drawing/2014/main" id="{C1248F1B-AA97-4DBC-B882-D704A10376DE}"/>
              </a:ext>
            </a:extLst>
          </p:cNvPr>
          <p:cNvSpPr>
            <a:spLocks noGrp="1"/>
          </p:cNvSpPr>
          <p:nvPr>
            <p:custDataLst>
              <p:tags r:id="rId54"/>
            </p:custDataLst>
          </p:nvPr>
        </p:nvSpPr>
        <p:spPr bwMode="gray">
          <a:xfrm>
            <a:off x="6621463" y="1836738"/>
            <a:ext cx="1524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6C016BEE-36EC-4DB2-BF0A-D830C41473DE}" type="datetime'5''''''''''''''''''0''''''''''''''''''''0'''">
              <a:rPr lang="en-GB" altLang="en-US" sz="800" smtClean="0"/>
              <a:pPr/>
              <a:t>500</a:t>
            </a:fld>
            <a:endParaRPr lang="en-GB" sz="800" dirty="0">
              <a:sym typeface="+mn-lt"/>
            </a:endParaRPr>
          </a:p>
        </p:txBody>
      </p:sp>
      <p:sp>
        <p:nvSpPr>
          <p:cNvPr id="209" name="Text Placeholder 4">
            <a:extLst>
              <a:ext uri="{FF2B5EF4-FFF2-40B4-BE49-F238E27FC236}">
                <a16:creationId xmlns:a16="http://schemas.microsoft.com/office/drawing/2014/main" id="{4C1F3293-4EFE-461D-940D-7EE66BAE31C5}"/>
              </a:ext>
            </a:extLst>
          </p:cNvPr>
          <p:cNvSpPr>
            <a:spLocks noGrp="1"/>
          </p:cNvSpPr>
          <p:nvPr>
            <p:custDataLst>
              <p:tags r:id="rId55"/>
            </p:custDataLst>
          </p:nvPr>
        </p:nvSpPr>
        <p:spPr bwMode="gray">
          <a:xfrm>
            <a:off x="7242175" y="1836738"/>
            <a:ext cx="1524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BC0CDA6B-B584-49B2-85E0-0360DAEC4189}" type="datetime'''''''''''''''6''0''''''''''''''''''''''''''''''''''0'''''">
              <a:rPr lang="en-US" altLang="en-US" sz="800" smtClean="0">
                <a:sym typeface="+mn-lt"/>
              </a:rPr>
              <a:pPr algn="ctr">
                <a:spcBef>
                  <a:spcPct val="0"/>
                </a:spcBef>
                <a:spcAft>
                  <a:spcPct val="0"/>
                </a:spcAft>
              </a:pPr>
              <a:t>600</a:t>
            </a:fld>
            <a:endParaRPr lang="en-US" sz="800" dirty="0">
              <a:sym typeface="+mn-lt"/>
            </a:endParaRPr>
          </a:p>
        </p:txBody>
      </p:sp>
      <p:sp>
        <p:nvSpPr>
          <p:cNvPr id="168" name="Text Placeholder 4">
            <a:extLst>
              <a:ext uri="{FF2B5EF4-FFF2-40B4-BE49-F238E27FC236}">
                <a16:creationId xmlns:a16="http://schemas.microsoft.com/office/drawing/2014/main" id="{DB895189-C932-4249-A3B5-600C0CF5EF90}"/>
              </a:ext>
            </a:extLst>
          </p:cNvPr>
          <p:cNvSpPr>
            <a:spLocks noGrp="1"/>
          </p:cNvSpPr>
          <p:nvPr>
            <p:custDataLst>
              <p:tags r:id="rId56"/>
            </p:custDataLst>
          </p:nvPr>
        </p:nvSpPr>
        <p:spPr bwMode="gray">
          <a:xfrm>
            <a:off x="5381625" y="1836738"/>
            <a:ext cx="1524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CB9930BA-DBC4-4D4D-8935-F0848BBDEA01}" type="datetime'''''''''''''''''''''''''''''''''3''0''''0'">
              <a:rPr lang="en-GB" altLang="en-US" sz="800" smtClean="0"/>
              <a:pPr/>
              <a:t>300</a:t>
            </a:fld>
            <a:endParaRPr lang="en-GB" sz="800" dirty="0">
              <a:sym typeface="+mn-lt"/>
            </a:endParaRPr>
          </a:p>
        </p:txBody>
      </p:sp>
      <p:sp>
        <p:nvSpPr>
          <p:cNvPr id="172" name="Text Placeholder 4">
            <a:extLst>
              <a:ext uri="{FF2B5EF4-FFF2-40B4-BE49-F238E27FC236}">
                <a16:creationId xmlns:a16="http://schemas.microsoft.com/office/drawing/2014/main" id="{7905D317-0599-44F8-9618-F2AEFEA6D49A}"/>
              </a:ext>
            </a:extLst>
          </p:cNvPr>
          <p:cNvSpPr>
            <a:spLocks noGrp="1"/>
          </p:cNvSpPr>
          <p:nvPr>
            <p:custDataLst>
              <p:tags r:id="rId57"/>
            </p:custDataLst>
          </p:nvPr>
        </p:nvSpPr>
        <p:spPr bwMode="gray">
          <a:xfrm>
            <a:off x="6002338" y="1836738"/>
            <a:ext cx="1524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167A8EAB-534D-4B0E-833B-4009AA1E290A}" type="datetime'''''''''''''''''4''''0''''''''''0'''''''''''''''''''''''''''">
              <a:rPr lang="en-GB" altLang="en-US" sz="800" smtClean="0"/>
              <a:pPr/>
              <a:t>400</a:t>
            </a:fld>
            <a:endParaRPr lang="en-GB" sz="800" dirty="0">
              <a:sym typeface="+mn-lt"/>
            </a:endParaRPr>
          </a:p>
        </p:txBody>
      </p:sp>
      <p:sp>
        <p:nvSpPr>
          <p:cNvPr id="211" name="Text Placeholder 4">
            <a:extLst>
              <a:ext uri="{FF2B5EF4-FFF2-40B4-BE49-F238E27FC236}">
                <a16:creationId xmlns:a16="http://schemas.microsoft.com/office/drawing/2014/main" id="{4C1F3293-4EFE-461D-940D-7EE66BAE31C5}"/>
              </a:ext>
            </a:extLst>
          </p:cNvPr>
          <p:cNvSpPr>
            <a:spLocks noGrp="1"/>
          </p:cNvSpPr>
          <p:nvPr>
            <p:custDataLst>
              <p:tags r:id="rId58"/>
            </p:custDataLst>
          </p:nvPr>
        </p:nvSpPr>
        <p:spPr bwMode="gray">
          <a:xfrm>
            <a:off x="5691188" y="1836738"/>
            <a:ext cx="1524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0C0C5732-828F-4C73-AA62-B1768574E6FC}" type="datetime'''''''''3''''''''5''''''''''''0'''''''''''''''''''''''''">
              <a:rPr lang="en-US" altLang="en-US" sz="800" smtClean="0">
                <a:sym typeface="+mn-lt"/>
              </a:rPr>
              <a:pPr algn="ctr">
                <a:spcBef>
                  <a:spcPct val="0"/>
                </a:spcBef>
                <a:spcAft>
                  <a:spcPct val="0"/>
                </a:spcAft>
              </a:pPr>
              <a:t>350</a:t>
            </a:fld>
            <a:endParaRPr lang="en-US" sz="800" dirty="0">
              <a:sym typeface="+mn-lt"/>
            </a:endParaRPr>
          </a:p>
        </p:txBody>
      </p:sp>
      <p:sp>
        <p:nvSpPr>
          <p:cNvPr id="213" name="Text Placeholder 4">
            <a:extLst>
              <a:ext uri="{FF2B5EF4-FFF2-40B4-BE49-F238E27FC236}">
                <a16:creationId xmlns:a16="http://schemas.microsoft.com/office/drawing/2014/main" id="{4C1F3293-4EFE-461D-940D-7EE66BAE31C5}"/>
              </a:ext>
            </a:extLst>
          </p:cNvPr>
          <p:cNvSpPr>
            <a:spLocks noGrp="1"/>
          </p:cNvSpPr>
          <p:nvPr>
            <p:custDataLst>
              <p:tags r:id="rId59"/>
            </p:custDataLst>
          </p:nvPr>
        </p:nvSpPr>
        <p:spPr bwMode="gray">
          <a:xfrm>
            <a:off x="6932613" y="1836738"/>
            <a:ext cx="1524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AB40CF9A-5058-4C95-8E42-A9920BBFFC38}" type="datetime'''''''5''''''''''''''''''''''''''''''''''''5''''0'''''">
              <a:rPr lang="en-US" altLang="en-US" sz="800" smtClean="0">
                <a:sym typeface="+mn-lt"/>
              </a:rPr>
              <a:pPr algn="ctr">
                <a:spcBef>
                  <a:spcPct val="0"/>
                </a:spcBef>
                <a:spcAft>
                  <a:spcPct val="0"/>
                </a:spcAft>
              </a:pPr>
              <a:t>550</a:t>
            </a:fld>
            <a:endParaRPr lang="en-US" sz="800" dirty="0">
              <a:sym typeface="+mn-lt"/>
            </a:endParaRPr>
          </a:p>
        </p:txBody>
      </p:sp>
      <p:sp>
        <p:nvSpPr>
          <p:cNvPr id="212" name="Text Placeholder 4">
            <a:extLst>
              <a:ext uri="{FF2B5EF4-FFF2-40B4-BE49-F238E27FC236}">
                <a16:creationId xmlns:a16="http://schemas.microsoft.com/office/drawing/2014/main" id="{4C1F3293-4EFE-461D-940D-7EE66BAE31C5}"/>
              </a:ext>
            </a:extLst>
          </p:cNvPr>
          <p:cNvSpPr>
            <a:spLocks noGrp="1"/>
          </p:cNvSpPr>
          <p:nvPr>
            <p:custDataLst>
              <p:tags r:id="rId60"/>
            </p:custDataLst>
          </p:nvPr>
        </p:nvSpPr>
        <p:spPr bwMode="gray">
          <a:xfrm>
            <a:off x="6311900" y="1836738"/>
            <a:ext cx="1524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6A65FBD7-6740-4297-AD5C-39E5D0429E0D}" type="datetime'''''''''''''''4''''''5''''''''''0'''''''''''''''''''">
              <a:rPr lang="en-US" altLang="en-US" sz="800" smtClean="0">
                <a:sym typeface="+mn-lt"/>
              </a:rPr>
              <a:pPr algn="ctr">
                <a:spcBef>
                  <a:spcPct val="0"/>
                </a:spcBef>
                <a:spcAft>
                  <a:spcPct val="0"/>
                </a:spcAft>
              </a:pPr>
              <a:t>450</a:t>
            </a:fld>
            <a:endParaRPr lang="en-US" sz="800" dirty="0">
              <a:sym typeface="+mn-lt"/>
            </a:endParaRPr>
          </a:p>
        </p:txBody>
      </p:sp>
      <p:sp>
        <p:nvSpPr>
          <p:cNvPr id="242" name="Text Placeholder 4">
            <a:extLst>
              <a:ext uri="{FF2B5EF4-FFF2-40B4-BE49-F238E27FC236}">
                <a16:creationId xmlns:a16="http://schemas.microsoft.com/office/drawing/2014/main" id="{4C1F3293-4EFE-461D-940D-7EE66BAE31C5}"/>
              </a:ext>
            </a:extLst>
          </p:cNvPr>
          <p:cNvSpPr>
            <a:spLocks noGrp="1"/>
          </p:cNvSpPr>
          <p:nvPr>
            <p:custDataLst>
              <p:tags r:id="rId61"/>
            </p:custDataLst>
          </p:nvPr>
        </p:nvSpPr>
        <p:spPr bwMode="auto">
          <a:xfrm>
            <a:off x="4268788" y="5008563"/>
            <a:ext cx="76041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220D785B-BEF4-4F64-8A1C-0701175087E1}" type="datetime'Noor''''d''-''''''Ma''c''''''e''''''''''''d''''''''oni''''ë'''">
              <a:rPr lang="en-GB" altLang="en-US" sz="800" smtClean="0"/>
              <a:pPr/>
              <a:t>Noord-Macedonië</a:t>
            </a:fld>
            <a:endParaRPr lang="en-GB" sz="800" dirty="0">
              <a:sym typeface="+mn-lt"/>
            </a:endParaRPr>
          </a:p>
        </p:txBody>
      </p:sp>
      <p:sp>
        <p:nvSpPr>
          <p:cNvPr id="274" name="Text Placeholder 4">
            <a:extLst>
              <a:ext uri="{FF2B5EF4-FFF2-40B4-BE49-F238E27FC236}">
                <a16:creationId xmlns:a16="http://schemas.microsoft.com/office/drawing/2014/main" id="{18B6354E-F543-4460-87CB-2C8EFEE0898B}"/>
              </a:ext>
            </a:extLst>
          </p:cNvPr>
          <p:cNvSpPr>
            <a:spLocks noGrp="1"/>
          </p:cNvSpPr>
          <p:nvPr>
            <p:custDataLst>
              <p:tags r:id="rId62"/>
            </p:custDataLst>
          </p:nvPr>
        </p:nvSpPr>
        <p:spPr bwMode="auto">
          <a:xfrm>
            <a:off x="4268788" y="4487863"/>
            <a:ext cx="941388"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4FC8BCD5-3E96-4E4B-B452-1CE6F7EA0ECA}" type="datetime'Bo''''snië'''''' en H''''e''''r''''zego''''''v''''''''in''a'">
              <a:rPr lang="en-GB" altLang="en-US" sz="800" smtClean="0"/>
              <a:pPr/>
              <a:t>Bosnië en Herzegovina</a:t>
            </a:fld>
            <a:endParaRPr lang="en-GB" sz="800" dirty="0">
              <a:sym typeface="+mn-lt"/>
            </a:endParaRPr>
          </a:p>
        </p:txBody>
      </p:sp>
      <p:sp>
        <p:nvSpPr>
          <p:cNvPr id="192" name="Text Placeholder 4">
            <a:extLst>
              <a:ext uri="{FF2B5EF4-FFF2-40B4-BE49-F238E27FC236}">
                <a16:creationId xmlns:a16="http://schemas.microsoft.com/office/drawing/2014/main" id="{21C47126-2B30-4CE5-8F10-16710A216518}"/>
              </a:ext>
            </a:extLst>
          </p:cNvPr>
          <p:cNvSpPr>
            <a:spLocks noGrp="1"/>
          </p:cNvSpPr>
          <p:nvPr>
            <p:custDataLst>
              <p:tags r:id="rId63"/>
            </p:custDataLst>
          </p:nvPr>
        </p:nvSpPr>
        <p:spPr bwMode="auto">
          <a:xfrm>
            <a:off x="4268788" y="1984375"/>
            <a:ext cx="46355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DDC1A95F-989A-4100-8162-D7674F205C4F}" type="datetime'''''''''''''''L''u''''x''e''''m''''''''''b''''''u''rg'">
              <a:rPr lang="en-GB" altLang="en-US" sz="800" smtClean="0"/>
              <a:pPr/>
              <a:t>Luxemburg</a:t>
            </a:fld>
            <a:endParaRPr lang="en-GB" sz="800" dirty="0">
              <a:sym typeface="+mn-lt"/>
            </a:endParaRPr>
          </a:p>
        </p:txBody>
      </p:sp>
      <p:sp>
        <p:nvSpPr>
          <p:cNvPr id="227" name="Text Placeholder 4">
            <a:extLst>
              <a:ext uri="{FF2B5EF4-FFF2-40B4-BE49-F238E27FC236}">
                <a16:creationId xmlns:a16="http://schemas.microsoft.com/office/drawing/2014/main" id="{4C1F3293-4EFE-461D-940D-7EE66BAE31C5}"/>
              </a:ext>
            </a:extLst>
          </p:cNvPr>
          <p:cNvSpPr>
            <a:spLocks noGrp="1"/>
          </p:cNvSpPr>
          <p:nvPr>
            <p:custDataLst>
              <p:tags r:id="rId64"/>
            </p:custDataLst>
          </p:nvPr>
        </p:nvSpPr>
        <p:spPr bwMode="auto">
          <a:xfrm>
            <a:off x="4268788" y="3130550"/>
            <a:ext cx="42386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ED79B19B-27C9-4DCD-BFBE-FFB9C711A24A}" type="datetime'''C''''''o''''''s''t''''a'''''''''''' ''R''''''i''ca'''''''''">
              <a:rPr lang="en-GB" altLang="en-US" sz="800" smtClean="0"/>
              <a:pPr/>
              <a:t>Costa Rica</a:t>
            </a:fld>
            <a:endParaRPr lang="en-GB" sz="800" dirty="0">
              <a:sym typeface="+mn-lt"/>
            </a:endParaRPr>
          </a:p>
        </p:txBody>
      </p:sp>
      <p:sp>
        <p:nvSpPr>
          <p:cNvPr id="239" name="Text Placeholder 4">
            <a:extLst>
              <a:ext uri="{FF2B5EF4-FFF2-40B4-BE49-F238E27FC236}">
                <a16:creationId xmlns:a16="http://schemas.microsoft.com/office/drawing/2014/main" id="{4C1F3293-4EFE-461D-940D-7EE66BAE31C5}"/>
              </a:ext>
            </a:extLst>
          </p:cNvPr>
          <p:cNvSpPr>
            <a:spLocks noGrp="1"/>
          </p:cNvSpPr>
          <p:nvPr>
            <p:custDataLst>
              <p:tags r:id="rId65"/>
            </p:custDataLst>
          </p:nvPr>
        </p:nvSpPr>
        <p:spPr bwMode="auto">
          <a:xfrm>
            <a:off x="4268788" y="4695825"/>
            <a:ext cx="192088"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676607B7-66DF-4617-AB13-A198CEC1D208}" type="datetime'Pe''''''''''''''''''''''''''''''''r''''u'">
              <a:rPr lang="en-GB" altLang="en-US" sz="800" smtClean="0"/>
              <a:pPr/>
              <a:t>Peru</a:t>
            </a:fld>
            <a:endParaRPr lang="en-GB" sz="800" dirty="0">
              <a:sym typeface="+mn-lt"/>
            </a:endParaRPr>
          </a:p>
        </p:txBody>
      </p:sp>
      <p:sp>
        <p:nvSpPr>
          <p:cNvPr id="291" name="Text Placeholder 4">
            <a:extLst>
              <a:ext uri="{FF2B5EF4-FFF2-40B4-BE49-F238E27FC236}">
                <a16:creationId xmlns:a16="http://schemas.microsoft.com/office/drawing/2014/main" id="{787AC651-38EC-4F05-A806-B29AD79EEB76}"/>
              </a:ext>
            </a:extLst>
          </p:cNvPr>
          <p:cNvSpPr>
            <a:spLocks noGrp="1"/>
          </p:cNvSpPr>
          <p:nvPr>
            <p:custDataLst>
              <p:tags r:id="rId66"/>
            </p:custDataLst>
          </p:nvPr>
        </p:nvSpPr>
        <p:spPr bwMode="auto">
          <a:xfrm>
            <a:off x="4268788" y="5738813"/>
            <a:ext cx="331788"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D0A35EDF-9CE6-4470-A44D-73161BAD1B3C}" type="datetime'''''''''L''i''''''''''b''''''''a''''''''no''''''n'''''''''''''">
              <a:rPr lang="en-GB" altLang="en-US" sz="800" smtClean="0"/>
              <a:pPr/>
              <a:t>Libanon</a:t>
            </a:fld>
            <a:endParaRPr lang="en-GB" sz="800" dirty="0">
              <a:sym typeface="+mn-lt"/>
            </a:endParaRPr>
          </a:p>
        </p:txBody>
      </p:sp>
      <p:sp>
        <p:nvSpPr>
          <p:cNvPr id="193" name="Text Placeholder 4">
            <a:extLst>
              <a:ext uri="{FF2B5EF4-FFF2-40B4-BE49-F238E27FC236}">
                <a16:creationId xmlns:a16="http://schemas.microsoft.com/office/drawing/2014/main" id="{70C7AFD8-AA21-4649-82B9-0E986D6E8AA6}"/>
              </a:ext>
            </a:extLst>
          </p:cNvPr>
          <p:cNvSpPr>
            <a:spLocks noGrp="1"/>
          </p:cNvSpPr>
          <p:nvPr>
            <p:custDataLst>
              <p:tags r:id="rId67"/>
            </p:custDataLst>
          </p:nvPr>
        </p:nvSpPr>
        <p:spPr bwMode="auto">
          <a:xfrm>
            <a:off x="4268788" y="2087563"/>
            <a:ext cx="376238"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119B2B06-92AE-481E-A599-1C8737BEA509}" type="datetime'''''O''''e''''''''k''''''''''''r''''''''''''''''a''''ï''n''e'">
              <a:rPr lang="en-GB" altLang="en-US" sz="800" smtClean="0"/>
              <a:pPr/>
              <a:t>Oekraïne</a:t>
            </a:fld>
            <a:endParaRPr lang="en-GB" sz="800" dirty="0">
              <a:sym typeface="+mn-lt"/>
            </a:endParaRPr>
          </a:p>
        </p:txBody>
      </p:sp>
      <p:sp>
        <p:nvSpPr>
          <p:cNvPr id="480" name="Text Placeholder 4">
            <a:extLst>
              <a:ext uri="{FF2B5EF4-FFF2-40B4-BE49-F238E27FC236}">
                <a16:creationId xmlns:a16="http://schemas.microsoft.com/office/drawing/2014/main" id="{0E3B7FAD-894C-423A-96C5-BFFC27620D6B}"/>
              </a:ext>
            </a:extLst>
          </p:cNvPr>
          <p:cNvSpPr>
            <a:spLocks noGrp="1"/>
          </p:cNvSpPr>
          <p:nvPr>
            <p:custDataLst>
              <p:tags r:id="rId68"/>
            </p:custDataLst>
          </p:nvPr>
        </p:nvSpPr>
        <p:spPr bwMode="auto">
          <a:xfrm>
            <a:off x="4268788" y="2192338"/>
            <a:ext cx="2825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CD424836-2933-4F66-B7E1-C2ECA911B548}" type="datetime'''''''T''''''''''u''''''rk''''''i''''''''''j''e'''''''''">
              <a:rPr lang="en-GB" altLang="en-US" sz="800" smtClean="0"/>
              <a:pPr/>
              <a:t>Turkije</a:t>
            </a:fld>
            <a:endParaRPr lang="en-GB" sz="800" dirty="0">
              <a:sym typeface="+mn-lt"/>
            </a:endParaRPr>
          </a:p>
        </p:txBody>
      </p:sp>
      <p:sp>
        <p:nvSpPr>
          <p:cNvPr id="229" name="Text Placeholder 4">
            <a:extLst>
              <a:ext uri="{FF2B5EF4-FFF2-40B4-BE49-F238E27FC236}">
                <a16:creationId xmlns:a16="http://schemas.microsoft.com/office/drawing/2014/main" id="{4C1F3293-4EFE-461D-940D-7EE66BAE31C5}"/>
              </a:ext>
            </a:extLst>
          </p:cNvPr>
          <p:cNvSpPr>
            <a:spLocks noGrp="1"/>
          </p:cNvSpPr>
          <p:nvPr>
            <p:custDataLst>
              <p:tags r:id="rId69"/>
            </p:custDataLst>
          </p:nvPr>
        </p:nvSpPr>
        <p:spPr bwMode="auto">
          <a:xfrm>
            <a:off x="4268788" y="3652838"/>
            <a:ext cx="363538"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0F87CC63-F8E5-451D-B6BD-AB03EC692F25}" type="datetime'B''u''''''''l''ga''''''''r''''''ije'''''''''''''''''''''''''">
              <a:rPr lang="en-GB" altLang="en-US" sz="800" smtClean="0"/>
              <a:pPr/>
              <a:t>Bulgarije</a:t>
            </a:fld>
            <a:endParaRPr lang="en-GB" sz="800" dirty="0">
              <a:sym typeface="+mn-lt"/>
            </a:endParaRPr>
          </a:p>
        </p:txBody>
      </p:sp>
      <p:sp>
        <p:nvSpPr>
          <p:cNvPr id="404" name="Text Placeholder 4">
            <a:extLst>
              <a:ext uri="{FF2B5EF4-FFF2-40B4-BE49-F238E27FC236}">
                <a16:creationId xmlns:a16="http://schemas.microsoft.com/office/drawing/2014/main" id="{D7E01830-4310-4C07-B9C3-3293355C3581}"/>
              </a:ext>
            </a:extLst>
          </p:cNvPr>
          <p:cNvSpPr>
            <a:spLocks noGrp="1"/>
          </p:cNvSpPr>
          <p:nvPr>
            <p:custDataLst>
              <p:tags r:id="rId70"/>
            </p:custDataLst>
          </p:nvPr>
        </p:nvSpPr>
        <p:spPr bwMode="auto">
          <a:xfrm>
            <a:off x="4268788" y="2297113"/>
            <a:ext cx="39052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2CAC2C1F-2457-46D7-B4FA-9E63FDCA3B88}" type="datetime'Sl''''''''''o''''''w''''''a''k''''i''''''''''''j''''e'">
              <a:rPr lang="en-GB" altLang="en-US" sz="800" smtClean="0"/>
              <a:pPr/>
              <a:t>Slowakije</a:t>
            </a:fld>
            <a:endParaRPr lang="en-GB" sz="800" dirty="0">
              <a:sym typeface="+mn-lt"/>
            </a:endParaRPr>
          </a:p>
        </p:txBody>
      </p:sp>
      <p:sp>
        <p:nvSpPr>
          <p:cNvPr id="406" name="Text Placeholder 4">
            <a:extLst>
              <a:ext uri="{FF2B5EF4-FFF2-40B4-BE49-F238E27FC236}">
                <a16:creationId xmlns:a16="http://schemas.microsoft.com/office/drawing/2014/main" id="{B3E30918-3D34-4E9C-91CA-B2950BEB00E2}"/>
              </a:ext>
            </a:extLst>
          </p:cNvPr>
          <p:cNvSpPr>
            <a:spLocks noGrp="1"/>
          </p:cNvSpPr>
          <p:nvPr>
            <p:custDataLst>
              <p:tags r:id="rId71"/>
            </p:custDataLst>
          </p:nvPr>
        </p:nvSpPr>
        <p:spPr bwMode="auto">
          <a:xfrm>
            <a:off x="4268788" y="2401888"/>
            <a:ext cx="50482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A1FCE06C-E42E-41D7-B1F7-239A02E185E9}" type="datetime'Gr''ie''''''k''''e''n''''''''''''l''''''''''an''''''''''''d'''">
              <a:rPr lang="en-GB" altLang="en-US" sz="800" smtClean="0"/>
              <a:pPr/>
              <a:t>Griekenland</a:t>
            </a:fld>
            <a:endParaRPr lang="en-GB" sz="800" dirty="0">
              <a:sym typeface="+mn-lt"/>
            </a:endParaRPr>
          </a:p>
        </p:txBody>
      </p:sp>
      <p:sp>
        <p:nvSpPr>
          <p:cNvPr id="298" name="Text Placeholder 4">
            <a:extLst>
              <a:ext uri="{FF2B5EF4-FFF2-40B4-BE49-F238E27FC236}">
                <a16:creationId xmlns:a16="http://schemas.microsoft.com/office/drawing/2014/main" id="{BDEF7651-D2E4-496C-9D01-996EDF674495}"/>
              </a:ext>
            </a:extLst>
          </p:cNvPr>
          <p:cNvSpPr>
            <a:spLocks noGrp="1"/>
          </p:cNvSpPr>
          <p:nvPr>
            <p:custDataLst>
              <p:tags r:id="rId72"/>
            </p:custDataLst>
          </p:nvPr>
        </p:nvSpPr>
        <p:spPr bwMode="auto">
          <a:xfrm>
            <a:off x="4268788" y="6051550"/>
            <a:ext cx="37782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600022E1-155E-47C1-B8F0-BE0B07F8133D}" type="datetime'''F''i''''''''''''l''''''i''''''''p''ij''n''''''e''''''''n'''">
              <a:rPr lang="en-GB" altLang="en-US" sz="800" smtClean="0"/>
              <a:pPr/>
              <a:t>Filipijnen</a:t>
            </a:fld>
            <a:endParaRPr lang="en-GB" sz="800" dirty="0">
              <a:sym typeface="+mn-lt"/>
            </a:endParaRPr>
          </a:p>
        </p:txBody>
      </p:sp>
      <p:sp>
        <p:nvSpPr>
          <p:cNvPr id="285" name="Text Placeholder 4">
            <a:extLst>
              <a:ext uri="{FF2B5EF4-FFF2-40B4-BE49-F238E27FC236}">
                <a16:creationId xmlns:a16="http://schemas.microsoft.com/office/drawing/2014/main" id="{6434EB97-5A85-44E3-8829-58B84A9C8EF4}"/>
              </a:ext>
            </a:extLst>
          </p:cNvPr>
          <p:cNvSpPr>
            <a:spLocks noGrp="1"/>
          </p:cNvSpPr>
          <p:nvPr>
            <p:custDataLst>
              <p:tags r:id="rId73"/>
            </p:custDataLst>
          </p:nvPr>
        </p:nvSpPr>
        <p:spPr bwMode="auto">
          <a:xfrm>
            <a:off x="4268788" y="5426075"/>
            <a:ext cx="33496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E3647243-7D12-492F-B9D0-A3F4F2F1F25F}" type="datetime'''''Pa''n''''a''''m''''''''''''''''''''''''''''''''''''''a'">
              <a:rPr lang="en-GB" altLang="en-US" sz="800" smtClean="0"/>
              <a:pPr/>
              <a:t>Panama</a:t>
            </a:fld>
            <a:endParaRPr lang="en-GB" sz="800" dirty="0">
              <a:sym typeface="+mn-lt"/>
            </a:endParaRPr>
          </a:p>
        </p:txBody>
      </p:sp>
      <p:sp>
        <p:nvSpPr>
          <p:cNvPr id="221" name="Text Placeholder 4">
            <a:extLst>
              <a:ext uri="{FF2B5EF4-FFF2-40B4-BE49-F238E27FC236}">
                <a16:creationId xmlns:a16="http://schemas.microsoft.com/office/drawing/2014/main" id="{4C1F3293-4EFE-461D-940D-7EE66BAE31C5}"/>
              </a:ext>
            </a:extLst>
          </p:cNvPr>
          <p:cNvSpPr>
            <a:spLocks noGrp="1"/>
          </p:cNvSpPr>
          <p:nvPr>
            <p:custDataLst>
              <p:tags r:id="rId74"/>
            </p:custDataLst>
          </p:nvPr>
        </p:nvSpPr>
        <p:spPr bwMode="auto">
          <a:xfrm>
            <a:off x="4268788" y="2505075"/>
            <a:ext cx="179388"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725B7A32-3EBC-49B1-92F0-84DBE35A42B3}" type="datetime'C''h''''''''''''''''''''i''''''li'''''''''''''''''''''''''''">
              <a:rPr lang="en-GB" altLang="en-US" sz="800" smtClean="0"/>
              <a:pPr/>
              <a:t>Chili</a:t>
            </a:fld>
            <a:endParaRPr lang="en-GB" sz="800" dirty="0">
              <a:sym typeface="+mn-lt"/>
            </a:endParaRPr>
          </a:p>
        </p:txBody>
      </p:sp>
      <p:sp>
        <p:nvSpPr>
          <p:cNvPr id="235" name="Text Placeholder 4">
            <a:extLst>
              <a:ext uri="{FF2B5EF4-FFF2-40B4-BE49-F238E27FC236}">
                <a16:creationId xmlns:a16="http://schemas.microsoft.com/office/drawing/2014/main" id="{4C1F3293-4EFE-461D-940D-7EE66BAE31C5}"/>
              </a:ext>
            </a:extLst>
          </p:cNvPr>
          <p:cNvSpPr>
            <a:spLocks noGrp="1"/>
          </p:cNvSpPr>
          <p:nvPr>
            <p:custDataLst>
              <p:tags r:id="rId75"/>
            </p:custDataLst>
          </p:nvPr>
        </p:nvSpPr>
        <p:spPr bwMode="auto">
          <a:xfrm>
            <a:off x="4268788" y="4278313"/>
            <a:ext cx="23495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0F2E8255-BAD0-43A1-BC10-172CBF71A56C}" type="datetime'''Q''a''''''''''''''''''t''''''''''''''''''''''''''''a''''r'''">
              <a:rPr lang="en-GB" altLang="en-US" sz="800" smtClean="0"/>
              <a:pPr/>
              <a:t>Qatar</a:t>
            </a:fld>
            <a:endParaRPr lang="en-GB" sz="800" dirty="0">
              <a:sym typeface="+mn-lt"/>
            </a:endParaRPr>
          </a:p>
        </p:txBody>
      </p:sp>
      <p:sp>
        <p:nvSpPr>
          <p:cNvPr id="222" name="Text Placeholder 4">
            <a:extLst>
              <a:ext uri="{FF2B5EF4-FFF2-40B4-BE49-F238E27FC236}">
                <a16:creationId xmlns:a16="http://schemas.microsoft.com/office/drawing/2014/main" id="{4C1F3293-4EFE-461D-940D-7EE66BAE31C5}"/>
              </a:ext>
            </a:extLst>
          </p:cNvPr>
          <p:cNvSpPr>
            <a:spLocks noGrp="1"/>
          </p:cNvSpPr>
          <p:nvPr>
            <p:custDataLst>
              <p:tags r:id="rId76"/>
            </p:custDataLst>
          </p:nvPr>
        </p:nvSpPr>
        <p:spPr bwMode="auto">
          <a:xfrm>
            <a:off x="4268788" y="2609850"/>
            <a:ext cx="242888"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9E47AC29-E5B7-4174-A806-23D5B3963DB6}" type="datetime'''Ma''''''''l''''''t''''''''''''''''''a'''''''''''''''''''''''">
              <a:rPr lang="en-GB" altLang="en-US" sz="800" smtClean="0"/>
              <a:pPr/>
              <a:t>Malta</a:t>
            </a:fld>
            <a:endParaRPr lang="en-GB" sz="800" dirty="0">
              <a:sym typeface="+mn-lt"/>
            </a:endParaRPr>
          </a:p>
        </p:txBody>
      </p:sp>
      <p:sp>
        <p:nvSpPr>
          <p:cNvPr id="224" name="Text Placeholder 4">
            <a:extLst>
              <a:ext uri="{FF2B5EF4-FFF2-40B4-BE49-F238E27FC236}">
                <a16:creationId xmlns:a16="http://schemas.microsoft.com/office/drawing/2014/main" id="{4C1F3293-4EFE-461D-940D-7EE66BAE31C5}"/>
              </a:ext>
            </a:extLst>
          </p:cNvPr>
          <p:cNvSpPr>
            <a:spLocks noGrp="1"/>
          </p:cNvSpPr>
          <p:nvPr>
            <p:custDataLst>
              <p:tags r:id="rId77"/>
            </p:custDataLst>
          </p:nvPr>
        </p:nvSpPr>
        <p:spPr bwMode="auto">
          <a:xfrm>
            <a:off x="4268788" y="2817813"/>
            <a:ext cx="1651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0753F6E3-342A-43C6-A1C9-5B0F493AD5EB}" type="datetime'''''''''''''''''''''''''''''''''''''''''VAE'''''''''''''''''''">
              <a:rPr lang="en-GB" altLang="en-US" sz="800" smtClean="0"/>
              <a:pPr/>
              <a:t>VAE</a:t>
            </a:fld>
            <a:endParaRPr lang="en-GB" sz="800" dirty="0">
              <a:sym typeface="+mn-lt"/>
            </a:endParaRPr>
          </a:p>
        </p:txBody>
      </p:sp>
      <p:sp>
        <p:nvSpPr>
          <p:cNvPr id="225" name="Text Placeholder 4">
            <a:extLst>
              <a:ext uri="{FF2B5EF4-FFF2-40B4-BE49-F238E27FC236}">
                <a16:creationId xmlns:a16="http://schemas.microsoft.com/office/drawing/2014/main" id="{4C1F3293-4EFE-461D-940D-7EE66BAE31C5}"/>
              </a:ext>
            </a:extLst>
          </p:cNvPr>
          <p:cNvSpPr>
            <a:spLocks noGrp="1"/>
          </p:cNvSpPr>
          <p:nvPr>
            <p:custDataLst>
              <p:tags r:id="rId78"/>
            </p:custDataLst>
          </p:nvPr>
        </p:nvSpPr>
        <p:spPr bwMode="auto">
          <a:xfrm>
            <a:off x="4268788" y="2922588"/>
            <a:ext cx="420688"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0CF5FDA0-340F-4170-88CA-2BCEDA85965D}" type="datetime'''''''''''''Ro''e''''m''''''''''''e''''''''''''''ni''ë'''''">
              <a:rPr lang="en-GB" altLang="en-US" sz="800" smtClean="0"/>
              <a:pPr/>
              <a:t>Roemenië</a:t>
            </a:fld>
            <a:endParaRPr lang="en-GB" sz="800" dirty="0">
              <a:sym typeface="+mn-lt"/>
            </a:endParaRPr>
          </a:p>
        </p:txBody>
      </p:sp>
      <p:sp>
        <p:nvSpPr>
          <p:cNvPr id="226" name="Text Placeholder 4">
            <a:extLst>
              <a:ext uri="{FF2B5EF4-FFF2-40B4-BE49-F238E27FC236}">
                <a16:creationId xmlns:a16="http://schemas.microsoft.com/office/drawing/2014/main" id="{4C1F3293-4EFE-461D-940D-7EE66BAE31C5}"/>
              </a:ext>
            </a:extLst>
          </p:cNvPr>
          <p:cNvSpPr>
            <a:spLocks noGrp="1"/>
          </p:cNvSpPr>
          <p:nvPr>
            <p:custDataLst>
              <p:tags r:id="rId79"/>
            </p:custDataLst>
          </p:nvPr>
        </p:nvSpPr>
        <p:spPr bwMode="auto">
          <a:xfrm>
            <a:off x="4268788" y="3027363"/>
            <a:ext cx="350838"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3B6704A8-1C74-4A4E-A3A4-0BD700377379}" type="datetime'''U''''r''''''''ug''u''''''''''''ay'''''">
              <a:rPr lang="en-GB" altLang="en-US" sz="800" smtClean="0"/>
              <a:pPr/>
              <a:t>Uruguay</a:t>
            </a:fld>
            <a:endParaRPr lang="en-GB" sz="800" dirty="0">
              <a:sym typeface="+mn-lt"/>
            </a:endParaRPr>
          </a:p>
        </p:txBody>
      </p:sp>
      <p:sp>
        <p:nvSpPr>
          <p:cNvPr id="228" name="Text Placeholder 4">
            <a:extLst>
              <a:ext uri="{FF2B5EF4-FFF2-40B4-BE49-F238E27FC236}">
                <a16:creationId xmlns:a16="http://schemas.microsoft.com/office/drawing/2014/main" id="{4C1F3293-4EFE-461D-940D-7EE66BAE31C5}"/>
              </a:ext>
            </a:extLst>
          </p:cNvPr>
          <p:cNvSpPr>
            <a:spLocks noGrp="1"/>
          </p:cNvSpPr>
          <p:nvPr>
            <p:custDataLst>
              <p:tags r:id="rId80"/>
            </p:custDataLst>
          </p:nvPr>
        </p:nvSpPr>
        <p:spPr bwMode="auto">
          <a:xfrm>
            <a:off x="4268788" y="3235325"/>
            <a:ext cx="388938"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B0E1E9D1-B441-49B3-BDF8-E145D1423091}" type="datetime'''''''''''M''''o''''''''''''ld''''a''''v''''''i''ë'''">
              <a:rPr lang="en-GB" altLang="en-US" sz="800" smtClean="0"/>
              <a:pPr/>
              <a:t>Moldavië</a:t>
            </a:fld>
            <a:endParaRPr lang="en-GB" sz="800" dirty="0">
              <a:sym typeface="+mn-lt"/>
            </a:endParaRPr>
          </a:p>
        </p:txBody>
      </p:sp>
      <p:sp>
        <p:nvSpPr>
          <p:cNvPr id="287" name="Text Placeholder 4">
            <a:extLst>
              <a:ext uri="{FF2B5EF4-FFF2-40B4-BE49-F238E27FC236}">
                <a16:creationId xmlns:a16="http://schemas.microsoft.com/office/drawing/2014/main" id="{3E7DE617-4AAF-4FA8-ADB2-5C8486F7A38A}"/>
              </a:ext>
            </a:extLst>
          </p:cNvPr>
          <p:cNvSpPr>
            <a:spLocks noGrp="1"/>
          </p:cNvSpPr>
          <p:nvPr>
            <p:custDataLst>
              <p:tags r:id="rId81"/>
            </p:custDataLst>
          </p:nvPr>
        </p:nvSpPr>
        <p:spPr bwMode="auto">
          <a:xfrm>
            <a:off x="4268788" y="5530850"/>
            <a:ext cx="4064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9DA9D593-C479-48DA-A651-56FC38126784}" type="datetime'I''''''''''''n''''''''''''''''''d''''''''''''one''''si''''ë'''">
              <a:rPr lang="en-GB" altLang="en-US" sz="800" smtClean="0"/>
              <a:pPr/>
              <a:t>Indonesië</a:t>
            </a:fld>
            <a:endParaRPr lang="en-GB" sz="800" dirty="0">
              <a:sym typeface="+mn-lt"/>
            </a:endParaRPr>
          </a:p>
        </p:txBody>
      </p:sp>
      <p:sp>
        <p:nvSpPr>
          <p:cNvPr id="156" name="Text Placeholder 4">
            <a:extLst>
              <a:ext uri="{FF2B5EF4-FFF2-40B4-BE49-F238E27FC236}">
                <a16:creationId xmlns:a16="http://schemas.microsoft.com/office/drawing/2014/main" id="{8F157216-F3CB-4025-AE3B-B42B5C878145}"/>
              </a:ext>
            </a:extLst>
          </p:cNvPr>
          <p:cNvSpPr>
            <a:spLocks noGrp="1"/>
          </p:cNvSpPr>
          <p:nvPr>
            <p:custDataLst>
              <p:tags r:id="rId82"/>
            </p:custDataLst>
          </p:nvPr>
        </p:nvSpPr>
        <p:spPr bwMode="auto">
          <a:xfrm>
            <a:off x="4268788" y="3340100"/>
            <a:ext cx="112236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GB" altLang="en-US" sz="800" b="1" dirty="0">
                <a:solidFill>
                  <a:schemeClr val="accent2"/>
                </a:solidFill>
              </a:rPr>
              <a:t>NL – Laagopgeleide ouders</a:t>
            </a:r>
            <a:endParaRPr lang="en-GB" sz="800" b="1" dirty="0">
              <a:solidFill>
                <a:schemeClr val="accent2"/>
              </a:solidFill>
              <a:sym typeface="+mn-lt"/>
            </a:endParaRPr>
          </a:p>
        </p:txBody>
      </p:sp>
      <p:sp>
        <p:nvSpPr>
          <p:cNvPr id="426" name="Text Placeholder 4">
            <a:extLst>
              <a:ext uri="{FF2B5EF4-FFF2-40B4-BE49-F238E27FC236}">
                <a16:creationId xmlns:a16="http://schemas.microsoft.com/office/drawing/2014/main" id="{C4C891FD-A094-4140-B3CA-A65D14D7DC3E}"/>
              </a:ext>
            </a:extLst>
          </p:cNvPr>
          <p:cNvSpPr>
            <a:spLocks noGrp="1"/>
          </p:cNvSpPr>
          <p:nvPr>
            <p:custDataLst>
              <p:tags r:id="rId83"/>
            </p:custDataLst>
          </p:nvPr>
        </p:nvSpPr>
        <p:spPr bwMode="auto">
          <a:xfrm>
            <a:off x="4268788" y="3444875"/>
            <a:ext cx="5207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5ED40A3F-CCEB-4AD9-B43E-2F098747AC82}" type="datetime'Mo''''''''nt''e''n''e''''''''g''''''''r''''''o'''">
              <a:rPr lang="en-GB" altLang="en-US" sz="800" smtClean="0"/>
              <a:pPr/>
              <a:t>Montenegro</a:t>
            </a:fld>
            <a:endParaRPr lang="en-GB" sz="800" dirty="0">
              <a:sym typeface="+mn-lt"/>
            </a:endParaRPr>
          </a:p>
        </p:txBody>
      </p:sp>
      <p:sp>
        <p:nvSpPr>
          <p:cNvPr id="432" name="Text Placeholder 4">
            <a:extLst>
              <a:ext uri="{FF2B5EF4-FFF2-40B4-BE49-F238E27FC236}">
                <a16:creationId xmlns:a16="http://schemas.microsoft.com/office/drawing/2014/main" id="{85CF28D2-63D5-448A-B2AC-0459A17C0381}"/>
              </a:ext>
            </a:extLst>
          </p:cNvPr>
          <p:cNvSpPr>
            <a:spLocks noGrp="1"/>
          </p:cNvSpPr>
          <p:nvPr>
            <p:custDataLst>
              <p:tags r:id="rId84"/>
            </p:custDataLst>
          </p:nvPr>
        </p:nvSpPr>
        <p:spPr bwMode="auto">
          <a:xfrm>
            <a:off x="4268788" y="3548063"/>
            <a:ext cx="30321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D4DC6C91-56F3-47E9-A39C-151FD56CC8AE}" type="datetime'''''''''''''''''''''''''''''M''exi''''''''''''''''c''''''''o'">
              <a:rPr lang="en-GB" altLang="en-US" sz="800" smtClean="0"/>
              <a:pPr/>
              <a:t>Mexico</a:t>
            </a:fld>
            <a:endParaRPr lang="en-GB" sz="800" dirty="0">
              <a:sym typeface="+mn-lt"/>
            </a:endParaRPr>
          </a:p>
        </p:txBody>
      </p:sp>
      <p:sp>
        <p:nvSpPr>
          <p:cNvPr id="230" name="Text Placeholder 4">
            <a:extLst>
              <a:ext uri="{FF2B5EF4-FFF2-40B4-BE49-F238E27FC236}">
                <a16:creationId xmlns:a16="http://schemas.microsoft.com/office/drawing/2014/main" id="{4C1F3293-4EFE-461D-940D-7EE66BAE31C5}"/>
              </a:ext>
            </a:extLst>
          </p:cNvPr>
          <p:cNvSpPr>
            <a:spLocks noGrp="1"/>
          </p:cNvSpPr>
          <p:nvPr>
            <p:custDataLst>
              <p:tags r:id="rId85"/>
            </p:custDataLst>
          </p:nvPr>
        </p:nvSpPr>
        <p:spPr bwMode="auto">
          <a:xfrm>
            <a:off x="4268788" y="3757613"/>
            <a:ext cx="35242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3764F5AC-A2E7-449F-AFD0-C94924F0335B}" type="datetime'''''''Jo''''''r''''''d''''a''''n''''''''''''''''i''''ë'''">
              <a:rPr lang="en-GB" altLang="en-US" sz="800" smtClean="0"/>
              <a:pPr/>
              <a:t>Jordanië</a:t>
            </a:fld>
            <a:endParaRPr lang="en-GB" sz="800" dirty="0">
              <a:sym typeface="+mn-lt"/>
            </a:endParaRPr>
          </a:p>
        </p:txBody>
      </p:sp>
      <p:sp>
        <p:nvSpPr>
          <p:cNvPr id="231" name="Text Placeholder 4">
            <a:extLst>
              <a:ext uri="{FF2B5EF4-FFF2-40B4-BE49-F238E27FC236}">
                <a16:creationId xmlns:a16="http://schemas.microsoft.com/office/drawing/2014/main" id="{4C1F3293-4EFE-461D-940D-7EE66BAE31C5}"/>
              </a:ext>
            </a:extLst>
          </p:cNvPr>
          <p:cNvSpPr>
            <a:spLocks noGrp="1"/>
          </p:cNvSpPr>
          <p:nvPr>
            <p:custDataLst>
              <p:tags r:id="rId86"/>
            </p:custDataLst>
          </p:nvPr>
        </p:nvSpPr>
        <p:spPr bwMode="auto">
          <a:xfrm>
            <a:off x="4268788" y="3860800"/>
            <a:ext cx="34925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C8544656-C6DA-4861-A99B-F404304E405F}" type="datetime'''''''''''''''''''''M''''''''''a''''''''''''l''e''i''''''sië'">
              <a:rPr lang="en-GB" altLang="en-US" sz="800" smtClean="0"/>
              <a:pPr/>
              <a:t>Maleisië</a:t>
            </a:fld>
            <a:endParaRPr lang="en-GB" sz="800" dirty="0">
              <a:sym typeface="+mn-lt"/>
            </a:endParaRPr>
          </a:p>
        </p:txBody>
      </p:sp>
      <p:sp>
        <p:nvSpPr>
          <p:cNvPr id="232" name="Text Placeholder 4">
            <a:extLst>
              <a:ext uri="{FF2B5EF4-FFF2-40B4-BE49-F238E27FC236}">
                <a16:creationId xmlns:a16="http://schemas.microsoft.com/office/drawing/2014/main" id="{4C1F3293-4EFE-461D-940D-7EE66BAE31C5}"/>
              </a:ext>
            </a:extLst>
          </p:cNvPr>
          <p:cNvSpPr>
            <a:spLocks noGrp="1"/>
          </p:cNvSpPr>
          <p:nvPr>
            <p:custDataLst>
              <p:tags r:id="rId87"/>
            </p:custDataLst>
          </p:nvPr>
        </p:nvSpPr>
        <p:spPr bwMode="auto">
          <a:xfrm>
            <a:off x="4268788" y="3965575"/>
            <a:ext cx="30162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242524FD-A642-4EDC-B2C6-E348FD4EFCF8}" type="datetime'B''''''''''''''''raz''''''''''''i''l''''''''''''''i''''ë'''">
              <a:rPr lang="en-GB" altLang="en-US" sz="800" smtClean="0"/>
              <a:pPr/>
              <a:t>Brazilië</a:t>
            </a:fld>
            <a:endParaRPr lang="en-GB" sz="800" dirty="0">
              <a:sym typeface="+mn-lt"/>
            </a:endParaRPr>
          </a:p>
        </p:txBody>
      </p:sp>
      <p:sp>
        <p:nvSpPr>
          <p:cNvPr id="223" name="Text Placeholder 4">
            <a:extLst>
              <a:ext uri="{FF2B5EF4-FFF2-40B4-BE49-F238E27FC236}">
                <a16:creationId xmlns:a16="http://schemas.microsoft.com/office/drawing/2014/main" id="{4C1F3293-4EFE-461D-940D-7EE66BAE31C5}"/>
              </a:ext>
            </a:extLst>
          </p:cNvPr>
          <p:cNvSpPr>
            <a:spLocks noGrp="1"/>
          </p:cNvSpPr>
          <p:nvPr>
            <p:custDataLst>
              <p:tags r:id="rId88"/>
            </p:custDataLst>
          </p:nvPr>
        </p:nvSpPr>
        <p:spPr bwMode="auto">
          <a:xfrm>
            <a:off x="4268788" y="2714625"/>
            <a:ext cx="25241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00CC46F7-5771-4FBD-A6C8-89042796AD38}" type="datetime'''''''''S''''''e''''''''''''r''''''''''''v''''i''''ë'''">
              <a:rPr lang="en-GB" altLang="en-US" sz="800" smtClean="0"/>
              <a:pPr/>
              <a:t>Servië</a:t>
            </a:fld>
            <a:endParaRPr lang="en-GB" sz="800" dirty="0">
              <a:sym typeface="+mn-lt"/>
            </a:endParaRPr>
          </a:p>
        </p:txBody>
      </p:sp>
      <p:sp>
        <p:nvSpPr>
          <p:cNvPr id="234" name="Text Placeholder 4">
            <a:extLst>
              <a:ext uri="{FF2B5EF4-FFF2-40B4-BE49-F238E27FC236}">
                <a16:creationId xmlns:a16="http://schemas.microsoft.com/office/drawing/2014/main" id="{4C1F3293-4EFE-461D-940D-7EE66BAE31C5}"/>
              </a:ext>
            </a:extLst>
          </p:cNvPr>
          <p:cNvSpPr>
            <a:spLocks noGrp="1"/>
          </p:cNvSpPr>
          <p:nvPr>
            <p:custDataLst>
              <p:tags r:id="rId89"/>
            </p:custDataLst>
          </p:nvPr>
        </p:nvSpPr>
        <p:spPr bwMode="auto">
          <a:xfrm>
            <a:off x="4268788" y="4173538"/>
            <a:ext cx="27305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9BA85FB6-A9D6-4BDF-B56E-B74E5E7B81E6}" type="datetime'''''''B''''''''''''''r''u''''n''''''e''''i'''">
              <a:rPr lang="en-GB" altLang="en-US" sz="800" smtClean="0"/>
              <a:pPr/>
              <a:t>Brunei</a:t>
            </a:fld>
            <a:endParaRPr lang="en-GB" sz="800" dirty="0">
              <a:sym typeface="+mn-lt"/>
            </a:endParaRPr>
          </a:p>
        </p:txBody>
      </p:sp>
      <p:sp>
        <p:nvSpPr>
          <p:cNvPr id="240" name="Text Placeholder 4">
            <a:extLst>
              <a:ext uri="{FF2B5EF4-FFF2-40B4-BE49-F238E27FC236}">
                <a16:creationId xmlns:a16="http://schemas.microsoft.com/office/drawing/2014/main" id="{4C1F3293-4EFE-461D-940D-7EE66BAE31C5}"/>
              </a:ext>
            </a:extLst>
          </p:cNvPr>
          <p:cNvSpPr>
            <a:spLocks noGrp="1"/>
          </p:cNvSpPr>
          <p:nvPr>
            <p:custDataLst>
              <p:tags r:id="rId90"/>
            </p:custDataLst>
          </p:nvPr>
        </p:nvSpPr>
        <p:spPr bwMode="auto">
          <a:xfrm>
            <a:off x="4268788" y="4800600"/>
            <a:ext cx="58102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3DDC99C2-934D-4A7A-8CC5-00E301BD95B2}" type="datetime'''''S''''''''a''''o''e''''''''''''''''di''''-Ara''''''bië'''''">
              <a:rPr lang="en-GB" altLang="en-US" sz="800" smtClean="0"/>
              <a:pPr/>
              <a:t>Saoedi-Arabië</a:t>
            </a:fld>
            <a:endParaRPr lang="en-GB" sz="800" dirty="0">
              <a:sym typeface="+mn-lt"/>
            </a:endParaRPr>
          </a:p>
        </p:txBody>
      </p:sp>
      <p:sp>
        <p:nvSpPr>
          <p:cNvPr id="236" name="Text Placeholder 4">
            <a:extLst>
              <a:ext uri="{FF2B5EF4-FFF2-40B4-BE49-F238E27FC236}">
                <a16:creationId xmlns:a16="http://schemas.microsoft.com/office/drawing/2014/main" id="{4C1F3293-4EFE-461D-940D-7EE66BAE31C5}"/>
              </a:ext>
            </a:extLst>
          </p:cNvPr>
          <p:cNvSpPr>
            <a:spLocks noGrp="1"/>
          </p:cNvSpPr>
          <p:nvPr>
            <p:custDataLst>
              <p:tags r:id="rId91"/>
            </p:custDataLst>
          </p:nvPr>
        </p:nvSpPr>
        <p:spPr bwMode="auto">
          <a:xfrm>
            <a:off x="4268788" y="4383088"/>
            <a:ext cx="31432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BC47F290-4D03-494F-9778-6AC65FC3A5DD}" type="datetime'Alb''''''''an''''''''''''''''''''''i''''''ë'''''''''''''''''''">
              <a:rPr lang="en-GB" altLang="en-US" sz="800" smtClean="0"/>
              <a:pPr/>
              <a:t>Albanië</a:t>
            </a:fld>
            <a:endParaRPr lang="en-GB" sz="800" dirty="0">
              <a:sym typeface="+mn-lt"/>
            </a:endParaRPr>
          </a:p>
        </p:txBody>
      </p:sp>
      <p:sp>
        <p:nvSpPr>
          <p:cNvPr id="238" name="Text Placeholder 4">
            <a:extLst>
              <a:ext uri="{FF2B5EF4-FFF2-40B4-BE49-F238E27FC236}">
                <a16:creationId xmlns:a16="http://schemas.microsoft.com/office/drawing/2014/main" id="{4C1F3293-4EFE-461D-940D-7EE66BAE31C5}"/>
              </a:ext>
            </a:extLst>
          </p:cNvPr>
          <p:cNvSpPr>
            <a:spLocks noGrp="1"/>
          </p:cNvSpPr>
          <p:nvPr>
            <p:custDataLst>
              <p:tags r:id="rId92"/>
            </p:custDataLst>
          </p:nvPr>
        </p:nvSpPr>
        <p:spPr bwMode="auto">
          <a:xfrm>
            <a:off x="4268788" y="4591050"/>
            <a:ext cx="4318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8AAABE97-E811-4522-948C-4AB5322723F8}" type="datetime'A''''''''r''g''''''''e''nt''''''''''in''''i''''''''ë'">
              <a:rPr lang="en-GB" altLang="en-US" sz="800" smtClean="0"/>
              <a:pPr/>
              <a:t>Argentinië</a:t>
            </a:fld>
            <a:endParaRPr lang="en-GB" sz="800" dirty="0">
              <a:sym typeface="+mn-lt"/>
            </a:endParaRPr>
          </a:p>
        </p:txBody>
      </p:sp>
      <p:sp>
        <p:nvSpPr>
          <p:cNvPr id="241" name="Text Placeholder 4">
            <a:extLst>
              <a:ext uri="{FF2B5EF4-FFF2-40B4-BE49-F238E27FC236}">
                <a16:creationId xmlns:a16="http://schemas.microsoft.com/office/drawing/2014/main" id="{4C1F3293-4EFE-461D-940D-7EE66BAE31C5}"/>
              </a:ext>
            </a:extLst>
          </p:cNvPr>
          <p:cNvSpPr>
            <a:spLocks noGrp="1"/>
          </p:cNvSpPr>
          <p:nvPr>
            <p:custDataLst>
              <p:tags r:id="rId93"/>
            </p:custDataLst>
          </p:nvPr>
        </p:nvSpPr>
        <p:spPr bwMode="auto">
          <a:xfrm>
            <a:off x="4268788" y="4903788"/>
            <a:ext cx="357188"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8E7B1C60-D05A-4A94-AF6F-6C38459BFBF7}" type="datetime'''''''T''''''''''h''''''''''ai''''''l''''''''''''an''''d'''''">
              <a:rPr lang="en-GB" altLang="en-US" sz="800" smtClean="0"/>
              <a:pPr/>
              <a:t>Thailand</a:t>
            </a:fld>
            <a:endParaRPr lang="en-GB" sz="800" dirty="0">
              <a:sym typeface="+mn-lt"/>
            </a:endParaRPr>
          </a:p>
        </p:txBody>
      </p:sp>
      <p:sp>
        <p:nvSpPr>
          <p:cNvPr id="233" name="Text Placeholder 4">
            <a:extLst>
              <a:ext uri="{FF2B5EF4-FFF2-40B4-BE49-F238E27FC236}">
                <a16:creationId xmlns:a16="http://schemas.microsoft.com/office/drawing/2014/main" id="{4C1F3293-4EFE-461D-940D-7EE66BAE31C5}"/>
              </a:ext>
            </a:extLst>
          </p:cNvPr>
          <p:cNvSpPr>
            <a:spLocks noGrp="1"/>
          </p:cNvSpPr>
          <p:nvPr>
            <p:custDataLst>
              <p:tags r:id="rId94"/>
            </p:custDataLst>
          </p:nvPr>
        </p:nvSpPr>
        <p:spPr bwMode="auto">
          <a:xfrm>
            <a:off x="4268788" y="4070350"/>
            <a:ext cx="3937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D345A1E3-FA8B-4994-A7B7-8A52AE580DA0}" type="datetime'''''''''Co''''''''''''''l''''''''''''o''''''mbia'">
              <a:rPr lang="en-GB" altLang="en-US" sz="800" smtClean="0"/>
              <a:pPr/>
              <a:t>Colombia</a:t>
            </a:fld>
            <a:endParaRPr lang="en-GB" sz="800" dirty="0">
              <a:sym typeface="+mn-lt"/>
            </a:endParaRPr>
          </a:p>
        </p:txBody>
      </p:sp>
      <p:sp>
        <p:nvSpPr>
          <p:cNvPr id="244" name="Text Placeholder 4">
            <a:extLst>
              <a:ext uri="{FF2B5EF4-FFF2-40B4-BE49-F238E27FC236}">
                <a16:creationId xmlns:a16="http://schemas.microsoft.com/office/drawing/2014/main" id="{4C1F3293-4EFE-461D-940D-7EE66BAE31C5}"/>
              </a:ext>
            </a:extLst>
          </p:cNvPr>
          <p:cNvSpPr>
            <a:spLocks noGrp="1"/>
          </p:cNvSpPr>
          <p:nvPr>
            <p:custDataLst>
              <p:tags r:id="rId95"/>
            </p:custDataLst>
          </p:nvPr>
        </p:nvSpPr>
        <p:spPr bwMode="auto">
          <a:xfrm>
            <a:off x="4268788" y="5216525"/>
            <a:ext cx="46355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76891C16-9B8E-4348-BF93-84F29732D840}" type="datetime'''K''''''''''''''a''z''a''ch''s''''t''''a''''n'''''''''''''''">
              <a:rPr lang="en-GB" altLang="en-US" sz="800" smtClean="0"/>
              <a:pPr/>
              <a:t>Kazachstan</a:t>
            </a:fld>
            <a:endParaRPr lang="en-GB" sz="800" dirty="0">
              <a:sym typeface="+mn-lt"/>
            </a:endParaRPr>
          </a:p>
        </p:txBody>
      </p:sp>
      <p:sp>
        <p:nvSpPr>
          <p:cNvPr id="289" name="Text Placeholder 4">
            <a:extLst>
              <a:ext uri="{FF2B5EF4-FFF2-40B4-BE49-F238E27FC236}">
                <a16:creationId xmlns:a16="http://schemas.microsoft.com/office/drawing/2014/main" id="{44E74E69-E51C-467F-9C27-592E99A2E91E}"/>
              </a:ext>
            </a:extLst>
          </p:cNvPr>
          <p:cNvSpPr>
            <a:spLocks noGrp="1"/>
          </p:cNvSpPr>
          <p:nvPr>
            <p:custDataLst>
              <p:tags r:id="rId96"/>
            </p:custDataLst>
          </p:nvPr>
        </p:nvSpPr>
        <p:spPr bwMode="auto">
          <a:xfrm>
            <a:off x="4268788" y="5634038"/>
            <a:ext cx="3714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9BF8FD72-29E3-440C-9780-C1751994D888}" type="datetime'''''M''a''''''''r''''''''''o''''''k''''k''''o'''''">
              <a:rPr lang="en-GB" altLang="en-US" sz="800" smtClean="0"/>
              <a:pPr/>
              <a:t>Marokko</a:t>
            </a:fld>
            <a:endParaRPr lang="en-GB" sz="800" dirty="0">
              <a:sym typeface="+mn-lt"/>
            </a:endParaRPr>
          </a:p>
        </p:txBody>
      </p:sp>
      <p:sp>
        <p:nvSpPr>
          <p:cNvPr id="283" name="Text Placeholder 4">
            <a:extLst>
              <a:ext uri="{FF2B5EF4-FFF2-40B4-BE49-F238E27FC236}">
                <a16:creationId xmlns:a16="http://schemas.microsoft.com/office/drawing/2014/main" id="{C399073D-ACFA-48C4-80EF-AB7D8C64F774}"/>
              </a:ext>
            </a:extLst>
          </p:cNvPr>
          <p:cNvSpPr>
            <a:spLocks noGrp="1"/>
          </p:cNvSpPr>
          <p:nvPr>
            <p:custDataLst>
              <p:tags r:id="rId97"/>
            </p:custDataLst>
          </p:nvPr>
        </p:nvSpPr>
        <p:spPr bwMode="auto">
          <a:xfrm>
            <a:off x="4268788" y="5321300"/>
            <a:ext cx="325438"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B294DECE-F514-4257-B5D5-FC9C7BCEFAB4}" type="datetime'G''''''''eo''''rg''''''''i''ë'''">
              <a:rPr lang="en-GB" altLang="en-US" sz="800" smtClean="0"/>
              <a:pPr/>
              <a:t>Georgië</a:t>
            </a:fld>
            <a:endParaRPr lang="en-GB" sz="800" dirty="0">
              <a:sym typeface="+mn-lt"/>
            </a:endParaRPr>
          </a:p>
        </p:txBody>
      </p:sp>
      <p:sp>
        <p:nvSpPr>
          <p:cNvPr id="294" name="Text Placeholder 4">
            <a:extLst>
              <a:ext uri="{FF2B5EF4-FFF2-40B4-BE49-F238E27FC236}">
                <a16:creationId xmlns:a16="http://schemas.microsoft.com/office/drawing/2014/main" id="{BF032EB9-1FFC-434E-9970-D9C120700529}"/>
              </a:ext>
            </a:extLst>
          </p:cNvPr>
          <p:cNvSpPr>
            <a:spLocks noGrp="1"/>
          </p:cNvSpPr>
          <p:nvPr>
            <p:custDataLst>
              <p:tags r:id="rId98"/>
            </p:custDataLst>
          </p:nvPr>
        </p:nvSpPr>
        <p:spPr bwMode="auto">
          <a:xfrm>
            <a:off x="4268788" y="5843588"/>
            <a:ext cx="300038"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1D3A2A53-9BF1-43B5-A004-927CB171D501}" type="datetime'K''''o''''''''''''''so''''''''''''''v''''o'''''''''''''">
              <a:rPr lang="en-GB" altLang="en-US" sz="800" smtClean="0"/>
              <a:pPr/>
              <a:t>Kosovo</a:t>
            </a:fld>
            <a:endParaRPr lang="en-GB" sz="800" dirty="0">
              <a:sym typeface="+mn-lt"/>
            </a:endParaRPr>
          </a:p>
        </p:txBody>
      </p:sp>
      <p:sp>
        <p:nvSpPr>
          <p:cNvPr id="296" name="Text Placeholder 4">
            <a:extLst>
              <a:ext uri="{FF2B5EF4-FFF2-40B4-BE49-F238E27FC236}">
                <a16:creationId xmlns:a16="http://schemas.microsoft.com/office/drawing/2014/main" id="{22714406-5916-48A5-AB38-9828EA9F749C}"/>
              </a:ext>
            </a:extLst>
          </p:cNvPr>
          <p:cNvSpPr>
            <a:spLocks noGrp="1"/>
          </p:cNvSpPr>
          <p:nvPr>
            <p:custDataLst>
              <p:tags r:id="rId99"/>
            </p:custDataLst>
          </p:nvPr>
        </p:nvSpPr>
        <p:spPr bwMode="auto">
          <a:xfrm>
            <a:off x="4268788" y="5946775"/>
            <a:ext cx="10191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981416EE-75B1-48EE-90B9-9FBECCFB2363}" type="datetime'''''''''''''''D''o''''mi''nicaan''''''s''''e Re''publi''''ek'">
              <a:rPr lang="en-GB" altLang="en-US" sz="800" smtClean="0"/>
              <a:pPr/>
              <a:t>Dominicaanse Republiek</a:t>
            </a:fld>
            <a:endParaRPr lang="en-GB" sz="800" dirty="0">
              <a:sym typeface="+mn-lt"/>
            </a:endParaRPr>
          </a:p>
        </p:txBody>
      </p:sp>
      <p:sp>
        <p:nvSpPr>
          <p:cNvPr id="243" name="Text Placeholder 4">
            <a:extLst>
              <a:ext uri="{FF2B5EF4-FFF2-40B4-BE49-F238E27FC236}">
                <a16:creationId xmlns:a16="http://schemas.microsoft.com/office/drawing/2014/main" id="{4C1F3293-4EFE-461D-940D-7EE66BAE31C5}"/>
              </a:ext>
            </a:extLst>
          </p:cNvPr>
          <p:cNvSpPr>
            <a:spLocks noGrp="1"/>
          </p:cNvSpPr>
          <p:nvPr>
            <p:custDataLst>
              <p:tags r:id="rId100"/>
            </p:custDataLst>
          </p:nvPr>
        </p:nvSpPr>
        <p:spPr bwMode="auto">
          <a:xfrm>
            <a:off x="4268788" y="5113338"/>
            <a:ext cx="47942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0B7B805A-6A7C-4026-8FFF-FF5743DDB775}" type="datetime'''''''A''''''''''''''z''erb''''''''eizj''a''''''''''''''''n'''">
              <a:rPr lang="en-GB" altLang="en-US" sz="800" smtClean="0"/>
              <a:pPr/>
              <a:t>Azerbeizjan</a:t>
            </a:fld>
            <a:endParaRPr lang="en-GB" sz="800" dirty="0">
              <a:sym typeface="+mn-lt"/>
            </a:endParaRPr>
          </a:p>
        </p:txBody>
      </p:sp>
      <p:sp>
        <p:nvSpPr>
          <p:cNvPr id="5" name="TextBox 4">
            <a:extLst>
              <a:ext uri="{FF2B5EF4-FFF2-40B4-BE49-F238E27FC236}">
                <a16:creationId xmlns:a16="http://schemas.microsoft.com/office/drawing/2014/main" id="{8B5519F5-08C8-4BEA-A196-7556E4D8B25E}"/>
              </a:ext>
            </a:extLst>
          </p:cNvPr>
          <p:cNvSpPr txBox="1"/>
          <p:nvPr/>
        </p:nvSpPr>
        <p:spPr>
          <a:xfrm>
            <a:off x="554736" y="1417672"/>
            <a:ext cx="6967728"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200" b="1" dirty="0">
                <a:cs typeface="+mn-cs"/>
              </a:rPr>
              <a:t>Niveau leesvaardigheid PISA-2018, </a:t>
            </a:r>
            <a:r>
              <a:rPr lang="en-GB" sz="1200" dirty="0">
                <a:cs typeface="+mn-cs"/>
              </a:rPr>
              <a:t>Score, per land</a:t>
            </a:r>
          </a:p>
        </p:txBody>
      </p:sp>
      <p:sp>
        <p:nvSpPr>
          <p:cNvPr id="195" name="5. Source">
            <a:extLst>
              <a:ext uri="{FF2B5EF4-FFF2-40B4-BE49-F238E27FC236}">
                <a16:creationId xmlns:a16="http://schemas.microsoft.com/office/drawing/2014/main" id="{D8D16BDA-BA9F-4FA7-B8E2-5940711118F9}"/>
              </a:ext>
            </a:extLst>
          </p:cNvPr>
          <p:cNvSpPr txBox="1"/>
          <p:nvPr>
            <p:custDataLst>
              <p:tags r:id="rId101"/>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Bron: PISA-onderzoeken</a:t>
            </a:r>
          </a:p>
        </p:txBody>
      </p:sp>
      <p:cxnSp>
        <p:nvCxnSpPr>
          <p:cNvPr id="259" name="LineBasicVerticalDefault 17">
            <a:extLst>
              <a:ext uri="{FF2B5EF4-FFF2-40B4-BE49-F238E27FC236}">
                <a16:creationId xmlns:a16="http://schemas.microsoft.com/office/drawing/2014/main" id="{34E793F1-02E5-468A-BDBA-B381EC9D1F3E}"/>
              </a:ext>
            </a:extLst>
          </p:cNvPr>
          <p:cNvCxnSpPr>
            <a:cxnSpLocks/>
          </p:cNvCxnSpPr>
          <p:nvPr>
            <p:custDataLst>
              <p:tags r:id="rId102"/>
            </p:custDataLst>
          </p:nvPr>
        </p:nvCxnSpPr>
        <p:spPr>
          <a:xfrm flipH="1">
            <a:off x="702733" y="6398260"/>
            <a:ext cx="3237443" cy="0"/>
          </a:xfrm>
          <a:prstGeom prst="straightConnector1">
            <a:avLst/>
          </a:prstGeom>
          <a:ln w="6350"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260" name="LineBasicVerticalDefault 17">
            <a:extLst>
              <a:ext uri="{FF2B5EF4-FFF2-40B4-BE49-F238E27FC236}">
                <a16:creationId xmlns:a16="http://schemas.microsoft.com/office/drawing/2014/main" id="{85785476-D159-4340-95D8-2EA0A265C13C}"/>
              </a:ext>
            </a:extLst>
          </p:cNvPr>
          <p:cNvCxnSpPr>
            <a:cxnSpLocks/>
          </p:cNvCxnSpPr>
          <p:nvPr>
            <p:custDataLst>
              <p:tags r:id="rId103"/>
            </p:custDataLst>
          </p:nvPr>
        </p:nvCxnSpPr>
        <p:spPr>
          <a:xfrm>
            <a:off x="702733" y="6246813"/>
            <a:ext cx="0" cy="147637"/>
          </a:xfrm>
          <a:prstGeom prst="straightConnector1">
            <a:avLst/>
          </a:prstGeom>
          <a:ln w="6350"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261" name="LineBasicVerticalDefault 17">
            <a:extLst>
              <a:ext uri="{FF2B5EF4-FFF2-40B4-BE49-F238E27FC236}">
                <a16:creationId xmlns:a16="http://schemas.microsoft.com/office/drawing/2014/main" id="{BC8A5BDA-7E03-4725-A19B-8D89BBF19745}"/>
              </a:ext>
            </a:extLst>
          </p:cNvPr>
          <p:cNvCxnSpPr>
            <a:cxnSpLocks/>
          </p:cNvCxnSpPr>
          <p:nvPr>
            <p:custDataLst>
              <p:tags r:id="rId104"/>
            </p:custDataLst>
          </p:nvPr>
        </p:nvCxnSpPr>
        <p:spPr>
          <a:xfrm flipV="1">
            <a:off x="3940177" y="1783244"/>
            <a:ext cx="1" cy="4615016"/>
          </a:xfrm>
          <a:prstGeom prst="straightConnector1">
            <a:avLst/>
          </a:prstGeom>
          <a:ln w="6350"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262" name="LineBasicVerticalDefault 17">
            <a:extLst>
              <a:ext uri="{FF2B5EF4-FFF2-40B4-BE49-F238E27FC236}">
                <a16:creationId xmlns:a16="http://schemas.microsoft.com/office/drawing/2014/main" id="{0C39C067-25AA-4312-BA6B-EAEF8040DF4B}"/>
              </a:ext>
            </a:extLst>
          </p:cNvPr>
          <p:cNvCxnSpPr>
            <a:cxnSpLocks/>
          </p:cNvCxnSpPr>
          <p:nvPr>
            <p:custDataLst>
              <p:tags r:id="rId105"/>
            </p:custDataLst>
          </p:nvPr>
        </p:nvCxnSpPr>
        <p:spPr>
          <a:xfrm>
            <a:off x="4486910" y="1800225"/>
            <a:ext cx="0" cy="109538"/>
          </a:xfrm>
          <a:prstGeom prst="straightConnector1">
            <a:avLst/>
          </a:prstGeom>
          <a:ln w="6350"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263" name="LineBasicVerticalDefault 17">
            <a:extLst>
              <a:ext uri="{FF2B5EF4-FFF2-40B4-BE49-F238E27FC236}">
                <a16:creationId xmlns:a16="http://schemas.microsoft.com/office/drawing/2014/main" id="{C152AC98-4287-48A4-AD06-638FC49C9836}"/>
              </a:ext>
            </a:extLst>
          </p:cNvPr>
          <p:cNvCxnSpPr>
            <a:cxnSpLocks/>
          </p:cNvCxnSpPr>
          <p:nvPr>
            <p:custDataLst>
              <p:tags r:id="rId106"/>
            </p:custDataLst>
          </p:nvPr>
        </p:nvCxnSpPr>
        <p:spPr>
          <a:xfrm flipH="1">
            <a:off x="3940178" y="1783244"/>
            <a:ext cx="546732" cy="0"/>
          </a:xfrm>
          <a:prstGeom prst="straightConnector1">
            <a:avLst/>
          </a:prstGeom>
          <a:ln w="6350"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2073827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2" hidden="1">
            <a:extLst>
              <a:ext uri="{FF2B5EF4-FFF2-40B4-BE49-F238E27FC236}">
                <a16:creationId xmlns:a16="http://schemas.microsoft.com/office/drawing/2014/main" id="{3F737729-CF0D-40F2-B27B-BA0A4BAB392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1" name="think-cell Slide" r:id="rId5" imgW="395" imgH="394" progId="TCLayout.ActiveDocument.1">
                  <p:embed/>
                </p:oleObj>
              </mc:Choice>
              <mc:Fallback>
                <p:oleObj name="think-cell Slide" r:id="rId5" imgW="395" imgH="394" progId="TCLayout.ActiveDocument.1">
                  <p:embed/>
                  <p:pic>
                    <p:nvPicPr>
                      <p:cNvPr id="9" name="Object 2" hidden="1">
                        <a:extLst>
                          <a:ext uri="{FF2B5EF4-FFF2-40B4-BE49-F238E27FC236}">
                            <a16:creationId xmlns:a16="http://schemas.microsoft.com/office/drawing/2014/main" id="{3F737729-CF0D-40F2-B27B-BA0A4BAB392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3" hidden="1">
            <a:extLst>
              <a:ext uri="{FF2B5EF4-FFF2-40B4-BE49-F238E27FC236}">
                <a16:creationId xmlns:a16="http://schemas.microsoft.com/office/drawing/2014/main" id="{BEFE31BA-5280-4C8B-85E3-E245EA7E7D96}"/>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a:solidFill>
                <a:schemeClr val="bg1"/>
              </a:solidFill>
              <a:latin typeface="Calibri" panose="020F0502020204030204" pitchFamily="34" charset="0"/>
              <a:ea typeface="+mj-ea"/>
              <a:cs typeface="+mj-cs"/>
              <a:sym typeface="Calibri" panose="020F0502020204030204" pitchFamily="34" charset="0"/>
            </a:endParaRPr>
          </a:p>
        </p:txBody>
      </p:sp>
      <p:pic>
        <p:nvPicPr>
          <p:cNvPr id="110" name="Afbeelding 109" descr="Afbeelding met kaart&#10;&#10;Automatisch gegenereerde beschrijving">
            <a:extLst>
              <a:ext uri="{FF2B5EF4-FFF2-40B4-BE49-F238E27FC236}">
                <a16:creationId xmlns:a16="http://schemas.microsoft.com/office/drawing/2014/main" id="{7A5EBB5E-D19E-4D5D-B92C-5A346F89C9DD}"/>
              </a:ext>
            </a:extLst>
          </p:cNvPr>
          <p:cNvPicPr>
            <a:picLocks noChangeAspect="1"/>
          </p:cNvPicPr>
          <p:nvPr/>
        </p:nvPicPr>
        <p:blipFill>
          <a:blip r:embed="rId7"/>
          <a:stretch>
            <a:fillRect/>
          </a:stretch>
        </p:blipFill>
        <p:spPr>
          <a:xfrm>
            <a:off x="554736" y="1595533"/>
            <a:ext cx="6153974" cy="4923179"/>
          </a:xfrm>
          <a:prstGeom prst="rect">
            <a:avLst/>
          </a:prstGeom>
        </p:spPr>
      </p:pic>
      <p:sp>
        <p:nvSpPr>
          <p:cNvPr id="6" name="Titel 5">
            <a:extLst>
              <a:ext uri="{FF2B5EF4-FFF2-40B4-BE49-F238E27FC236}">
                <a16:creationId xmlns:a16="http://schemas.microsoft.com/office/drawing/2014/main" id="{EC82EB58-6098-403B-A73F-634D2D81AACE}"/>
              </a:ext>
            </a:extLst>
          </p:cNvPr>
          <p:cNvSpPr>
            <a:spLocks noGrp="1"/>
          </p:cNvSpPr>
          <p:nvPr>
            <p:ph type="title"/>
          </p:nvPr>
        </p:nvSpPr>
        <p:spPr/>
        <p:txBody>
          <a:bodyPr/>
          <a:lstStyle/>
          <a:p>
            <a:r>
              <a:rPr lang="nl-NL" dirty="0"/>
              <a:t>Moldavië</a:t>
            </a:r>
            <a:endParaRPr lang="en-NL"/>
          </a:p>
        </p:txBody>
      </p:sp>
      <p:sp>
        <p:nvSpPr>
          <p:cNvPr id="113" name="TextBox 17">
            <a:extLst>
              <a:ext uri="{FF2B5EF4-FFF2-40B4-BE49-F238E27FC236}">
                <a16:creationId xmlns:a16="http://schemas.microsoft.com/office/drawing/2014/main" id="{68AD57CD-0B7A-4276-87D3-21877F9CB864}"/>
              </a:ext>
            </a:extLst>
          </p:cNvPr>
          <p:cNvSpPr txBox="1"/>
          <p:nvPr/>
        </p:nvSpPr>
        <p:spPr>
          <a:xfrm>
            <a:off x="8017668" y="1654027"/>
            <a:ext cx="3619595"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nl-NL" sz="2000" b="1" dirty="0">
                <a:cs typeface="+mn-cs"/>
              </a:rPr>
              <a:t>Voor hen die het ook niet weten.</a:t>
            </a:r>
            <a:endParaRPr lang="en-US" sz="2000" b="1" dirty="0">
              <a:cs typeface="+mn-cs"/>
            </a:endParaRPr>
          </a:p>
        </p:txBody>
      </p:sp>
    </p:spTree>
    <p:extLst>
      <p:ext uri="{BB962C8B-B14F-4D97-AF65-F5344CB8AC3E}">
        <p14:creationId xmlns:p14="http://schemas.microsoft.com/office/powerpoint/2010/main" val="363552189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3" name="Object 52" hidden="1">
            <a:extLst>
              <a:ext uri="{FF2B5EF4-FFF2-40B4-BE49-F238E27FC236}">
                <a16:creationId xmlns:a16="http://schemas.microsoft.com/office/drawing/2014/main" id="{B1D243ED-9D1A-41AF-8F13-3F0E1F43178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5" name="think-cell Slide" r:id="rId8" imgW="395" imgH="394" progId="TCLayout.ActiveDocument.1">
                  <p:embed/>
                </p:oleObj>
              </mc:Choice>
              <mc:Fallback>
                <p:oleObj name="think-cell Slide" r:id="rId8" imgW="395" imgH="394" progId="TCLayout.ActiveDocument.1">
                  <p:embed/>
                  <p:pic>
                    <p:nvPicPr>
                      <p:cNvPr id="53" name="Object 52" hidden="1">
                        <a:extLst>
                          <a:ext uri="{FF2B5EF4-FFF2-40B4-BE49-F238E27FC236}">
                            <a16:creationId xmlns:a16="http://schemas.microsoft.com/office/drawing/2014/main" id="{B1D243ED-9D1A-41AF-8F13-3F0E1F43178A}"/>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8" name="Rectangle 47" hidden="1">
            <a:extLst>
              <a:ext uri="{FF2B5EF4-FFF2-40B4-BE49-F238E27FC236}">
                <a16:creationId xmlns:a16="http://schemas.microsoft.com/office/drawing/2014/main" id="{368BAF79-170D-47CB-B730-ED0C60CD95C2}"/>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200" dirty="0">
              <a:solidFill>
                <a:schemeClr val="bg1"/>
              </a:solidFill>
              <a:cs typeface="Arial" panose="020B0604020202020204" pitchFamily="34" charset="0"/>
              <a:sym typeface="+mn-lt"/>
            </a:endParaRPr>
          </a:p>
        </p:txBody>
      </p:sp>
      <p:sp>
        <p:nvSpPr>
          <p:cNvPr id="2" name="2. Slide Title">
            <a:extLst>
              <a:ext uri="{FF2B5EF4-FFF2-40B4-BE49-F238E27FC236}">
                <a16:creationId xmlns:a16="http://schemas.microsoft.com/office/drawing/2014/main" id="{5017D256-0635-4D1D-9673-E1D8176794EC}"/>
              </a:ext>
            </a:extLst>
          </p:cNvPr>
          <p:cNvSpPr>
            <a:spLocks noGrp="1"/>
          </p:cNvSpPr>
          <p:nvPr>
            <p:ph type="title"/>
            <p:custDataLst>
              <p:tags r:id="rId4"/>
            </p:custDataLst>
          </p:nvPr>
        </p:nvSpPr>
        <p:spPr>
          <a:xfrm>
            <a:off x="554736" y="134291"/>
            <a:ext cx="6967728" cy="769441"/>
          </a:xfrm>
          <a:noFill/>
          <a:ln/>
          <a:extLst>
            <a:ext uri="{909E8E84-426E-40DD-AFC4-6F175D3DCCD1}">
              <a14:hiddenFill xmlns:a14="http://schemas.microsoft.com/office/drawing/2010/main">
                <a:solidFill>
                  <a:srgbClr val="FFFFFF"/>
                </a:solidFill>
              </a14:hiddenFill>
            </a:ext>
          </a:extLst>
        </p:spPr>
        <p:txBody>
          <a:bodyPr wrap="square" anchor="b" anchorCtr="0">
            <a:noAutofit/>
          </a:bodyPr>
          <a:lstStyle/>
          <a:p>
            <a:r>
              <a:rPr lang="en-US" dirty="0"/>
              <a:t>Verschillen tussen scholen zijn nergens zo groot als in Nederland</a:t>
            </a:r>
          </a:p>
        </p:txBody>
      </p:sp>
      <p:sp>
        <p:nvSpPr>
          <p:cNvPr id="57" name="TextBox 56">
            <a:extLst>
              <a:ext uri="{FF2B5EF4-FFF2-40B4-BE49-F238E27FC236}">
                <a16:creationId xmlns:a16="http://schemas.microsoft.com/office/drawing/2014/main" id="{B3B496FA-61E0-4DAA-AC6C-5B819C7EE0E5}"/>
              </a:ext>
            </a:extLst>
          </p:cNvPr>
          <p:cNvSpPr txBox="1"/>
          <p:nvPr>
            <p:custDataLst>
              <p:tags r:id="rId5"/>
            </p:custDataLst>
          </p:nvPr>
        </p:nvSpPr>
        <p:spPr>
          <a:xfrm>
            <a:off x="8238744" y="1570022"/>
            <a:ext cx="3398519" cy="246221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900"/>
              </a:spcBef>
            </a:pPr>
            <a:r>
              <a:rPr lang="nl-NL" sz="2000" b="1" dirty="0">
                <a:cs typeface="+mn-cs"/>
              </a:rPr>
              <a:t>Conclusie OESO: van alle landen zijn de schoolverschillen in Nederland het grootst.</a:t>
            </a:r>
          </a:p>
          <a:p>
            <a:pPr>
              <a:spcBef>
                <a:spcPts val="900"/>
              </a:spcBef>
            </a:pPr>
            <a:r>
              <a:rPr lang="nl-NL" sz="2000" dirty="0">
                <a:cs typeface="+mn-cs"/>
              </a:rPr>
              <a:t>Dus niet alleen waar je bedje staat doet er toe, ook nog eens de school die je uitkiest</a:t>
            </a:r>
          </a:p>
          <a:p>
            <a:pPr>
              <a:spcBef>
                <a:spcPts val="900"/>
              </a:spcBef>
            </a:pPr>
            <a:endParaRPr lang="en-US" sz="2000" dirty="0">
              <a:cs typeface="+mn-cs"/>
            </a:endParaRPr>
          </a:p>
        </p:txBody>
      </p:sp>
      <p:pic>
        <p:nvPicPr>
          <p:cNvPr id="4" name="Afbeelding 3">
            <a:extLst>
              <a:ext uri="{FF2B5EF4-FFF2-40B4-BE49-F238E27FC236}">
                <a16:creationId xmlns:a16="http://schemas.microsoft.com/office/drawing/2014/main" id="{4E518A7D-BBD7-4A7A-8DD9-1AA0F34A13DC}"/>
              </a:ext>
            </a:extLst>
          </p:cNvPr>
          <p:cNvPicPr>
            <a:picLocks noChangeAspect="1"/>
          </p:cNvPicPr>
          <p:nvPr/>
        </p:nvPicPr>
        <p:blipFill>
          <a:blip r:embed="rId10"/>
          <a:stretch>
            <a:fillRect/>
          </a:stretch>
        </p:blipFill>
        <p:spPr>
          <a:xfrm>
            <a:off x="554736" y="1330615"/>
            <a:ext cx="4844399" cy="5393094"/>
          </a:xfrm>
          <a:prstGeom prst="rect">
            <a:avLst/>
          </a:prstGeom>
        </p:spPr>
      </p:pic>
      <p:sp>
        <p:nvSpPr>
          <p:cNvPr id="64" name="5. Source">
            <a:extLst>
              <a:ext uri="{FF2B5EF4-FFF2-40B4-BE49-F238E27FC236}">
                <a16:creationId xmlns:a16="http://schemas.microsoft.com/office/drawing/2014/main" id="{FD4C334F-B6F3-4CBD-85B7-EB4DE59CAE0D}"/>
              </a:ext>
            </a:extLst>
          </p:cNvPr>
          <p:cNvSpPr txBox="1"/>
          <p:nvPr>
            <p:custDataLst>
              <p:tags r:id="rId6"/>
            </p:custDataLst>
          </p:nvPr>
        </p:nvSpPr>
        <p:spPr>
          <a:xfrm>
            <a:off x="5593265" y="6494302"/>
            <a:ext cx="1929199"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Bron: Onderwijsinspectie, Staat van het Onderwijs 2017</a:t>
            </a:r>
          </a:p>
        </p:txBody>
      </p:sp>
    </p:spTree>
    <p:extLst>
      <p:ext uri="{BB962C8B-B14F-4D97-AF65-F5344CB8AC3E}">
        <p14:creationId xmlns:p14="http://schemas.microsoft.com/office/powerpoint/2010/main" val="276264692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3" name="Object 52" hidden="1">
            <a:extLst>
              <a:ext uri="{FF2B5EF4-FFF2-40B4-BE49-F238E27FC236}">
                <a16:creationId xmlns:a16="http://schemas.microsoft.com/office/drawing/2014/main" id="{B1D243ED-9D1A-41AF-8F13-3F0E1F43178A}"/>
              </a:ext>
            </a:extLst>
          </p:cNvPr>
          <p:cNvGraphicFramePr>
            <a:graphicFrameLocks noChangeAspect="1"/>
          </p:cNvGraphicFramePr>
          <p:nvPr>
            <p:custDataLst>
              <p:tags r:id="rId2"/>
            </p:custDataLst>
            <p:extLst>
              <p:ext uri="{D42A27DB-BD31-4B8C-83A1-F6EECF244321}">
                <p14:modId xmlns:p14="http://schemas.microsoft.com/office/powerpoint/2010/main" val="2127012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59" name="think-cell Slide" r:id="rId48" imgW="395" imgH="394" progId="TCLayout.ActiveDocument.1">
                  <p:embed/>
                </p:oleObj>
              </mc:Choice>
              <mc:Fallback>
                <p:oleObj name="think-cell Slide" r:id="rId48" imgW="395" imgH="394" progId="TCLayout.ActiveDocument.1">
                  <p:embed/>
                  <p:pic>
                    <p:nvPicPr>
                      <p:cNvPr id="0" name=""/>
                      <p:cNvPicPr/>
                      <p:nvPr/>
                    </p:nvPicPr>
                    <p:blipFill>
                      <a:blip r:embed="rId49"/>
                      <a:stretch>
                        <a:fillRect/>
                      </a:stretch>
                    </p:blipFill>
                    <p:spPr>
                      <a:xfrm>
                        <a:off x="1588" y="1588"/>
                        <a:ext cx="1588" cy="1588"/>
                      </a:xfrm>
                      <a:prstGeom prst="rect">
                        <a:avLst/>
                      </a:prstGeom>
                    </p:spPr>
                  </p:pic>
                </p:oleObj>
              </mc:Fallback>
            </mc:AlternateContent>
          </a:graphicData>
        </a:graphic>
      </p:graphicFrame>
      <p:sp>
        <p:nvSpPr>
          <p:cNvPr id="48" name="Rectangle 47" hidden="1">
            <a:extLst>
              <a:ext uri="{FF2B5EF4-FFF2-40B4-BE49-F238E27FC236}">
                <a16:creationId xmlns:a16="http://schemas.microsoft.com/office/drawing/2014/main" id="{368BAF79-170D-47CB-B730-ED0C60CD95C2}"/>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200" dirty="0">
              <a:solidFill>
                <a:schemeClr val="bg1"/>
              </a:solidFill>
              <a:cs typeface="Arial" panose="020B0604020202020204" pitchFamily="34" charset="0"/>
              <a:sym typeface="+mn-lt"/>
            </a:endParaRPr>
          </a:p>
        </p:txBody>
      </p:sp>
      <p:sp>
        <p:nvSpPr>
          <p:cNvPr id="2" name="2. Slide Title">
            <a:extLst>
              <a:ext uri="{FF2B5EF4-FFF2-40B4-BE49-F238E27FC236}">
                <a16:creationId xmlns:a16="http://schemas.microsoft.com/office/drawing/2014/main" id="{5017D256-0635-4D1D-9673-E1D8176794EC}"/>
              </a:ext>
            </a:extLst>
          </p:cNvPr>
          <p:cNvSpPr>
            <a:spLocks noGrp="1"/>
          </p:cNvSpPr>
          <p:nvPr>
            <p:ph type="title"/>
            <p:custDataLst>
              <p:tags r:id="rId4"/>
            </p:custDataLst>
          </p:nvPr>
        </p:nvSpPr>
        <p:spPr>
          <a:xfrm>
            <a:off x="554736" y="134291"/>
            <a:ext cx="6967728" cy="769441"/>
          </a:xfrm>
          <a:noFill/>
          <a:ln/>
          <a:extLst>
            <a:ext uri="{909E8E84-426E-40DD-AFC4-6F175D3DCCD1}">
              <a14:hiddenFill xmlns:a14="http://schemas.microsoft.com/office/drawing/2010/main">
                <a:solidFill>
                  <a:srgbClr val="FFFFFF"/>
                </a:solidFill>
              </a14:hiddenFill>
            </a:ext>
          </a:extLst>
        </p:spPr>
        <p:txBody>
          <a:bodyPr wrap="square" anchor="b" anchorCtr="0">
            <a:noAutofit/>
          </a:bodyPr>
          <a:lstStyle/>
          <a:p>
            <a:r>
              <a:rPr lang="en-US" dirty="0"/>
              <a:t>Gemiste kansen in het onderwijs hebben een </a:t>
            </a:r>
            <a:r>
              <a:rPr lang="en-US" dirty="0" err="1"/>
              <a:t>grote</a:t>
            </a:r>
            <a:r>
              <a:rPr lang="en-US" dirty="0"/>
              <a:t> </a:t>
            </a:r>
            <a:r>
              <a:rPr lang="en-US" dirty="0" err="1"/>
              <a:t>invloed</a:t>
            </a:r>
            <a:r>
              <a:rPr lang="en-US" dirty="0"/>
              <a:t> op het </a:t>
            </a:r>
            <a:r>
              <a:rPr lang="en-US" dirty="0" err="1"/>
              <a:t>verdere</a:t>
            </a:r>
            <a:r>
              <a:rPr lang="en-US" dirty="0"/>
              <a:t> </a:t>
            </a:r>
            <a:r>
              <a:rPr lang="en-US" dirty="0" err="1"/>
              <a:t>leven</a:t>
            </a:r>
            <a:r>
              <a:rPr lang="en-US" dirty="0"/>
              <a:t> van </a:t>
            </a:r>
            <a:r>
              <a:rPr lang="en-US" dirty="0" err="1"/>
              <a:t>leerlingen</a:t>
            </a:r>
            <a:endParaRPr lang="en-US" dirty="0"/>
          </a:p>
        </p:txBody>
      </p:sp>
      <p:sp>
        <p:nvSpPr>
          <p:cNvPr id="58" name="Subtitle 57">
            <a:extLst>
              <a:ext uri="{FF2B5EF4-FFF2-40B4-BE49-F238E27FC236}">
                <a16:creationId xmlns:a16="http://schemas.microsoft.com/office/drawing/2014/main" id="{349931B8-C408-4092-A056-E231F95EBDC2}"/>
              </a:ext>
            </a:extLst>
          </p:cNvPr>
          <p:cNvSpPr>
            <a:spLocks noGrp="1"/>
          </p:cNvSpPr>
          <p:nvPr>
            <p:ph type="subTitle" idx="1"/>
          </p:nvPr>
        </p:nvSpPr>
        <p:spPr>
          <a:xfrm>
            <a:off x="554736" y="884725"/>
            <a:ext cx="6967728" cy="276999"/>
          </a:xfrm>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r>
              <a:rPr lang="en-US" err="1"/>
              <a:t>Statistieken</a:t>
            </a:r>
            <a:r>
              <a:rPr lang="en-US"/>
              <a:t> per </a:t>
            </a:r>
            <a:r>
              <a:rPr lang="en-US" err="1"/>
              <a:t>opleidingsniveau</a:t>
            </a:r>
            <a:endParaRPr lang="en-US"/>
          </a:p>
        </p:txBody>
      </p:sp>
      <p:graphicFrame>
        <p:nvGraphicFramePr>
          <p:cNvPr id="134" name="Chart 133">
            <a:extLst>
              <a:ext uri="{FF2B5EF4-FFF2-40B4-BE49-F238E27FC236}">
                <a16:creationId xmlns:a16="http://schemas.microsoft.com/office/drawing/2014/main" id="{20CE415D-CA12-4363-BD69-BAEDAC698060}"/>
              </a:ext>
            </a:extLst>
          </p:cNvPr>
          <p:cNvGraphicFramePr/>
          <p:nvPr>
            <p:custDataLst>
              <p:tags r:id="rId5"/>
            </p:custDataLst>
            <p:extLst>
              <p:ext uri="{D42A27DB-BD31-4B8C-83A1-F6EECF244321}">
                <p14:modId xmlns:p14="http://schemas.microsoft.com/office/powerpoint/2010/main" val="28665673"/>
              </p:ext>
            </p:extLst>
          </p:nvPr>
        </p:nvGraphicFramePr>
        <p:xfrm>
          <a:off x="4964113" y="2106613"/>
          <a:ext cx="2452687" cy="1652587"/>
        </p:xfrm>
        <a:graphic>
          <a:graphicData uri="http://schemas.openxmlformats.org/drawingml/2006/chart">
            <c:chart xmlns:c="http://schemas.openxmlformats.org/drawingml/2006/chart" xmlns:r="http://schemas.openxmlformats.org/officeDocument/2006/relationships" r:id="rId50"/>
          </a:graphicData>
        </a:graphic>
      </p:graphicFrame>
      <p:sp>
        <p:nvSpPr>
          <p:cNvPr id="6" name="Text Placeholder 4">
            <a:extLst>
              <a:ext uri="{FF2B5EF4-FFF2-40B4-BE49-F238E27FC236}">
                <a16:creationId xmlns:a16="http://schemas.microsoft.com/office/drawing/2014/main" id="{6B5F2282-5D84-487B-B0FE-5885006159B3}"/>
              </a:ext>
            </a:extLst>
          </p:cNvPr>
          <p:cNvSpPr>
            <a:spLocks noGrp="1"/>
          </p:cNvSpPr>
          <p:nvPr>
            <p:custDataLst>
              <p:tags r:id="rId6"/>
            </p:custDataLst>
          </p:nvPr>
        </p:nvSpPr>
        <p:spPr bwMode="auto">
          <a:xfrm>
            <a:off x="4240213" y="2344738"/>
            <a:ext cx="54927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F8DD10D6-3EE0-4D09-8EA0-BC9F391EBBCF}" type="datetime'''''L''a''''''''''''''''''''''''ag''o''''pg.'''">
              <a:rPr lang="en-US" altLang="en-US" sz="1200" smtClean="0"/>
              <a:pPr/>
              <a:t>Laagopg.</a:t>
            </a:fld>
            <a:endParaRPr lang="en-US" sz="1200">
              <a:sym typeface="+mn-lt"/>
            </a:endParaRPr>
          </a:p>
        </p:txBody>
      </p:sp>
      <p:sp>
        <p:nvSpPr>
          <p:cNvPr id="7" name="Text Placeholder 4">
            <a:extLst>
              <a:ext uri="{FF2B5EF4-FFF2-40B4-BE49-F238E27FC236}">
                <a16:creationId xmlns:a16="http://schemas.microsoft.com/office/drawing/2014/main" id="{6CF1BDEC-5C36-4CDC-A200-6049AE00BC26}"/>
              </a:ext>
            </a:extLst>
          </p:cNvPr>
          <p:cNvSpPr>
            <a:spLocks noGrp="1"/>
          </p:cNvSpPr>
          <p:nvPr>
            <p:custDataLst>
              <p:tags r:id="rId7"/>
            </p:custDataLst>
          </p:nvPr>
        </p:nvSpPr>
        <p:spPr bwMode="auto">
          <a:xfrm>
            <a:off x="4240213" y="2841625"/>
            <a:ext cx="704850"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DAD7A85D-1350-42B3-BA5F-BE28A2477F40}" type="datetime'''''''''Mi''''''''''''''d''''''''''''''d''elop''''g''.'">
              <a:rPr lang="en-US" altLang="en-US" sz="1200" smtClean="0"/>
              <a:pPr/>
              <a:t>Middelopg.</a:t>
            </a:fld>
            <a:endParaRPr lang="en-US" sz="1200">
              <a:sym typeface="+mn-lt"/>
            </a:endParaRPr>
          </a:p>
        </p:txBody>
      </p:sp>
      <p:sp>
        <p:nvSpPr>
          <p:cNvPr id="8" name="Text Placeholder 4">
            <a:extLst>
              <a:ext uri="{FF2B5EF4-FFF2-40B4-BE49-F238E27FC236}">
                <a16:creationId xmlns:a16="http://schemas.microsoft.com/office/drawing/2014/main" id="{BF3FB66B-11FD-47A0-AF5B-D13D2705C5AC}"/>
              </a:ext>
            </a:extLst>
          </p:cNvPr>
          <p:cNvSpPr>
            <a:spLocks noGrp="1"/>
          </p:cNvSpPr>
          <p:nvPr>
            <p:custDataLst>
              <p:tags r:id="rId8"/>
            </p:custDataLst>
          </p:nvPr>
        </p:nvSpPr>
        <p:spPr bwMode="auto">
          <a:xfrm>
            <a:off x="4240213" y="3336925"/>
            <a:ext cx="596900"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59DA187B-5CFE-4B81-9AA7-A8F7EC752CBB}" type="datetime'''''H''''''''o''''''o''g''''''o''p''''''g''''''''''''.'''''">
              <a:rPr lang="en-US" altLang="en-US" sz="1200" smtClean="0"/>
              <a:pPr/>
              <a:t>Hoogopg.</a:t>
            </a:fld>
            <a:endParaRPr lang="en-US" sz="1200">
              <a:sym typeface="+mn-lt"/>
            </a:endParaRPr>
          </a:p>
        </p:txBody>
      </p:sp>
      <p:sp>
        <p:nvSpPr>
          <p:cNvPr id="10" name="5. Source">
            <a:extLst>
              <a:ext uri="{FF2B5EF4-FFF2-40B4-BE49-F238E27FC236}">
                <a16:creationId xmlns:a16="http://schemas.microsoft.com/office/drawing/2014/main" id="{A193C3CA-B581-4F2F-BD96-B006CBEC8DD7}"/>
              </a:ext>
            </a:extLst>
          </p:cNvPr>
          <p:cNvSpPr txBox="1"/>
          <p:nvPr>
            <p:custDataLst>
              <p:tags r:id="rId9"/>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Bron: CBS</a:t>
            </a:r>
          </a:p>
        </p:txBody>
      </p:sp>
      <p:graphicFrame>
        <p:nvGraphicFramePr>
          <p:cNvPr id="135" name="Chart 134">
            <a:extLst>
              <a:ext uri="{FF2B5EF4-FFF2-40B4-BE49-F238E27FC236}">
                <a16:creationId xmlns:a16="http://schemas.microsoft.com/office/drawing/2014/main" id="{6C3FAD45-D47D-4672-8B9E-5004330595A9}"/>
              </a:ext>
            </a:extLst>
          </p:cNvPr>
          <p:cNvGraphicFramePr/>
          <p:nvPr>
            <p:custDataLst>
              <p:tags r:id="rId10"/>
            </p:custDataLst>
            <p:extLst>
              <p:ext uri="{D42A27DB-BD31-4B8C-83A1-F6EECF244321}">
                <p14:modId xmlns:p14="http://schemas.microsoft.com/office/powerpoint/2010/main" val="89501282"/>
              </p:ext>
            </p:extLst>
          </p:nvPr>
        </p:nvGraphicFramePr>
        <p:xfrm>
          <a:off x="1271588" y="4654550"/>
          <a:ext cx="2286000" cy="1652588"/>
        </p:xfrm>
        <a:graphic>
          <a:graphicData uri="http://schemas.openxmlformats.org/drawingml/2006/chart">
            <c:chart xmlns:c="http://schemas.openxmlformats.org/drawingml/2006/chart" xmlns:r="http://schemas.openxmlformats.org/officeDocument/2006/relationships" r:id="rId51"/>
          </a:graphicData>
        </a:graphic>
      </p:graphicFrame>
      <p:sp useBgFill="1">
        <p:nvSpPr>
          <p:cNvPr id="37" name="Freeform: Shape 36">
            <a:extLst>
              <a:ext uri="{FF2B5EF4-FFF2-40B4-BE49-F238E27FC236}">
                <a16:creationId xmlns:a16="http://schemas.microsoft.com/office/drawing/2014/main" id="{52F59524-A15E-4E0C-8637-C6E9E8495A65}"/>
              </a:ext>
            </a:extLst>
          </p:cNvPr>
          <p:cNvSpPr/>
          <p:nvPr>
            <p:custDataLst>
              <p:tags r:id="rId11"/>
            </p:custDataLst>
          </p:nvPr>
        </p:nvSpPr>
        <p:spPr bwMode="auto">
          <a:xfrm>
            <a:off x="1708150" y="4756151"/>
            <a:ext cx="179388" cy="455613"/>
          </a:xfrm>
          <a:custGeom>
            <a:avLst/>
            <a:gdLst/>
            <a:ahLst/>
            <a:cxnLst/>
            <a:rect l="0" t="0" r="0" b="0"/>
            <a:pathLst>
              <a:path w="179388" h="455614">
                <a:moveTo>
                  <a:pt x="179387" y="0"/>
                </a:moveTo>
                <a:lnTo>
                  <a:pt x="57150" y="455613"/>
                </a:lnTo>
                <a:lnTo>
                  <a:pt x="0" y="455613"/>
                </a:lnTo>
                <a:lnTo>
                  <a:pt x="122237" y="0"/>
                </a:lnTo>
                <a:close/>
              </a:path>
            </a:pathLst>
          </a:custGeom>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useBgFill="1">
        <p:nvSpPr>
          <p:cNvPr id="40" name="Freeform: Shape 39">
            <a:extLst>
              <a:ext uri="{FF2B5EF4-FFF2-40B4-BE49-F238E27FC236}">
                <a16:creationId xmlns:a16="http://schemas.microsoft.com/office/drawing/2014/main" id="{EC8E6540-CE56-464C-8102-E0CB1339FA10}"/>
              </a:ext>
            </a:extLst>
          </p:cNvPr>
          <p:cNvSpPr/>
          <p:nvPr>
            <p:custDataLst>
              <p:tags r:id="rId12"/>
            </p:custDataLst>
          </p:nvPr>
        </p:nvSpPr>
        <p:spPr bwMode="auto">
          <a:xfrm>
            <a:off x="1706563" y="5251450"/>
            <a:ext cx="180975" cy="457200"/>
          </a:xfrm>
          <a:custGeom>
            <a:avLst/>
            <a:gdLst/>
            <a:ahLst/>
            <a:cxnLst/>
            <a:rect l="0" t="0" r="0" b="0"/>
            <a:pathLst>
              <a:path w="180976" h="457201">
                <a:moveTo>
                  <a:pt x="180975" y="0"/>
                </a:moveTo>
                <a:lnTo>
                  <a:pt x="57150" y="457200"/>
                </a:lnTo>
                <a:lnTo>
                  <a:pt x="0" y="457200"/>
                </a:lnTo>
                <a:lnTo>
                  <a:pt x="123825" y="0"/>
                </a:lnTo>
                <a:close/>
              </a:path>
            </a:pathLst>
          </a:custGeom>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useBgFill="1">
        <p:nvSpPr>
          <p:cNvPr id="50" name="Freeform: Shape 49">
            <a:extLst>
              <a:ext uri="{FF2B5EF4-FFF2-40B4-BE49-F238E27FC236}">
                <a16:creationId xmlns:a16="http://schemas.microsoft.com/office/drawing/2014/main" id="{CC810CB8-7E1C-439E-9F98-4BEB9D21E050}"/>
              </a:ext>
            </a:extLst>
          </p:cNvPr>
          <p:cNvSpPr/>
          <p:nvPr>
            <p:custDataLst>
              <p:tags r:id="rId13"/>
            </p:custDataLst>
          </p:nvPr>
        </p:nvSpPr>
        <p:spPr bwMode="auto">
          <a:xfrm>
            <a:off x="1708150" y="5748338"/>
            <a:ext cx="179388" cy="455613"/>
          </a:xfrm>
          <a:custGeom>
            <a:avLst/>
            <a:gdLst/>
            <a:ahLst/>
            <a:cxnLst/>
            <a:rect l="0" t="0" r="0" b="0"/>
            <a:pathLst>
              <a:path w="179388" h="455613">
                <a:moveTo>
                  <a:pt x="179387" y="0"/>
                </a:moveTo>
                <a:lnTo>
                  <a:pt x="57150" y="455612"/>
                </a:lnTo>
                <a:lnTo>
                  <a:pt x="0" y="455612"/>
                </a:lnTo>
                <a:lnTo>
                  <a:pt x="122237" y="0"/>
                </a:lnTo>
                <a:close/>
              </a:path>
            </a:pathLst>
          </a:custGeom>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5" name="Freeform: Shape 34">
            <a:extLst>
              <a:ext uri="{FF2B5EF4-FFF2-40B4-BE49-F238E27FC236}">
                <a16:creationId xmlns:a16="http://schemas.microsoft.com/office/drawing/2014/main" id="{9209C3E1-3DAF-4DDF-AFC2-84218277FBC9}"/>
              </a:ext>
            </a:extLst>
          </p:cNvPr>
          <p:cNvSpPr/>
          <p:nvPr>
            <p:custDataLst>
              <p:tags r:id="rId14"/>
            </p:custDataLst>
          </p:nvPr>
        </p:nvSpPr>
        <p:spPr bwMode="auto">
          <a:xfrm>
            <a:off x="1708150" y="4756151"/>
            <a:ext cx="122238" cy="455613"/>
          </a:xfrm>
          <a:custGeom>
            <a:avLst/>
            <a:gdLst/>
            <a:ahLst/>
            <a:cxnLst/>
            <a:rect l="0" t="0" r="0" b="0"/>
            <a:pathLst>
              <a:path w="122238" h="455614">
                <a:moveTo>
                  <a:pt x="122237" y="0"/>
                </a:moveTo>
                <a:lnTo>
                  <a:pt x="0" y="455613"/>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1" name="Freeform: Shape 40">
            <a:extLst>
              <a:ext uri="{FF2B5EF4-FFF2-40B4-BE49-F238E27FC236}">
                <a16:creationId xmlns:a16="http://schemas.microsoft.com/office/drawing/2014/main" id="{60CD1001-2FCA-49F7-9590-1D13495FFD86}"/>
              </a:ext>
            </a:extLst>
          </p:cNvPr>
          <p:cNvSpPr/>
          <p:nvPr>
            <p:custDataLst>
              <p:tags r:id="rId15"/>
            </p:custDataLst>
          </p:nvPr>
        </p:nvSpPr>
        <p:spPr bwMode="auto">
          <a:xfrm>
            <a:off x="1708150" y="5748338"/>
            <a:ext cx="122238" cy="455613"/>
          </a:xfrm>
          <a:custGeom>
            <a:avLst/>
            <a:gdLst/>
            <a:ahLst/>
            <a:cxnLst/>
            <a:rect l="0" t="0" r="0" b="0"/>
            <a:pathLst>
              <a:path w="122238" h="455613">
                <a:moveTo>
                  <a:pt x="122237" y="0"/>
                </a:moveTo>
                <a:lnTo>
                  <a:pt x="0" y="455612"/>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9" name="Freeform: Shape 38">
            <a:extLst>
              <a:ext uri="{FF2B5EF4-FFF2-40B4-BE49-F238E27FC236}">
                <a16:creationId xmlns:a16="http://schemas.microsoft.com/office/drawing/2014/main" id="{A3B2DDCC-F698-4662-A5F8-4AB1D269204C}"/>
              </a:ext>
            </a:extLst>
          </p:cNvPr>
          <p:cNvSpPr/>
          <p:nvPr>
            <p:custDataLst>
              <p:tags r:id="rId16"/>
            </p:custDataLst>
          </p:nvPr>
        </p:nvSpPr>
        <p:spPr bwMode="auto">
          <a:xfrm>
            <a:off x="1763713" y="5251450"/>
            <a:ext cx="123825" cy="457200"/>
          </a:xfrm>
          <a:custGeom>
            <a:avLst/>
            <a:gdLst/>
            <a:ahLst/>
            <a:cxnLst/>
            <a:rect l="0" t="0" r="0" b="0"/>
            <a:pathLst>
              <a:path w="123826" h="457201">
                <a:moveTo>
                  <a:pt x="123825" y="0"/>
                </a:moveTo>
                <a:lnTo>
                  <a:pt x="0" y="457200"/>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6" name="Freeform: Shape 35">
            <a:extLst>
              <a:ext uri="{FF2B5EF4-FFF2-40B4-BE49-F238E27FC236}">
                <a16:creationId xmlns:a16="http://schemas.microsoft.com/office/drawing/2014/main" id="{F60FD7D2-9342-4F9D-B9C8-ED2DF4367F58}"/>
              </a:ext>
            </a:extLst>
          </p:cNvPr>
          <p:cNvSpPr/>
          <p:nvPr>
            <p:custDataLst>
              <p:tags r:id="rId17"/>
            </p:custDataLst>
          </p:nvPr>
        </p:nvSpPr>
        <p:spPr bwMode="auto">
          <a:xfrm>
            <a:off x="1765300" y="4756151"/>
            <a:ext cx="122238" cy="455613"/>
          </a:xfrm>
          <a:custGeom>
            <a:avLst/>
            <a:gdLst/>
            <a:ahLst/>
            <a:cxnLst/>
            <a:rect l="0" t="0" r="0" b="0"/>
            <a:pathLst>
              <a:path w="122238" h="455614">
                <a:moveTo>
                  <a:pt x="122237" y="0"/>
                </a:moveTo>
                <a:lnTo>
                  <a:pt x="0" y="455613"/>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8" name="Freeform: Shape 37">
            <a:extLst>
              <a:ext uri="{FF2B5EF4-FFF2-40B4-BE49-F238E27FC236}">
                <a16:creationId xmlns:a16="http://schemas.microsoft.com/office/drawing/2014/main" id="{1ABD7888-6C55-4026-8EE5-7F57735F0E8A}"/>
              </a:ext>
            </a:extLst>
          </p:cNvPr>
          <p:cNvSpPr/>
          <p:nvPr>
            <p:custDataLst>
              <p:tags r:id="rId18"/>
            </p:custDataLst>
          </p:nvPr>
        </p:nvSpPr>
        <p:spPr bwMode="auto">
          <a:xfrm>
            <a:off x="1706563" y="5251450"/>
            <a:ext cx="123825" cy="457200"/>
          </a:xfrm>
          <a:custGeom>
            <a:avLst/>
            <a:gdLst/>
            <a:ahLst/>
            <a:cxnLst/>
            <a:rect l="0" t="0" r="0" b="0"/>
            <a:pathLst>
              <a:path w="123826" h="457201">
                <a:moveTo>
                  <a:pt x="123825" y="0"/>
                </a:moveTo>
                <a:lnTo>
                  <a:pt x="0" y="457200"/>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9" name="Freeform: Shape 48">
            <a:extLst>
              <a:ext uri="{FF2B5EF4-FFF2-40B4-BE49-F238E27FC236}">
                <a16:creationId xmlns:a16="http://schemas.microsoft.com/office/drawing/2014/main" id="{9A76F0D4-AC1B-4B67-AB61-87CCAAA3469A}"/>
              </a:ext>
            </a:extLst>
          </p:cNvPr>
          <p:cNvSpPr/>
          <p:nvPr>
            <p:custDataLst>
              <p:tags r:id="rId19"/>
            </p:custDataLst>
          </p:nvPr>
        </p:nvSpPr>
        <p:spPr bwMode="auto">
          <a:xfrm>
            <a:off x="1765300" y="5748338"/>
            <a:ext cx="122238" cy="455613"/>
          </a:xfrm>
          <a:custGeom>
            <a:avLst/>
            <a:gdLst/>
            <a:ahLst/>
            <a:cxnLst/>
            <a:rect l="0" t="0" r="0" b="0"/>
            <a:pathLst>
              <a:path w="122238" h="455613">
                <a:moveTo>
                  <a:pt x="122237" y="0"/>
                </a:moveTo>
                <a:lnTo>
                  <a:pt x="0" y="455612"/>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5" name="Text Placeholder 4">
            <a:extLst>
              <a:ext uri="{FF2B5EF4-FFF2-40B4-BE49-F238E27FC236}">
                <a16:creationId xmlns:a16="http://schemas.microsoft.com/office/drawing/2014/main" id="{C3CB008E-22C2-44CB-B4E9-DEB26C60D751}"/>
              </a:ext>
            </a:extLst>
          </p:cNvPr>
          <p:cNvSpPr>
            <a:spLocks noGrp="1"/>
          </p:cNvSpPr>
          <p:nvPr>
            <p:custDataLst>
              <p:tags r:id="rId20"/>
            </p:custDataLst>
          </p:nvPr>
        </p:nvSpPr>
        <p:spPr bwMode="auto">
          <a:xfrm>
            <a:off x="547688" y="4892675"/>
            <a:ext cx="54927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59EEB201-FE4C-466C-AB13-72046CF4AA07}" type="datetime'L''a''''''''''a''''''''g''''o''''''''''p''g''.'''''">
              <a:rPr lang="en-US" altLang="en-US" sz="1200" smtClean="0"/>
              <a:pPr/>
              <a:t>Laagopg.</a:t>
            </a:fld>
            <a:endParaRPr lang="en-US" sz="1200">
              <a:sym typeface="+mn-lt"/>
            </a:endParaRPr>
          </a:p>
        </p:txBody>
      </p:sp>
      <p:sp>
        <p:nvSpPr>
          <p:cNvPr id="27" name="Text Placeholder 4">
            <a:extLst>
              <a:ext uri="{FF2B5EF4-FFF2-40B4-BE49-F238E27FC236}">
                <a16:creationId xmlns:a16="http://schemas.microsoft.com/office/drawing/2014/main" id="{A921E673-DB7A-4E06-8FE6-8EC009AC1EBA}"/>
              </a:ext>
            </a:extLst>
          </p:cNvPr>
          <p:cNvSpPr>
            <a:spLocks noGrp="1"/>
          </p:cNvSpPr>
          <p:nvPr>
            <p:custDataLst>
              <p:tags r:id="rId21"/>
            </p:custDataLst>
          </p:nvPr>
        </p:nvSpPr>
        <p:spPr bwMode="auto">
          <a:xfrm>
            <a:off x="547688" y="5389563"/>
            <a:ext cx="704850"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4EC4B483-674F-46FE-9633-AA532CC33B57}" type="datetime'M''id''d''''''''''''''''e''''lo''''pg''''''''''.'''''''''''''">
              <a:rPr lang="en-US" altLang="en-US" sz="1200" smtClean="0"/>
              <a:pPr/>
              <a:t>Middelopg.</a:t>
            </a:fld>
            <a:endParaRPr lang="en-US" sz="1200">
              <a:sym typeface="+mn-lt"/>
            </a:endParaRPr>
          </a:p>
        </p:txBody>
      </p:sp>
      <p:sp>
        <p:nvSpPr>
          <p:cNvPr id="26" name="Text Placeholder 4">
            <a:extLst>
              <a:ext uri="{FF2B5EF4-FFF2-40B4-BE49-F238E27FC236}">
                <a16:creationId xmlns:a16="http://schemas.microsoft.com/office/drawing/2014/main" id="{686F2FC1-3476-421C-865D-6BF51EB16708}"/>
              </a:ext>
            </a:extLst>
          </p:cNvPr>
          <p:cNvSpPr>
            <a:spLocks noGrp="1"/>
          </p:cNvSpPr>
          <p:nvPr>
            <p:custDataLst>
              <p:tags r:id="rId22"/>
            </p:custDataLst>
          </p:nvPr>
        </p:nvSpPr>
        <p:spPr bwMode="auto">
          <a:xfrm>
            <a:off x="547688" y="5884863"/>
            <a:ext cx="596900"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279E4655-957B-4C67-A3B8-E3D9B03210EF}" type="datetime'''''Ho''''o''''''''g''''o''''''''''p''''''''''''''''g''.'''">
              <a:rPr lang="en-US" altLang="en-US" sz="1200" smtClean="0"/>
              <a:pPr/>
              <a:t>Hoogopg.</a:t>
            </a:fld>
            <a:endParaRPr lang="en-US" sz="1200">
              <a:sym typeface="+mn-lt"/>
            </a:endParaRPr>
          </a:p>
        </p:txBody>
      </p:sp>
      <p:sp>
        <p:nvSpPr>
          <p:cNvPr id="28" name="Text Placeholder 4">
            <a:extLst>
              <a:ext uri="{FF2B5EF4-FFF2-40B4-BE49-F238E27FC236}">
                <a16:creationId xmlns:a16="http://schemas.microsoft.com/office/drawing/2014/main" id="{C85739B3-91BC-4B46-B321-0E3F4F0BA37D}"/>
              </a:ext>
            </a:extLst>
          </p:cNvPr>
          <p:cNvSpPr>
            <a:spLocks noGrp="1"/>
          </p:cNvSpPr>
          <p:nvPr>
            <p:custDataLst>
              <p:tags r:id="rId23"/>
            </p:custDataLst>
          </p:nvPr>
        </p:nvSpPr>
        <p:spPr bwMode="gray">
          <a:xfrm>
            <a:off x="2263775" y="4892675"/>
            <a:ext cx="30956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61D46B7D-BDA1-4C8F-8573-F29DB4719F0A}" type="datetime'''''8''''''''''''''''''''''''''''3%'''''''''''''''''''''''''">
              <a:rPr lang="en-US" altLang="en-US" sz="1200" smtClean="0"/>
              <a:pPr/>
              <a:t>83%</a:t>
            </a:fld>
            <a:endParaRPr lang="en-US" sz="1200">
              <a:sym typeface="+mn-lt"/>
            </a:endParaRPr>
          </a:p>
        </p:txBody>
      </p:sp>
      <p:sp>
        <p:nvSpPr>
          <p:cNvPr id="30" name="Text Placeholder 4">
            <a:extLst>
              <a:ext uri="{FF2B5EF4-FFF2-40B4-BE49-F238E27FC236}">
                <a16:creationId xmlns:a16="http://schemas.microsoft.com/office/drawing/2014/main" id="{1D630CDB-DDDD-4A9F-B19B-3883282E41E6}"/>
              </a:ext>
            </a:extLst>
          </p:cNvPr>
          <p:cNvSpPr>
            <a:spLocks noGrp="1"/>
          </p:cNvSpPr>
          <p:nvPr>
            <p:custDataLst>
              <p:tags r:id="rId24"/>
            </p:custDataLst>
          </p:nvPr>
        </p:nvSpPr>
        <p:spPr bwMode="gray">
          <a:xfrm>
            <a:off x="2997200" y="5389563"/>
            <a:ext cx="30956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3881D1EC-0D21-48EA-A8AB-ABA57BF4B095}" type="datetime'''''''''''''''''''''''''''''''''''88''''''%'''''''''''">
              <a:rPr lang="en-US" altLang="en-US" sz="1200" smtClean="0"/>
              <a:pPr/>
              <a:t>88%</a:t>
            </a:fld>
            <a:endParaRPr lang="en-US" sz="1200">
              <a:sym typeface="+mn-lt"/>
            </a:endParaRPr>
          </a:p>
        </p:txBody>
      </p:sp>
      <p:sp>
        <p:nvSpPr>
          <p:cNvPr id="29" name="Text Placeholder 4">
            <a:extLst>
              <a:ext uri="{FF2B5EF4-FFF2-40B4-BE49-F238E27FC236}">
                <a16:creationId xmlns:a16="http://schemas.microsoft.com/office/drawing/2014/main" id="{70EC9A67-64CC-4E87-BA51-11CB12F4E813}"/>
              </a:ext>
            </a:extLst>
          </p:cNvPr>
          <p:cNvSpPr>
            <a:spLocks noGrp="1"/>
          </p:cNvSpPr>
          <p:nvPr>
            <p:custDataLst>
              <p:tags r:id="rId25"/>
            </p:custDataLst>
          </p:nvPr>
        </p:nvSpPr>
        <p:spPr bwMode="gray">
          <a:xfrm>
            <a:off x="3500438" y="5884863"/>
            <a:ext cx="30956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3893BA00-7D27-449C-A66D-50BF9E10575B}" type="datetime'''''''''''''''''''''''9''2''''''%'''''''''''''">
              <a:rPr lang="en-US" altLang="en-US" sz="1200" smtClean="0"/>
              <a:pPr/>
              <a:t>92%</a:t>
            </a:fld>
            <a:endParaRPr lang="en-US" sz="1200">
              <a:sym typeface="+mn-lt"/>
            </a:endParaRPr>
          </a:p>
        </p:txBody>
      </p:sp>
      <p:sp>
        <p:nvSpPr>
          <p:cNvPr id="31" name="TextBox 30">
            <a:extLst>
              <a:ext uri="{FF2B5EF4-FFF2-40B4-BE49-F238E27FC236}">
                <a16:creationId xmlns:a16="http://schemas.microsoft.com/office/drawing/2014/main" id="{94EC0F7A-16E9-4708-918E-03C3893E1DD5}"/>
              </a:ext>
            </a:extLst>
          </p:cNvPr>
          <p:cNvSpPr txBox="1">
            <a:spLocks/>
          </p:cNvSpPr>
          <p:nvPr/>
        </p:nvSpPr>
        <p:spPr>
          <a:xfrm>
            <a:off x="554735" y="4089400"/>
            <a:ext cx="3279648" cy="508000"/>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nl-NL" sz="1400" b="1">
                <a:cs typeface="+mn-cs"/>
              </a:rPr>
              <a:t>Gevoel van welzijn</a:t>
            </a:r>
          </a:p>
          <a:p>
            <a:r>
              <a:rPr lang="nl-NL" sz="1400">
                <a:cs typeface="+mn-cs"/>
              </a:rPr>
              <a:t>% gelukkige mensen, 2018</a:t>
            </a:r>
            <a:endParaRPr lang="en-GB" sz="1400">
              <a:cs typeface="+mn-cs"/>
            </a:endParaRPr>
          </a:p>
        </p:txBody>
      </p:sp>
      <p:graphicFrame>
        <p:nvGraphicFramePr>
          <p:cNvPr id="136" name="Chart 135">
            <a:extLst>
              <a:ext uri="{FF2B5EF4-FFF2-40B4-BE49-F238E27FC236}">
                <a16:creationId xmlns:a16="http://schemas.microsoft.com/office/drawing/2014/main" id="{9332469C-A1C0-493B-80B4-F633766F084D}"/>
              </a:ext>
            </a:extLst>
          </p:cNvPr>
          <p:cNvGraphicFramePr/>
          <p:nvPr>
            <p:custDataLst>
              <p:tags r:id="rId26"/>
            </p:custDataLst>
            <p:extLst>
              <p:ext uri="{D42A27DB-BD31-4B8C-83A1-F6EECF244321}">
                <p14:modId xmlns:p14="http://schemas.microsoft.com/office/powerpoint/2010/main" val="2057688341"/>
              </p:ext>
            </p:extLst>
          </p:nvPr>
        </p:nvGraphicFramePr>
        <p:xfrm>
          <a:off x="1271588" y="2106613"/>
          <a:ext cx="2286000" cy="1652587"/>
        </p:xfrm>
        <a:graphic>
          <a:graphicData uri="http://schemas.openxmlformats.org/drawingml/2006/chart">
            <c:chart xmlns:c="http://schemas.openxmlformats.org/drawingml/2006/chart" xmlns:r="http://schemas.openxmlformats.org/officeDocument/2006/relationships" r:id="rId52"/>
          </a:graphicData>
        </a:graphic>
      </p:graphicFrame>
      <p:sp useBgFill="1">
        <p:nvSpPr>
          <p:cNvPr id="59" name="Freeform: Shape 58">
            <a:extLst>
              <a:ext uri="{FF2B5EF4-FFF2-40B4-BE49-F238E27FC236}">
                <a16:creationId xmlns:a16="http://schemas.microsoft.com/office/drawing/2014/main" id="{39052760-A83B-4626-9AAB-5D72562EEBC3}"/>
              </a:ext>
            </a:extLst>
          </p:cNvPr>
          <p:cNvSpPr/>
          <p:nvPr>
            <p:custDataLst>
              <p:tags r:id="rId27"/>
            </p:custDataLst>
          </p:nvPr>
        </p:nvSpPr>
        <p:spPr bwMode="auto">
          <a:xfrm>
            <a:off x="1708150" y="2208213"/>
            <a:ext cx="179388" cy="455613"/>
          </a:xfrm>
          <a:custGeom>
            <a:avLst/>
            <a:gdLst/>
            <a:ahLst/>
            <a:cxnLst/>
            <a:rect l="0" t="0" r="0" b="0"/>
            <a:pathLst>
              <a:path w="179388" h="455613">
                <a:moveTo>
                  <a:pt x="179387" y="0"/>
                </a:moveTo>
                <a:lnTo>
                  <a:pt x="57150" y="455612"/>
                </a:lnTo>
                <a:lnTo>
                  <a:pt x="0" y="455612"/>
                </a:lnTo>
                <a:lnTo>
                  <a:pt x="122237" y="0"/>
                </a:lnTo>
                <a:close/>
              </a:path>
            </a:pathLst>
          </a:custGeom>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useBgFill="1">
        <p:nvSpPr>
          <p:cNvPr id="62" name="Freeform: Shape 61">
            <a:extLst>
              <a:ext uri="{FF2B5EF4-FFF2-40B4-BE49-F238E27FC236}">
                <a16:creationId xmlns:a16="http://schemas.microsoft.com/office/drawing/2014/main" id="{18326FD8-DCA4-4684-A9D3-971181D801FB}"/>
              </a:ext>
            </a:extLst>
          </p:cNvPr>
          <p:cNvSpPr/>
          <p:nvPr>
            <p:custDataLst>
              <p:tags r:id="rId28"/>
            </p:custDataLst>
          </p:nvPr>
        </p:nvSpPr>
        <p:spPr bwMode="auto">
          <a:xfrm>
            <a:off x="1706563" y="2703513"/>
            <a:ext cx="180975" cy="457200"/>
          </a:xfrm>
          <a:custGeom>
            <a:avLst/>
            <a:gdLst/>
            <a:ahLst/>
            <a:cxnLst/>
            <a:rect l="0" t="0" r="0" b="0"/>
            <a:pathLst>
              <a:path w="180976" h="457201">
                <a:moveTo>
                  <a:pt x="180975" y="0"/>
                </a:moveTo>
                <a:lnTo>
                  <a:pt x="57150" y="457200"/>
                </a:lnTo>
                <a:lnTo>
                  <a:pt x="0" y="457200"/>
                </a:lnTo>
                <a:lnTo>
                  <a:pt x="123825" y="0"/>
                </a:lnTo>
                <a:close/>
              </a:path>
            </a:pathLst>
          </a:custGeom>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useBgFill="1">
        <p:nvSpPr>
          <p:cNvPr id="68" name="Freeform: Shape 67">
            <a:extLst>
              <a:ext uri="{FF2B5EF4-FFF2-40B4-BE49-F238E27FC236}">
                <a16:creationId xmlns:a16="http://schemas.microsoft.com/office/drawing/2014/main" id="{E2E839FF-DDF5-4081-ACF2-19A388D0E332}"/>
              </a:ext>
            </a:extLst>
          </p:cNvPr>
          <p:cNvSpPr/>
          <p:nvPr>
            <p:custDataLst>
              <p:tags r:id="rId29"/>
            </p:custDataLst>
          </p:nvPr>
        </p:nvSpPr>
        <p:spPr bwMode="auto">
          <a:xfrm>
            <a:off x="1708150" y="3200401"/>
            <a:ext cx="179388" cy="455613"/>
          </a:xfrm>
          <a:custGeom>
            <a:avLst/>
            <a:gdLst/>
            <a:ahLst/>
            <a:cxnLst/>
            <a:rect l="0" t="0" r="0" b="0"/>
            <a:pathLst>
              <a:path w="179388" h="455614">
                <a:moveTo>
                  <a:pt x="179387" y="0"/>
                </a:moveTo>
                <a:lnTo>
                  <a:pt x="57150" y="455613"/>
                </a:lnTo>
                <a:lnTo>
                  <a:pt x="0" y="455613"/>
                </a:lnTo>
                <a:lnTo>
                  <a:pt x="122237" y="0"/>
                </a:lnTo>
                <a:close/>
              </a:path>
            </a:pathLst>
          </a:custGeom>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1" name="Freeform: Shape 50">
            <a:extLst>
              <a:ext uri="{FF2B5EF4-FFF2-40B4-BE49-F238E27FC236}">
                <a16:creationId xmlns:a16="http://schemas.microsoft.com/office/drawing/2014/main" id="{70CFAB36-CD54-4DA5-9B97-BB87A59BB90A}"/>
              </a:ext>
            </a:extLst>
          </p:cNvPr>
          <p:cNvSpPr/>
          <p:nvPr>
            <p:custDataLst>
              <p:tags r:id="rId30"/>
            </p:custDataLst>
          </p:nvPr>
        </p:nvSpPr>
        <p:spPr bwMode="auto">
          <a:xfrm>
            <a:off x="1708150" y="2208213"/>
            <a:ext cx="122238" cy="455613"/>
          </a:xfrm>
          <a:custGeom>
            <a:avLst/>
            <a:gdLst/>
            <a:ahLst/>
            <a:cxnLst/>
            <a:rect l="0" t="0" r="0" b="0"/>
            <a:pathLst>
              <a:path w="122238" h="455613">
                <a:moveTo>
                  <a:pt x="122237" y="0"/>
                </a:moveTo>
                <a:lnTo>
                  <a:pt x="0" y="455612"/>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6" name="Freeform: Shape 55">
            <a:extLst>
              <a:ext uri="{FF2B5EF4-FFF2-40B4-BE49-F238E27FC236}">
                <a16:creationId xmlns:a16="http://schemas.microsoft.com/office/drawing/2014/main" id="{233CBC14-DA09-4FF6-9B9D-5DB42DF87E12}"/>
              </a:ext>
            </a:extLst>
          </p:cNvPr>
          <p:cNvSpPr/>
          <p:nvPr>
            <p:custDataLst>
              <p:tags r:id="rId31"/>
            </p:custDataLst>
          </p:nvPr>
        </p:nvSpPr>
        <p:spPr bwMode="auto">
          <a:xfrm>
            <a:off x="1765300" y="2208213"/>
            <a:ext cx="122238" cy="455613"/>
          </a:xfrm>
          <a:custGeom>
            <a:avLst/>
            <a:gdLst/>
            <a:ahLst/>
            <a:cxnLst/>
            <a:rect l="0" t="0" r="0" b="0"/>
            <a:pathLst>
              <a:path w="122238" h="455613">
                <a:moveTo>
                  <a:pt x="122237" y="0"/>
                </a:moveTo>
                <a:lnTo>
                  <a:pt x="0" y="455612"/>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0" name="Freeform: Shape 59">
            <a:extLst>
              <a:ext uri="{FF2B5EF4-FFF2-40B4-BE49-F238E27FC236}">
                <a16:creationId xmlns:a16="http://schemas.microsoft.com/office/drawing/2014/main" id="{1D5A8B3C-2E4B-46B4-9128-D9275F3FC87B}"/>
              </a:ext>
            </a:extLst>
          </p:cNvPr>
          <p:cNvSpPr/>
          <p:nvPr>
            <p:custDataLst>
              <p:tags r:id="rId32"/>
            </p:custDataLst>
          </p:nvPr>
        </p:nvSpPr>
        <p:spPr bwMode="auto">
          <a:xfrm>
            <a:off x="1706563" y="2703513"/>
            <a:ext cx="123825" cy="457200"/>
          </a:xfrm>
          <a:custGeom>
            <a:avLst/>
            <a:gdLst/>
            <a:ahLst/>
            <a:cxnLst/>
            <a:rect l="0" t="0" r="0" b="0"/>
            <a:pathLst>
              <a:path w="123826" h="457201">
                <a:moveTo>
                  <a:pt x="123825" y="0"/>
                </a:moveTo>
                <a:lnTo>
                  <a:pt x="0" y="457200"/>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1" name="Freeform: Shape 60">
            <a:extLst>
              <a:ext uri="{FF2B5EF4-FFF2-40B4-BE49-F238E27FC236}">
                <a16:creationId xmlns:a16="http://schemas.microsoft.com/office/drawing/2014/main" id="{588D6BC3-C999-497E-ABFF-95A2E7D793F7}"/>
              </a:ext>
            </a:extLst>
          </p:cNvPr>
          <p:cNvSpPr/>
          <p:nvPr>
            <p:custDataLst>
              <p:tags r:id="rId33"/>
            </p:custDataLst>
          </p:nvPr>
        </p:nvSpPr>
        <p:spPr bwMode="auto">
          <a:xfrm>
            <a:off x="1763713" y="2703513"/>
            <a:ext cx="123825" cy="457200"/>
          </a:xfrm>
          <a:custGeom>
            <a:avLst/>
            <a:gdLst/>
            <a:ahLst/>
            <a:cxnLst/>
            <a:rect l="0" t="0" r="0" b="0"/>
            <a:pathLst>
              <a:path w="123826" h="457201">
                <a:moveTo>
                  <a:pt x="123825" y="0"/>
                </a:moveTo>
                <a:lnTo>
                  <a:pt x="0" y="457200"/>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3" name="Freeform: Shape 62">
            <a:extLst>
              <a:ext uri="{FF2B5EF4-FFF2-40B4-BE49-F238E27FC236}">
                <a16:creationId xmlns:a16="http://schemas.microsoft.com/office/drawing/2014/main" id="{9732C555-11FC-470D-BA0B-BEA385579075}"/>
              </a:ext>
            </a:extLst>
          </p:cNvPr>
          <p:cNvSpPr/>
          <p:nvPr>
            <p:custDataLst>
              <p:tags r:id="rId34"/>
            </p:custDataLst>
          </p:nvPr>
        </p:nvSpPr>
        <p:spPr bwMode="auto">
          <a:xfrm>
            <a:off x="1708150" y="3200401"/>
            <a:ext cx="122238" cy="455613"/>
          </a:xfrm>
          <a:custGeom>
            <a:avLst/>
            <a:gdLst/>
            <a:ahLst/>
            <a:cxnLst/>
            <a:rect l="0" t="0" r="0" b="0"/>
            <a:pathLst>
              <a:path w="122238" h="455614">
                <a:moveTo>
                  <a:pt x="122237" y="0"/>
                </a:moveTo>
                <a:lnTo>
                  <a:pt x="0" y="455613"/>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7" name="Freeform: Shape 66">
            <a:extLst>
              <a:ext uri="{FF2B5EF4-FFF2-40B4-BE49-F238E27FC236}">
                <a16:creationId xmlns:a16="http://schemas.microsoft.com/office/drawing/2014/main" id="{7D8566CF-3233-44B0-891B-FA7D75AE3BF6}"/>
              </a:ext>
            </a:extLst>
          </p:cNvPr>
          <p:cNvSpPr/>
          <p:nvPr>
            <p:custDataLst>
              <p:tags r:id="rId35"/>
            </p:custDataLst>
          </p:nvPr>
        </p:nvSpPr>
        <p:spPr bwMode="auto">
          <a:xfrm>
            <a:off x="1765300" y="3200401"/>
            <a:ext cx="122238" cy="455613"/>
          </a:xfrm>
          <a:custGeom>
            <a:avLst/>
            <a:gdLst/>
            <a:ahLst/>
            <a:cxnLst/>
            <a:rect l="0" t="0" r="0" b="0"/>
            <a:pathLst>
              <a:path w="122238" h="455614">
                <a:moveTo>
                  <a:pt x="122237" y="0"/>
                </a:moveTo>
                <a:lnTo>
                  <a:pt x="0" y="455613"/>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2" name="Text Placeholder 4">
            <a:extLst>
              <a:ext uri="{FF2B5EF4-FFF2-40B4-BE49-F238E27FC236}">
                <a16:creationId xmlns:a16="http://schemas.microsoft.com/office/drawing/2014/main" id="{8DD06119-097D-4E3C-9889-FB8CC7DBAFF0}"/>
              </a:ext>
            </a:extLst>
          </p:cNvPr>
          <p:cNvSpPr>
            <a:spLocks noGrp="1"/>
          </p:cNvSpPr>
          <p:nvPr>
            <p:custDataLst>
              <p:tags r:id="rId36"/>
            </p:custDataLst>
          </p:nvPr>
        </p:nvSpPr>
        <p:spPr bwMode="auto">
          <a:xfrm>
            <a:off x="547688" y="2344738"/>
            <a:ext cx="54927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19A581DD-304F-4861-BBAA-F2C2A84EBFD3}" type="datetime'''L''''a''''''''''''''a''g''''o''''''p''''''g''.'''''''''''''">
              <a:rPr lang="en-US" altLang="en-US" sz="1200" smtClean="0"/>
              <a:pPr/>
              <a:t>Laagopg.</a:t>
            </a:fld>
            <a:endParaRPr lang="en-US" sz="1200">
              <a:sym typeface="+mn-lt"/>
            </a:endParaRPr>
          </a:p>
        </p:txBody>
      </p:sp>
      <p:sp>
        <p:nvSpPr>
          <p:cNvPr id="43" name="Text Placeholder 4">
            <a:extLst>
              <a:ext uri="{FF2B5EF4-FFF2-40B4-BE49-F238E27FC236}">
                <a16:creationId xmlns:a16="http://schemas.microsoft.com/office/drawing/2014/main" id="{AD44EE89-A843-4E2C-A983-90F674B8965E}"/>
              </a:ext>
            </a:extLst>
          </p:cNvPr>
          <p:cNvSpPr>
            <a:spLocks noGrp="1"/>
          </p:cNvSpPr>
          <p:nvPr>
            <p:custDataLst>
              <p:tags r:id="rId37"/>
            </p:custDataLst>
          </p:nvPr>
        </p:nvSpPr>
        <p:spPr bwMode="auto">
          <a:xfrm>
            <a:off x="547688" y="2841625"/>
            <a:ext cx="704850"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A0C103CA-0F38-446B-A8C3-96BCCE38BF13}" type="datetime'M''i''''''''''''''''''d''''d''''''e''''''l''''''o''p''g.'''">
              <a:rPr lang="en-US" altLang="en-US" sz="1200" smtClean="0"/>
              <a:pPr/>
              <a:t>Middelopg.</a:t>
            </a:fld>
            <a:endParaRPr lang="en-US" sz="1200">
              <a:sym typeface="+mn-lt"/>
            </a:endParaRPr>
          </a:p>
        </p:txBody>
      </p:sp>
      <p:sp>
        <p:nvSpPr>
          <p:cNvPr id="44" name="Text Placeholder 4">
            <a:extLst>
              <a:ext uri="{FF2B5EF4-FFF2-40B4-BE49-F238E27FC236}">
                <a16:creationId xmlns:a16="http://schemas.microsoft.com/office/drawing/2014/main" id="{F0E3DFBC-CADC-425C-AF46-229210492586}"/>
              </a:ext>
            </a:extLst>
          </p:cNvPr>
          <p:cNvSpPr>
            <a:spLocks noGrp="1"/>
          </p:cNvSpPr>
          <p:nvPr>
            <p:custDataLst>
              <p:tags r:id="rId38"/>
            </p:custDataLst>
          </p:nvPr>
        </p:nvSpPr>
        <p:spPr bwMode="auto">
          <a:xfrm>
            <a:off x="547688" y="3336925"/>
            <a:ext cx="596900"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B608DD9B-5FFD-4F0B-A362-5193D3DE625E}" type="datetime'''''''''H''oo''''''''''''''''g''''''''''o''''''''pg.'''''">
              <a:rPr lang="en-US" altLang="en-US" sz="1200" smtClean="0"/>
              <a:pPr/>
              <a:t>Hoogopg.</a:t>
            </a:fld>
            <a:endParaRPr lang="en-US" sz="1200">
              <a:sym typeface="+mn-lt"/>
            </a:endParaRPr>
          </a:p>
        </p:txBody>
      </p:sp>
      <p:sp>
        <p:nvSpPr>
          <p:cNvPr id="45" name="Text Placeholder 4">
            <a:extLst>
              <a:ext uri="{FF2B5EF4-FFF2-40B4-BE49-F238E27FC236}">
                <a16:creationId xmlns:a16="http://schemas.microsoft.com/office/drawing/2014/main" id="{7CDBED2C-5FBE-4679-BF66-3DF0A97B1012}"/>
              </a:ext>
            </a:extLst>
          </p:cNvPr>
          <p:cNvSpPr>
            <a:spLocks noGrp="1"/>
          </p:cNvSpPr>
          <p:nvPr>
            <p:custDataLst>
              <p:tags r:id="rId39"/>
            </p:custDataLst>
          </p:nvPr>
        </p:nvSpPr>
        <p:spPr bwMode="gray">
          <a:xfrm>
            <a:off x="2263775" y="2344738"/>
            <a:ext cx="30956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EE4EEE37-1D25-4294-8D10-1A41F761EE2A}" type="datetime'''''''''4''''''''''''''''''''''''9''''%'''''''''''">
              <a:rPr lang="en-US" altLang="en-US" sz="1200" smtClean="0"/>
              <a:pPr/>
              <a:t>49%</a:t>
            </a:fld>
            <a:endParaRPr lang="en-US" sz="1200">
              <a:sym typeface="+mn-lt"/>
            </a:endParaRPr>
          </a:p>
        </p:txBody>
      </p:sp>
      <p:sp>
        <p:nvSpPr>
          <p:cNvPr id="46" name="Text Placeholder 4">
            <a:extLst>
              <a:ext uri="{FF2B5EF4-FFF2-40B4-BE49-F238E27FC236}">
                <a16:creationId xmlns:a16="http://schemas.microsoft.com/office/drawing/2014/main" id="{117992A9-C252-4AD4-8A88-FB8575577F34}"/>
              </a:ext>
            </a:extLst>
          </p:cNvPr>
          <p:cNvSpPr>
            <a:spLocks noGrp="1"/>
          </p:cNvSpPr>
          <p:nvPr>
            <p:custDataLst>
              <p:tags r:id="rId40"/>
            </p:custDataLst>
          </p:nvPr>
        </p:nvSpPr>
        <p:spPr bwMode="gray">
          <a:xfrm>
            <a:off x="3133725" y="2841625"/>
            <a:ext cx="30956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A90C33EB-B7E8-4FA9-9E72-F8E1811D3438}" type="datetime'7''''''''''''2''''''''''''%'''''''''''''''''''''''''''''''''''">
              <a:rPr lang="en-US" altLang="en-US" sz="1200" smtClean="0"/>
              <a:pPr/>
              <a:t>72%</a:t>
            </a:fld>
            <a:endParaRPr lang="en-US" sz="1200">
              <a:sym typeface="+mn-lt"/>
            </a:endParaRPr>
          </a:p>
        </p:txBody>
      </p:sp>
      <p:sp>
        <p:nvSpPr>
          <p:cNvPr id="47" name="Text Placeholder 4">
            <a:extLst>
              <a:ext uri="{FF2B5EF4-FFF2-40B4-BE49-F238E27FC236}">
                <a16:creationId xmlns:a16="http://schemas.microsoft.com/office/drawing/2014/main" id="{EA530FCD-42E1-4C3D-9082-88B69A68BD31}"/>
              </a:ext>
            </a:extLst>
          </p:cNvPr>
          <p:cNvSpPr>
            <a:spLocks noGrp="1"/>
          </p:cNvSpPr>
          <p:nvPr>
            <p:custDataLst>
              <p:tags r:id="rId41"/>
            </p:custDataLst>
          </p:nvPr>
        </p:nvSpPr>
        <p:spPr bwMode="gray">
          <a:xfrm>
            <a:off x="3500438" y="3336925"/>
            <a:ext cx="30956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2BA21CB0-109C-4DA2-9039-FB474F9D6D9C}" type="datetime'''''8''''''''''''''''''''''''''''''2''''%'''''''''''''''''''''">
              <a:rPr lang="en-US" altLang="en-US" sz="1200" smtClean="0"/>
              <a:pPr/>
              <a:t>82%</a:t>
            </a:fld>
            <a:endParaRPr lang="en-US" sz="1200">
              <a:sym typeface="+mn-lt"/>
            </a:endParaRPr>
          </a:p>
        </p:txBody>
      </p:sp>
      <p:sp>
        <p:nvSpPr>
          <p:cNvPr id="9" name="TextBox 8">
            <a:extLst>
              <a:ext uri="{FF2B5EF4-FFF2-40B4-BE49-F238E27FC236}">
                <a16:creationId xmlns:a16="http://schemas.microsoft.com/office/drawing/2014/main" id="{BB807E3E-F871-4698-A916-434106D7E357}"/>
              </a:ext>
            </a:extLst>
          </p:cNvPr>
          <p:cNvSpPr txBox="1">
            <a:spLocks/>
          </p:cNvSpPr>
          <p:nvPr/>
        </p:nvSpPr>
        <p:spPr>
          <a:xfrm>
            <a:off x="554735" y="1570022"/>
            <a:ext cx="3279648" cy="50783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nl-NL" sz="1400" b="1"/>
              <a:t>Arbeidsparticipatie</a:t>
            </a:r>
          </a:p>
          <a:p>
            <a:r>
              <a:rPr lang="nl-NL" sz="1400"/>
              <a:t>% beroepsbevolking met een baan, 2019</a:t>
            </a:r>
            <a:endParaRPr lang="en-GB" sz="1400"/>
          </a:p>
        </p:txBody>
      </p:sp>
      <p:sp>
        <p:nvSpPr>
          <p:cNvPr id="54" name="TextBox 53">
            <a:extLst>
              <a:ext uri="{FF2B5EF4-FFF2-40B4-BE49-F238E27FC236}">
                <a16:creationId xmlns:a16="http://schemas.microsoft.com/office/drawing/2014/main" id="{B2F995AE-4237-449B-9BDC-1D357BCB0546}"/>
              </a:ext>
            </a:extLst>
          </p:cNvPr>
          <p:cNvSpPr txBox="1">
            <a:spLocks/>
          </p:cNvSpPr>
          <p:nvPr/>
        </p:nvSpPr>
        <p:spPr>
          <a:xfrm>
            <a:off x="4242817" y="1570022"/>
            <a:ext cx="3279648" cy="50783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nl-NL" sz="1400" b="1"/>
              <a:t>Gemiddeld persoonlijk inkomen</a:t>
            </a:r>
          </a:p>
          <a:p>
            <a:r>
              <a:rPr lang="nl-NL" sz="1400"/>
              <a:t>€ 1.000/jaar, 2018</a:t>
            </a:r>
            <a:endParaRPr lang="en-GB" sz="1400"/>
          </a:p>
        </p:txBody>
      </p:sp>
      <p:sp>
        <p:nvSpPr>
          <p:cNvPr id="55" name="TextBox 54">
            <a:extLst>
              <a:ext uri="{FF2B5EF4-FFF2-40B4-BE49-F238E27FC236}">
                <a16:creationId xmlns:a16="http://schemas.microsoft.com/office/drawing/2014/main" id="{F1397815-5161-4F20-932E-13AB834F9C59}"/>
              </a:ext>
            </a:extLst>
          </p:cNvPr>
          <p:cNvSpPr txBox="1">
            <a:spLocks/>
          </p:cNvSpPr>
          <p:nvPr/>
        </p:nvSpPr>
        <p:spPr>
          <a:xfrm>
            <a:off x="4242817" y="4089569"/>
            <a:ext cx="3279648" cy="50783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nl-NL" sz="1400" b="1"/>
              <a:t>Levensverwachting in goede gezondheid</a:t>
            </a:r>
          </a:p>
          <a:p>
            <a:r>
              <a:rPr lang="nl-NL" sz="1400"/>
              <a:t># jaren, 2015-2018</a:t>
            </a:r>
            <a:endParaRPr lang="en-GB" sz="1400"/>
          </a:p>
        </p:txBody>
      </p:sp>
      <p:sp>
        <p:nvSpPr>
          <p:cNvPr id="57" name="TextBox 56">
            <a:extLst>
              <a:ext uri="{FF2B5EF4-FFF2-40B4-BE49-F238E27FC236}">
                <a16:creationId xmlns:a16="http://schemas.microsoft.com/office/drawing/2014/main" id="{B3B496FA-61E0-4DAA-AC6C-5B819C7EE0E5}"/>
              </a:ext>
            </a:extLst>
          </p:cNvPr>
          <p:cNvSpPr txBox="1"/>
          <p:nvPr>
            <p:custDataLst>
              <p:tags r:id="rId42"/>
            </p:custDataLst>
          </p:nvPr>
        </p:nvSpPr>
        <p:spPr>
          <a:xfrm>
            <a:off x="8238744" y="1570022"/>
            <a:ext cx="3398519" cy="410244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900"/>
              </a:spcBef>
            </a:pPr>
            <a:r>
              <a:rPr lang="nl-NL" sz="2000" b="1">
                <a:cs typeface="+mn-cs"/>
              </a:rPr>
              <a:t>Een leerling die minder kansen krijgt op school, heeft daar de rest van zijn/haar leven last van</a:t>
            </a:r>
          </a:p>
          <a:p>
            <a:pPr>
              <a:spcBef>
                <a:spcPts val="900"/>
              </a:spcBef>
              <a:buNone/>
            </a:pPr>
            <a:r>
              <a:rPr lang="nl-NL" sz="2000">
                <a:cs typeface="+mn-cs"/>
              </a:rPr>
              <a:t>Mensen met een lage opleiding zijn in hun latere leven vaker werkeloos en verdienen meer dan 2x zo weinig dan mensen met een hoge opleiding</a:t>
            </a:r>
          </a:p>
          <a:p>
            <a:pPr>
              <a:spcBef>
                <a:spcPts val="900"/>
              </a:spcBef>
              <a:buNone/>
            </a:pPr>
            <a:r>
              <a:rPr lang="nl-NL" sz="2000">
                <a:cs typeface="+mn-cs"/>
              </a:rPr>
              <a:t>Lager opgeleiden zijn ook minder gelukkig en leven 15 jaar korter in goede gezondheid dan hoger opgeleiden</a:t>
            </a:r>
            <a:endParaRPr lang="en-US" sz="2000">
              <a:cs typeface="+mn-cs"/>
            </a:endParaRPr>
          </a:p>
        </p:txBody>
      </p:sp>
      <p:graphicFrame>
        <p:nvGraphicFramePr>
          <p:cNvPr id="137" name="Chart 136">
            <a:extLst>
              <a:ext uri="{FF2B5EF4-FFF2-40B4-BE49-F238E27FC236}">
                <a16:creationId xmlns:a16="http://schemas.microsoft.com/office/drawing/2014/main" id="{DF75F85C-91E1-4684-93B4-3C6D0C4A166F}"/>
              </a:ext>
            </a:extLst>
          </p:cNvPr>
          <p:cNvGraphicFramePr/>
          <p:nvPr>
            <p:custDataLst>
              <p:tags r:id="rId43"/>
            </p:custDataLst>
            <p:extLst>
              <p:ext uri="{D42A27DB-BD31-4B8C-83A1-F6EECF244321}">
                <p14:modId xmlns:p14="http://schemas.microsoft.com/office/powerpoint/2010/main" val="1118503231"/>
              </p:ext>
            </p:extLst>
          </p:nvPr>
        </p:nvGraphicFramePr>
        <p:xfrm>
          <a:off x="4964113" y="4654550"/>
          <a:ext cx="2452687" cy="1652588"/>
        </p:xfrm>
        <a:graphic>
          <a:graphicData uri="http://schemas.openxmlformats.org/drawingml/2006/chart">
            <c:chart xmlns:c="http://schemas.openxmlformats.org/drawingml/2006/chart" xmlns:r="http://schemas.openxmlformats.org/officeDocument/2006/relationships" r:id="rId53"/>
          </a:graphicData>
        </a:graphic>
      </p:graphicFrame>
      <p:sp>
        <p:nvSpPr>
          <p:cNvPr id="128" name="Text Placeholder 4">
            <a:extLst>
              <a:ext uri="{FF2B5EF4-FFF2-40B4-BE49-F238E27FC236}">
                <a16:creationId xmlns:a16="http://schemas.microsoft.com/office/drawing/2014/main" id="{465B595D-7C57-49C0-9216-13C6027F1A4F}"/>
              </a:ext>
            </a:extLst>
          </p:cNvPr>
          <p:cNvSpPr>
            <a:spLocks noGrp="1"/>
          </p:cNvSpPr>
          <p:nvPr>
            <p:custDataLst>
              <p:tags r:id="rId44"/>
            </p:custDataLst>
          </p:nvPr>
        </p:nvSpPr>
        <p:spPr bwMode="auto">
          <a:xfrm>
            <a:off x="4240213" y="5884863"/>
            <a:ext cx="596900"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4E30A61E-0D4C-4154-AC6B-3B6058AA3663}" type="datetime'''H''''''''''''''''o''''''og''''o''''p''''g.'''''''''">
              <a:rPr lang="en-US" altLang="en-US" sz="1200" smtClean="0"/>
              <a:pPr/>
              <a:t>Hoogopg.</a:t>
            </a:fld>
            <a:endParaRPr lang="en-US" sz="1200">
              <a:sym typeface="+mn-lt"/>
            </a:endParaRPr>
          </a:p>
        </p:txBody>
      </p:sp>
      <p:sp>
        <p:nvSpPr>
          <p:cNvPr id="130" name="Text Placeholder 4">
            <a:extLst>
              <a:ext uri="{FF2B5EF4-FFF2-40B4-BE49-F238E27FC236}">
                <a16:creationId xmlns:a16="http://schemas.microsoft.com/office/drawing/2014/main" id="{048DE8F4-720E-4D70-8CD5-8E81E39295B9}"/>
              </a:ext>
            </a:extLst>
          </p:cNvPr>
          <p:cNvSpPr>
            <a:spLocks noGrp="1"/>
          </p:cNvSpPr>
          <p:nvPr>
            <p:custDataLst>
              <p:tags r:id="rId45"/>
            </p:custDataLst>
          </p:nvPr>
        </p:nvSpPr>
        <p:spPr bwMode="auto">
          <a:xfrm>
            <a:off x="4240213" y="5389563"/>
            <a:ext cx="704850"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614B094E-01F6-4F99-AEEB-C4FE60D632C7}" type="datetime'''''''''''''Mi''''''''dde''''l''o''''p''g''''''''''.'''">
              <a:rPr lang="en-US" altLang="en-US" sz="1200" smtClean="0"/>
              <a:pPr/>
              <a:t>Middelopg.</a:t>
            </a:fld>
            <a:endParaRPr lang="en-US" sz="1200">
              <a:sym typeface="+mn-lt"/>
            </a:endParaRPr>
          </a:p>
        </p:txBody>
      </p:sp>
      <p:sp>
        <p:nvSpPr>
          <p:cNvPr id="129" name="Text Placeholder 4">
            <a:extLst>
              <a:ext uri="{FF2B5EF4-FFF2-40B4-BE49-F238E27FC236}">
                <a16:creationId xmlns:a16="http://schemas.microsoft.com/office/drawing/2014/main" id="{E2C0B25A-B227-43C6-9E43-6F8D5BB0F09B}"/>
              </a:ext>
            </a:extLst>
          </p:cNvPr>
          <p:cNvSpPr>
            <a:spLocks noGrp="1"/>
          </p:cNvSpPr>
          <p:nvPr>
            <p:custDataLst>
              <p:tags r:id="rId46"/>
            </p:custDataLst>
          </p:nvPr>
        </p:nvSpPr>
        <p:spPr bwMode="auto">
          <a:xfrm>
            <a:off x="4240213" y="4892675"/>
            <a:ext cx="54927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C482705F-65D3-4C8B-A69A-A7AD3B88F284}" type="datetime'Laag''''''''o''''''p''''''''''''''g''.'">
              <a:rPr lang="en-US" altLang="en-US" sz="1200" smtClean="0"/>
              <a:pPr/>
              <a:t>Laagopg.</a:t>
            </a:fld>
            <a:endParaRPr lang="en-US" sz="1200">
              <a:sym typeface="+mn-lt"/>
            </a:endParaRPr>
          </a:p>
        </p:txBody>
      </p:sp>
      <p:cxnSp>
        <p:nvCxnSpPr>
          <p:cNvPr id="70" name="Straight Connector 69">
            <a:extLst>
              <a:ext uri="{FF2B5EF4-FFF2-40B4-BE49-F238E27FC236}">
                <a16:creationId xmlns:a16="http://schemas.microsoft.com/office/drawing/2014/main" id="{5283688C-6B9B-4AEE-A6A5-9E95144A47EB}"/>
              </a:ext>
            </a:extLst>
          </p:cNvPr>
          <p:cNvCxnSpPr>
            <a:cxnSpLocks/>
          </p:cNvCxnSpPr>
          <p:nvPr/>
        </p:nvCxnSpPr>
        <p:spPr>
          <a:xfrm>
            <a:off x="554735" y="2105285"/>
            <a:ext cx="6967730"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23BA8DE1-71AF-4E4C-A5F1-8F95374D50DF}"/>
              </a:ext>
            </a:extLst>
          </p:cNvPr>
          <p:cNvCxnSpPr>
            <a:cxnSpLocks/>
          </p:cNvCxnSpPr>
          <p:nvPr/>
        </p:nvCxnSpPr>
        <p:spPr>
          <a:xfrm>
            <a:off x="554735" y="4624832"/>
            <a:ext cx="6967730"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26891467-82B3-4C9D-BFBF-9BBE84010973}"/>
              </a:ext>
            </a:extLst>
          </p:cNvPr>
          <p:cNvCxnSpPr>
            <a:cxnSpLocks/>
          </p:cNvCxnSpPr>
          <p:nvPr/>
        </p:nvCxnSpPr>
        <p:spPr>
          <a:xfrm>
            <a:off x="554735" y="3883025"/>
            <a:ext cx="6967730"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6E18F144-58E5-4285-98C4-EBF38BB2944E}"/>
              </a:ext>
            </a:extLst>
          </p:cNvPr>
          <p:cNvCxnSpPr/>
          <p:nvPr/>
        </p:nvCxnSpPr>
        <p:spPr>
          <a:xfrm>
            <a:off x="4038600" y="2189163"/>
            <a:ext cx="0" cy="1487488"/>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B7A14525-D978-49E3-BF41-27D249E15B21}"/>
              </a:ext>
            </a:extLst>
          </p:cNvPr>
          <p:cNvCxnSpPr/>
          <p:nvPr/>
        </p:nvCxnSpPr>
        <p:spPr>
          <a:xfrm>
            <a:off x="4038600" y="4737100"/>
            <a:ext cx="0" cy="1487488"/>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7239876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854C0C3-A8D3-4A36-AD1E-FFB696423FE9}"/>
              </a:ext>
            </a:extLst>
          </p:cNvPr>
          <p:cNvGraphicFramePr>
            <a:graphicFrameLocks noChangeAspect="1"/>
          </p:cNvGraphicFramePr>
          <p:nvPr>
            <p:custDataLst>
              <p:tags r:id="rId2"/>
            </p:custDataLst>
            <p:extLst>
              <p:ext uri="{D42A27DB-BD31-4B8C-83A1-F6EECF244321}">
                <p14:modId xmlns:p14="http://schemas.microsoft.com/office/powerpoint/2010/main" val="11927181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3" name="think-cell Slide" r:id="rId6" imgW="395" imgH="394" progId="TCLayout.ActiveDocument.1">
                  <p:embed/>
                </p:oleObj>
              </mc:Choice>
              <mc:Fallback>
                <p:oleObj name="think-cell Slide" r:id="rId6" imgW="395" imgH="394" progId="TCLayout.ActiveDocument.1">
                  <p:embed/>
                  <p:pic>
                    <p:nvPicPr>
                      <p:cNvPr id="5" name="Object 4" hidden="1">
                        <a:extLst>
                          <a:ext uri="{FF2B5EF4-FFF2-40B4-BE49-F238E27FC236}">
                            <a16:creationId xmlns:a16="http://schemas.microsoft.com/office/drawing/2014/main" id="{1854C0C3-A8D3-4A36-AD1E-FFB696423FE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FB7114D1-EF03-41D9-8DA2-6BBC464048FE}"/>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err="1">
              <a:solidFill>
                <a:schemeClr val="bg1"/>
              </a:solidFill>
              <a:latin typeface="Calibri" panose="020F0502020204030204" pitchFamily="34" charset="0"/>
              <a:ea typeface="+mj-ea"/>
              <a:cs typeface="+mj-cs"/>
              <a:sym typeface="Calibri" panose="020F0502020204030204" pitchFamily="34" charset="0"/>
            </a:endParaRPr>
          </a:p>
        </p:txBody>
      </p:sp>
      <p:sp>
        <p:nvSpPr>
          <p:cNvPr id="2" name="2. Slide Title">
            <a:extLst>
              <a:ext uri="{FF2B5EF4-FFF2-40B4-BE49-F238E27FC236}">
                <a16:creationId xmlns:a16="http://schemas.microsoft.com/office/drawing/2014/main" id="{661E4105-D692-40F2-9102-0D5163634F7C}"/>
              </a:ext>
            </a:extLst>
          </p:cNvPr>
          <p:cNvSpPr>
            <a:spLocks noGrp="1"/>
          </p:cNvSpPr>
          <p:nvPr>
            <p:ph type="title"/>
            <p:custDataLst>
              <p:tags r:id="rId4"/>
            </p:custDataLst>
          </p:nvPr>
        </p:nvSpPr>
        <p:spPr>
          <a:xfrm>
            <a:off x="554736" y="144451"/>
            <a:ext cx="11082528" cy="769441"/>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dirty="0"/>
              <a:t>Het </a:t>
            </a:r>
            <a:r>
              <a:rPr lang="en-US" dirty="0" err="1"/>
              <a:t>ministerie</a:t>
            </a:r>
            <a:r>
              <a:rPr lang="en-US" dirty="0"/>
              <a:t> </a:t>
            </a:r>
            <a:r>
              <a:rPr lang="en-US" dirty="0" err="1"/>
              <a:t>doet</a:t>
            </a:r>
            <a:r>
              <a:rPr lang="en-US" dirty="0"/>
              <a:t> </a:t>
            </a:r>
            <a:r>
              <a:rPr lang="en-US" dirty="0" err="1"/>
              <a:t>te</a:t>
            </a:r>
            <a:r>
              <a:rPr lang="en-US" dirty="0"/>
              <a:t> </a:t>
            </a:r>
            <a:r>
              <a:rPr lang="en-US" dirty="0" err="1"/>
              <a:t>weinig</a:t>
            </a:r>
            <a:r>
              <a:rPr lang="en-US" dirty="0"/>
              <a:t> om de kansenongelijkheid </a:t>
            </a:r>
            <a:r>
              <a:rPr lang="en-US" dirty="0" err="1"/>
              <a:t>en</a:t>
            </a:r>
            <a:r>
              <a:rPr lang="en-US" dirty="0"/>
              <a:t> </a:t>
            </a:r>
            <a:r>
              <a:rPr lang="en-US" dirty="0" err="1"/>
              <a:t>afnemende</a:t>
            </a:r>
            <a:r>
              <a:rPr lang="en-US" dirty="0"/>
              <a:t> kwaliteit </a:t>
            </a:r>
            <a:r>
              <a:rPr lang="en-US" dirty="0" err="1"/>
              <a:t>aan</a:t>
            </a:r>
            <a:r>
              <a:rPr lang="en-US" dirty="0"/>
              <a:t> </a:t>
            </a:r>
            <a:r>
              <a:rPr lang="en-US" dirty="0" err="1"/>
              <a:t>te</a:t>
            </a:r>
            <a:r>
              <a:rPr lang="en-US" dirty="0"/>
              <a:t> </a:t>
            </a:r>
            <a:r>
              <a:rPr lang="en-US" dirty="0" err="1"/>
              <a:t>pakken</a:t>
            </a:r>
            <a:endParaRPr lang="en-US" dirty="0"/>
          </a:p>
        </p:txBody>
      </p:sp>
      <p:grpSp>
        <p:nvGrpSpPr>
          <p:cNvPr id="6" name="Group 5">
            <a:extLst>
              <a:ext uri="{FF2B5EF4-FFF2-40B4-BE49-F238E27FC236}">
                <a16:creationId xmlns:a16="http://schemas.microsoft.com/office/drawing/2014/main" id="{4F831B4D-94CD-4260-B620-187725C0184F}"/>
              </a:ext>
            </a:extLst>
          </p:cNvPr>
          <p:cNvGrpSpPr/>
          <p:nvPr/>
        </p:nvGrpSpPr>
        <p:grpSpPr>
          <a:xfrm>
            <a:off x="1563722" y="1706563"/>
            <a:ext cx="4353571" cy="4503737"/>
            <a:chOff x="554736" y="1933171"/>
            <a:chExt cx="3931942" cy="4067565"/>
          </a:xfrm>
        </p:grpSpPr>
        <p:pic>
          <p:nvPicPr>
            <p:cNvPr id="91143" name="Picture 7" descr="Ministerie van Onderwijs, Cultuur en Wetenschap | Rijksoverheid.nl">
              <a:extLst>
                <a:ext uri="{FF2B5EF4-FFF2-40B4-BE49-F238E27FC236}">
                  <a16:creationId xmlns:a16="http://schemas.microsoft.com/office/drawing/2014/main" id="{8A9F28C4-71E8-45CC-A363-E3D183DE8E78}"/>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18366" r="17169"/>
            <a:stretch/>
          </p:blipFill>
          <p:spPr bwMode="auto">
            <a:xfrm>
              <a:off x="554736" y="1933171"/>
              <a:ext cx="1935874" cy="2000789"/>
            </a:xfrm>
            <a:prstGeom prst="rect">
              <a:avLst/>
            </a:prstGeom>
            <a:noFill/>
            <a:extLst>
              <a:ext uri="{909E8E84-426E-40DD-AFC4-6F175D3DCCD1}">
                <a14:hiddenFill xmlns:a14="http://schemas.microsoft.com/office/drawing/2010/main">
                  <a:solidFill>
                    <a:srgbClr val="FFFFFF"/>
                  </a:solidFill>
                </a14:hiddenFill>
              </a:ext>
            </a:extLst>
          </p:spPr>
        </p:pic>
        <p:pic>
          <p:nvPicPr>
            <p:cNvPr id="91145" name="Picture 9" descr="Ministerie van Onderwijs, Cultuur en Wetenschap | Rijksoverheid.nl">
              <a:extLst>
                <a:ext uri="{FF2B5EF4-FFF2-40B4-BE49-F238E27FC236}">
                  <a16:creationId xmlns:a16="http://schemas.microsoft.com/office/drawing/2014/main" id="{1A9CC1C0-0AB3-4837-A244-B4ADB9A0C69C}"/>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17198" r="18337"/>
            <a:stretch/>
          </p:blipFill>
          <p:spPr bwMode="auto">
            <a:xfrm>
              <a:off x="2550803" y="1933171"/>
              <a:ext cx="1935875" cy="2000789"/>
            </a:xfrm>
            <a:prstGeom prst="rect">
              <a:avLst/>
            </a:prstGeom>
            <a:noFill/>
            <a:extLst>
              <a:ext uri="{909E8E84-426E-40DD-AFC4-6F175D3DCCD1}">
                <a14:hiddenFill xmlns:a14="http://schemas.microsoft.com/office/drawing/2010/main">
                  <a:solidFill>
                    <a:srgbClr val="FFFFFF"/>
                  </a:solidFill>
                </a14:hiddenFill>
              </a:ext>
            </a:extLst>
          </p:spPr>
        </p:pic>
        <p:pic>
          <p:nvPicPr>
            <p:cNvPr id="91147" name="Picture 11" descr="Overleg OCW en Ikgaondernemen! » Ikgaondernemen! » Ondernemend Onderwijs">
              <a:extLst>
                <a:ext uri="{FF2B5EF4-FFF2-40B4-BE49-F238E27FC236}">
                  <a16:creationId xmlns:a16="http://schemas.microsoft.com/office/drawing/2014/main" id="{C0E854F3-F801-4AD6-91F5-F3ACFF35E71A}"/>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54736" y="3999947"/>
              <a:ext cx="3931942" cy="2000789"/>
            </a:xfrm>
            <a:prstGeom prst="rect">
              <a:avLst/>
            </a:prstGeom>
            <a:noFill/>
            <a:extLst>
              <a:ext uri="{909E8E84-426E-40DD-AFC4-6F175D3DCCD1}">
                <a14:hiddenFill xmlns:a14="http://schemas.microsoft.com/office/drawing/2010/main">
                  <a:solidFill>
                    <a:srgbClr val="FFFFFF"/>
                  </a:solidFill>
                </a14:hiddenFill>
              </a:ext>
            </a:extLst>
          </p:spPr>
        </p:pic>
      </p:grpSp>
      <p:sp>
        <p:nvSpPr>
          <p:cNvPr id="3" name="TextBox 2">
            <a:extLst>
              <a:ext uri="{FF2B5EF4-FFF2-40B4-BE49-F238E27FC236}">
                <a16:creationId xmlns:a16="http://schemas.microsoft.com/office/drawing/2014/main" id="{EC3D8373-3EA8-4BE3-8E8A-85D7E916F168}"/>
              </a:ext>
            </a:extLst>
          </p:cNvPr>
          <p:cNvSpPr txBox="1"/>
          <p:nvPr/>
        </p:nvSpPr>
        <p:spPr>
          <a:xfrm>
            <a:off x="6177155" y="1706563"/>
            <a:ext cx="4451123" cy="353943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nl-NL" sz="2000" b="1">
                <a:cs typeface="+mn-cs"/>
              </a:rPr>
              <a:t>Het ministerie heeft de afgelopen 15 jaar geen effectieve maatregelen genomen om de toenemende kansenongelijkheid en de steeds lagere onderwijskwaliteit te stoppen. </a:t>
            </a:r>
            <a:r>
              <a:rPr lang="nl-NL" sz="2000">
                <a:cs typeface="+mn-cs"/>
              </a:rPr>
              <a:t>Anders was er wel een trendbreuk te zien in de cijfers</a:t>
            </a:r>
          </a:p>
          <a:p>
            <a:endParaRPr lang="en-US" sz="2000" b="1">
              <a:cs typeface="+mn-cs"/>
            </a:endParaRPr>
          </a:p>
          <a:p>
            <a:r>
              <a:rPr lang="nl-NL" sz="2000" b="1">
                <a:cs typeface="+mn-cs"/>
              </a:rPr>
              <a:t>De meest recente plannen van het ministerie </a:t>
            </a:r>
            <a:r>
              <a:rPr lang="nl-NL" sz="2000">
                <a:cs typeface="+mn-cs"/>
              </a:rPr>
              <a:t>(zoals het Leesoffensief) </a:t>
            </a:r>
            <a:r>
              <a:rPr lang="nl-NL" sz="2000" b="1">
                <a:cs typeface="+mn-cs"/>
              </a:rPr>
              <a:t>bestrijden symptomen, maar pakken de onderliggende oorzaken niet aan</a:t>
            </a:r>
            <a:endParaRPr lang="en-US" sz="2000" b="1">
              <a:cs typeface="+mn-cs"/>
            </a:endParaRPr>
          </a:p>
        </p:txBody>
      </p:sp>
    </p:spTree>
    <p:extLst>
      <p:ext uri="{BB962C8B-B14F-4D97-AF65-F5344CB8AC3E}">
        <p14:creationId xmlns:p14="http://schemas.microsoft.com/office/powerpoint/2010/main" val="117194731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fgeronde rechthoek 2">
            <a:extLst>
              <a:ext uri="{FF2B5EF4-FFF2-40B4-BE49-F238E27FC236}">
                <a16:creationId xmlns:a16="http://schemas.microsoft.com/office/drawing/2014/main" id="{18B4E1BC-927C-D544-8535-8BA02973DA1F}"/>
              </a:ext>
            </a:extLst>
          </p:cNvPr>
          <p:cNvSpPr>
            <a:spLocks noChangeAspect="1"/>
          </p:cNvSpPr>
          <p:nvPr/>
        </p:nvSpPr>
        <p:spPr>
          <a:xfrm>
            <a:off x="2042583" y="550506"/>
            <a:ext cx="7546433" cy="5150498"/>
          </a:xfrm>
          <a:prstGeom prst="roundRect">
            <a:avLst/>
          </a:prstGeom>
          <a:solidFill>
            <a:schemeClr val="bg1"/>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defTabSz="457189">
              <a:defRPr/>
            </a:pPr>
            <a:r>
              <a:rPr lang="nl-NL" sz="2667" b="1">
                <a:solidFill>
                  <a:srgbClr val="000000"/>
                </a:solidFill>
                <a:latin typeface="Arial"/>
                <a:cs typeface="Arial"/>
              </a:rPr>
              <a:t>Wat of wie is het meest bepalend voor de kwaliteit van onderwijs?</a:t>
            </a:r>
          </a:p>
          <a:p>
            <a:pPr defTabSz="457189">
              <a:defRPr/>
            </a:pPr>
            <a:endParaRPr lang="nl-NL" sz="2667">
              <a:solidFill>
                <a:srgbClr val="000000"/>
              </a:solidFill>
              <a:latin typeface="Arial"/>
              <a:cs typeface="Arial"/>
            </a:endParaRPr>
          </a:p>
          <a:p>
            <a:pPr marL="514350" indent="-514350" defTabSz="457189">
              <a:buAutoNum type="arabicPeriod"/>
              <a:defRPr/>
            </a:pPr>
            <a:r>
              <a:rPr lang="nl-NL" sz="2667">
                <a:solidFill>
                  <a:srgbClr val="000000"/>
                </a:solidFill>
                <a:latin typeface="Arial"/>
                <a:cs typeface="Arial"/>
              </a:rPr>
              <a:t>Schoolgebouwen</a:t>
            </a:r>
          </a:p>
          <a:p>
            <a:pPr marL="514350" indent="-514350" defTabSz="457189">
              <a:buAutoNum type="arabicPeriod"/>
              <a:defRPr/>
            </a:pPr>
            <a:r>
              <a:rPr lang="nl-NL" sz="2667">
                <a:solidFill>
                  <a:srgbClr val="000000"/>
                </a:solidFill>
                <a:latin typeface="Arial"/>
                <a:cs typeface="Arial"/>
              </a:rPr>
              <a:t>Leermiddelen</a:t>
            </a:r>
          </a:p>
          <a:p>
            <a:pPr marL="514350" indent="-514350" defTabSz="457189">
              <a:buAutoNum type="arabicPeriod"/>
              <a:defRPr/>
            </a:pPr>
            <a:r>
              <a:rPr lang="nl-NL" sz="2667">
                <a:solidFill>
                  <a:srgbClr val="000000"/>
                </a:solidFill>
                <a:latin typeface="Arial"/>
                <a:cs typeface="Arial"/>
              </a:rPr>
              <a:t>Leraren</a:t>
            </a:r>
          </a:p>
          <a:p>
            <a:pPr marL="514350" indent="-514350" defTabSz="457189">
              <a:buAutoNum type="arabicPeriod"/>
              <a:defRPr/>
            </a:pPr>
            <a:r>
              <a:rPr lang="nl-NL" sz="2667">
                <a:solidFill>
                  <a:srgbClr val="000000"/>
                </a:solidFill>
                <a:latin typeface="Arial"/>
                <a:cs typeface="Arial"/>
              </a:rPr>
              <a:t>Methodes</a:t>
            </a:r>
          </a:p>
          <a:p>
            <a:pPr marL="514350" indent="-514350" defTabSz="457189">
              <a:buAutoNum type="arabicPeriod"/>
              <a:defRPr/>
            </a:pPr>
            <a:r>
              <a:rPr lang="nl-NL" sz="2667">
                <a:solidFill>
                  <a:srgbClr val="000000"/>
                </a:solidFill>
                <a:latin typeface="Arial"/>
                <a:cs typeface="Arial"/>
              </a:rPr>
              <a:t>Schoolleiders</a:t>
            </a:r>
          </a:p>
          <a:p>
            <a:pPr marL="514350" indent="-514350" defTabSz="457189">
              <a:buAutoNum type="arabicPeriod"/>
              <a:defRPr/>
            </a:pPr>
            <a:r>
              <a:rPr lang="nl-NL" sz="2667">
                <a:solidFill>
                  <a:srgbClr val="000000"/>
                </a:solidFill>
                <a:latin typeface="Arial"/>
                <a:cs typeface="Arial"/>
              </a:rPr>
              <a:t>Financiële middelen</a:t>
            </a:r>
          </a:p>
          <a:p>
            <a:pPr defTabSz="457189">
              <a:defRPr/>
            </a:pPr>
            <a:endParaRPr lang="nl-NL" sz="2667" i="1">
              <a:solidFill>
                <a:srgbClr val="000000"/>
              </a:solidFill>
              <a:latin typeface="Arial"/>
              <a:cs typeface="Arial"/>
            </a:endParaRPr>
          </a:p>
          <a:p>
            <a:pPr defTabSz="457189">
              <a:defRPr/>
            </a:pPr>
            <a:r>
              <a:rPr lang="nl-NL" sz="2667" i="1">
                <a:solidFill>
                  <a:srgbClr val="000000"/>
                </a:solidFill>
                <a:latin typeface="Arial"/>
                <a:cs typeface="Arial"/>
              </a:rPr>
              <a:t>Maak je keuze in de poll</a:t>
            </a:r>
          </a:p>
        </p:txBody>
      </p:sp>
      <p:sp>
        <p:nvSpPr>
          <p:cNvPr id="5" name="Google Shape;160;p29">
            <a:extLst>
              <a:ext uri="{FF2B5EF4-FFF2-40B4-BE49-F238E27FC236}">
                <a16:creationId xmlns:a16="http://schemas.microsoft.com/office/drawing/2014/main" id="{2236B081-6862-41F6-A798-CC20EA42D38D}"/>
              </a:ext>
            </a:extLst>
          </p:cNvPr>
          <p:cNvSpPr txBox="1">
            <a:spLocks/>
          </p:cNvSpPr>
          <p:nvPr/>
        </p:nvSpPr>
        <p:spPr>
          <a:xfrm>
            <a:off x="475200" y="233645"/>
            <a:ext cx="10681200" cy="215600"/>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L="0" indent="0">
              <a:buSzPts val="1400"/>
              <a:buNone/>
              <a:defRPr b="1">
                <a:solidFill>
                  <a:schemeClr val="dk1"/>
                </a:solidFill>
              </a:defRPr>
            </a:lvl1pPr>
            <a:lvl2pPr>
              <a:buSzPts val="1400"/>
              <a:buNone/>
              <a:defRPr sz="1900" b="1">
                <a:solidFill>
                  <a:schemeClr val="dk2"/>
                </a:solidFill>
              </a:defRPr>
            </a:lvl2pPr>
            <a:lvl3pPr>
              <a:buSzPts val="1400"/>
              <a:buNone/>
              <a:defRPr sz="1900" b="1">
                <a:solidFill>
                  <a:schemeClr val="dk2"/>
                </a:solidFill>
              </a:defRPr>
            </a:lvl3pPr>
            <a:lvl4pPr>
              <a:buSzPts val="1400"/>
              <a:buNone/>
              <a:defRPr sz="1900" b="1">
                <a:solidFill>
                  <a:schemeClr val="dk2"/>
                </a:solidFill>
              </a:defRPr>
            </a:lvl4pPr>
            <a:lvl5pPr>
              <a:buSzPts val="1400"/>
              <a:buNone/>
              <a:defRPr sz="1900" b="1">
                <a:solidFill>
                  <a:schemeClr val="dk2"/>
                </a:solidFill>
              </a:defRPr>
            </a:lvl5pPr>
            <a:lvl6pPr>
              <a:buSzPts val="1400"/>
              <a:buNone/>
              <a:defRPr sz="1900" b="1">
                <a:solidFill>
                  <a:schemeClr val="dk2"/>
                </a:solidFill>
              </a:defRPr>
            </a:lvl6pPr>
            <a:lvl7pPr>
              <a:buSzPts val="1400"/>
              <a:buNone/>
              <a:defRPr sz="1900" b="1">
                <a:solidFill>
                  <a:schemeClr val="dk2"/>
                </a:solidFill>
              </a:defRPr>
            </a:lvl7pPr>
            <a:lvl8pPr>
              <a:buSzPts val="1400"/>
              <a:buNone/>
              <a:defRPr sz="1900" b="1">
                <a:solidFill>
                  <a:schemeClr val="dk2"/>
                </a:solidFill>
              </a:defRPr>
            </a:lvl8pPr>
            <a:lvl9pPr>
              <a:buSzPts val="1400"/>
              <a:buNone/>
              <a:defRPr sz="1900" b="1">
                <a:solidFill>
                  <a:schemeClr val="dk2"/>
                </a:solidFill>
              </a:defRPr>
            </a:lvl9pPr>
          </a:lstStyle>
          <a:p>
            <a:endParaRPr lang="nl-NL" sz="2400"/>
          </a:p>
        </p:txBody>
      </p:sp>
    </p:spTree>
    <p:extLst>
      <p:ext uri="{BB962C8B-B14F-4D97-AF65-F5344CB8AC3E}">
        <p14:creationId xmlns:p14="http://schemas.microsoft.com/office/powerpoint/2010/main" val="380455097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a:extLst>
              <a:ext uri="{FF2B5EF4-FFF2-40B4-BE49-F238E27FC236}">
                <a16:creationId xmlns:a16="http://schemas.microsoft.com/office/drawing/2014/main" id="{A6738442-FCD1-4C0B-B7D9-356F4D5B448F}"/>
              </a:ext>
            </a:extLst>
          </p:cNvPr>
          <p:cNvGraphicFramePr>
            <a:graphicFrameLocks noChangeAspect="1"/>
          </p:cNvGraphicFramePr>
          <p:nvPr>
            <p:custDataLst>
              <p:tags r:id="rId2"/>
            </p:custDataLst>
            <p:extLst>
              <p:ext uri="{D42A27DB-BD31-4B8C-83A1-F6EECF244321}">
                <p14:modId xmlns:p14="http://schemas.microsoft.com/office/powerpoint/2010/main" val="2844695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07" name="think-cell Slide" r:id="rId11" imgW="395" imgH="394" progId="TCLayout.ActiveDocument.1">
                  <p:embed/>
                </p:oleObj>
              </mc:Choice>
              <mc:Fallback>
                <p:oleObj name="think-cell Slide" r:id="rId11" imgW="395" imgH="394" progId="TCLayout.ActiveDocument.1">
                  <p:embed/>
                  <p:pic>
                    <p:nvPicPr>
                      <p:cNvPr id="23" name="Object 22" hidden="1">
                        <a:extLst>
                          <a:ext uri="{FF2B5EF4-FFF2-40B4-BE49-F238E27FC236}">
                            <a16:creationId xmlns:a16="http://schemas.microsoft.com/office/drawing/2014/main" id="{A6738442-FCD1-4C0B-B7D9-356F4D5B448F}"/>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3" name="Rectangle 42" hidden="1">
            <a:extLst>
              <a:ext uri="{FF2B5EF4-FFF2-40B4-BE49-F238E27FC236}">
                <a16:creationId xmlns:a16="http://schemas.microsoft.com/office/drawing/2014/main" id="{2866FBF9-6F12-4275-937C-BAF2CB35C4B1}"/>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err="1">
              <a:solidFill>
                <a:schemeClr val="bg1"/>
              </a:solidFill>
              <a:latin typeface="Calibri" panose="020F0502020204030204" pitchFamily="34" charset="0"/>
              <a:ea typeface="+mj-ea"/>
              <a:cs typeface="+mj-cs"/>
              <a:sym typeface="Calibri" panose="020F0502020204030204" pitchFamily="34" charset="0"/>
            </a:endParaRPr>
          </a:p>
        </p:txBody>
      </p:sp>
      <p:sp>
        <p:nvSpPr>
          <p:cNvPr id="2" name="2. Slide Title">
            <a:extLst>
              <a:ext uri="{FF2B5EF4-FFF2-40B4-BE49-F238E27FC236}">
                <a16:creationId xmlns:a16="http://schemas.microsoft.com/office/drawing/2014/main" id="{B0E19006-A5F2-4FEE-97B5-BAA46AE4F412}"/>
              </a:ext>
            </a:extLst>
          </p:cNvPr>
          <p:cNvSpPr>
            <a:spLocks noGrp="1"/>
          </p:cNvSpPr>
          <p:nvPr>
            <p:ph type="title"/>
            <p:custDataLst>
              <p:tags r:id="rId4"/>
            </p:custDataLst>
          </p:nvPr>
        </p:nvSpPr>
        <p:spPr>
          <a:xfrm>
            <a:off x="554736" y="134291"/>
            <a:ext cx="5065776" cy="769441"/>
          </a:xfrm>
          <a:noFill/>
          <a:ln/>
          <a:extLst>
            <a:ext uri="{909E8E84-426E-40DD-AFC4-6F175D3DCCD1}">
              <a14:hiddenFill xmlns:a14="http://schemas.microsoft.com/office/drawing/2010/main">
                <a:solidFill>
                  <a:srgbClr val="FFFFFF"/>
                </a:solidFill>
              </a14:hiddenFill>
            </a:ext>
          </a:extLst>
        </p:spPr>
        <p:txBody>
          <a:bodyPr wrap="square" anchor="b" anchorCtr="0">
            <a:noAutofit/>
          </a:bodyPr>
          <a:lstStyle/>
          <a:p>
            <a:r>
              <a:rPr lang="en-US" dirty="0"/>
              <a:t>Een </a:t>
            </a:r>
            <a:r>
              <a:rPr lang="en-US" dirty="0" err="1"/>
              <a:t>goede</a:t>
            </a:r>
            <a:r>
              <a:rPr lang="en-US" dirty="0"/>
              <a:t> docent is de </a:t>
            </a:r>
            <a:r>
              <a:rPr lang="en-US" dirty="0" err="1"/>
              <a:t>beste</a:t>
            </a:r>
            <a:r>
              <a:rPr lang="en-US" dirty="0"/>
              <a:t> </a:t>
            </a:r>
            <a:r>
              <a:rPr lang="en-US" dirty="0" err="1"/>
              <a:t>manier</a:t>
            </a:r>
            <a:r>
              <a:rPr lang="en-US" dirty="0"/>
              <a:t> om de </a:t>
            </a:r>
            <a:r>
              <a:rPr lang="en-US" dirty="0" err="1"/>
              <a:t>onderwijskwaliteit</a:t>
            </a:r>
            <a:r>
              <a:rPr lang="en-US" dirty="0"/>
              <a:t> </a:t>
            </a:r>
            <a:r>
              <a:rPr lang="en-US" dirty="0" err="1"/>
              <a:t>te</a:t>
            </a:r>
            <a:r>
              <a:rPr lang="en-US" dirty="0"/>
              <a:t> </a:t>
            </a:r>
            <a:r>
              <a:rPr lang="en-US" dirty="0" err="1"/>
              <a:t>verhogen</a:t>
            </a:r>
            <a:endParaRPr lang="en-US" dirty="0"/>
          </a:p>
        </p:txBody>
      </p:sp>
      <p:sp>
        <p:nvSpPr>
          <p:cNvPr id="27" name="5. Source">
            <a:extLst>
              <a:ext uri="{FF2B5EF4-FFF2-40B4-BE49-F238E27FC236}">
                <a16:creationId xmlns:a16="http://schemas.microsoft.com/office/drawing/2014/main" id="{72E1F8DC-9E49-47CC-A472-5945D49C963C}"/>
              </a:ext>
            </a:extLst>
          </p:cNvPr>
          <p:cNvSpPr txBox="1"/>
          <p:nvPr>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Bron: CPB</a:t>
            </a:r>
          </a:p>
        </p:txBody>
      </p:sp>
      <p:sp>
        <p:nvSpPr>
          <p:cNvPr id="3" name="TextBox 2">
            <a:extLst>
              <a:ext uri="{FF2B5EF4-FFF2-40B4-BE49-F238E27FC236}">
                <a16:creationId xmlns:a16="http://schemas.microsoft.com/office/drawing/2014/main" id="{6D614423-A9C9-4B12-A22C-17CB3FEE6E99}"/>
              </a:ext>
            </a:extLst>
          </p:cNvPr>
          <p:cNvSpPr txBox="1">
            <a:spLocks/>
          </p:cNvSpPr>
          <p:nvPr/>
        </p:nvSpPr>
        <p:spPr>
          <a:xfrm>
            <a:off x="554736" y="1672423"/>
            <a:ext cx="5065776" cy="3539430"/>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nl-NL" sz="2000" b="1">
                <a:cs typeface="+mn-cs"/>
              </a:rPr>
              <a:t>Een goede docent maakt het verschil voor leerlingen. </a:t>
            </a:r>
            <a:r>
              <a:rPr lang="nl-NL" sz="2000">
                <a:cs typeface="+mn-cs"/>
              </a:rPr>
              <a:t>Op korte termijn leren kinderen meer, maar ook op lange termijn is het effect groot. Slechts één jaar een goede docent op de basisschool kan al impact hebben op je inkomen en woonplaats als volwassene. </a:t>
            </a:r>
          </a:p>
          <a:p>
            <a:endParaRPr lang="en-US" sz="2000">
              <a:cs typeface="+mn-cs"/>
            </a:endParaRPr>
          </a:p>
          <a:p>
            <a:r>
              <a:rPr lang="nl-NL" sz="2000">
                <a:cs typeface="+mn-cs"/>
              </a:rPr>
              <a:t>Maar waar halen we die goede docenten vandaan? Er is gelukkig veel potentie op scholen. </a:t>
            </a:r>
          </a:p>
          <a:p>
            <a:endParaRPr lang="nl-NL" sz="2000" b="1">
              <a:cs typeface="+mn-cs"/>
            </a:endParaRPr>
          </a:p>
          <a:p>
            <a:r>
              <a:rPr lang="nl-NL" sz="2000" b="1">
                <a:cs typeface="+mn-cs"/>
              </a:rPr>
              <a:t>Als docenten meer van elkaar zouden leren en samen het onderwijs verbeteren, dan zouden er veel meer goede docenten zijn</a:t>
            </a:r>
          </a:p>
        </p:txBody>
      </p:sp>
      <p:sp>
        <p:nvSpPr>
          <p:cNvPr id="8" name="TextBox 7">
            <a:extLst>
              <a:ext uri="{FF2B5EF4-FFF2-40B4-BE49-F238E27FC236}">
                <a16:creationId xmlns:a16="http://schemas.microsoft.com/office/drawing/2014/main" id="{38B1F6E8-1122-4EFF-A5D0-ADD6ACC4ED8A}"/>
              </a:ext>
            </a:extLst>
          </p:cNvPr>
          <p:cNvSpPr txBox="1">
            <a:spLocks/>
          </p:cNvSpPr>
          <p:nvPr/>
        </p:nvSpPr>
        <p:spPr>
          <a:xfrm>
            <a:off x="6569012" y="1672423"/>
            <a:ext cx="5065776" cy="61555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nl-NL" sz="2000" b="1">
                <a:cs typeface="+mn-cs"/>
              </a:rPr>
              <a:t>Een goede leraar kan leerlingen één onderwijs-niveau beter laten presteren </a:t>
            </a:r>
            <a:endParaRPr lang="en-US" sz="2000" b="1">
              <a:cs typeface="+mn-cs"/>
            </a:endParaRPr>
          </a:p>
        </p:txBody>
      </p:sp>
      <p:sp>
        <p:nvSpPr>
          <p:cNvPr id="29" name="TextBox 28">
            <a:extLst>
              <a:ext uri="{FF2B5EF4-FFF2-40B4-BE49-F238E27FC236}">
                <a16:creationId xmlns:a16="http://schemas.microsoft.com/office/drawing/2014/main" id="{0145241A-BF1D-4E7C-BD83-B2CEC5DE21CC}"/>
              </a:ext>
            </a:extLst>
          </p:cNvPr>
          <p:cNvSpPr txBox="1"/>
          <p:nvPr/>
        </p:nvSpPr>
        <p:spPr>
          <a:xfrm>
            <a:off x="8877697" y="3591377"/>
            <a:ext cx="1356158" cy="55399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800">
                <a:cs typeface="+mn-cs"/>
              </a:rPr>
              <a:t>Goede docent (</a:t>
            </a:r>
            <a:r>
              <a:rPr lang="en-US" sz="1800" err="1">
                <a:cs typeface="+mn-cs"/>
              </a:rPr>
              <a:t>beste</a:t>
            </a:r>
            <a:r>
              <a:rPr lang="en-US" sz="1800">
                <a:cs typeface="+mn-cs"/>
              </a:rPr>
              <a:t> 25%)</a:t>
            </a:r>
          </a:p>
        </p:txBody>
      </p:sp>
      <p:sp>
        <p:nvSpPr>
          <p:cNvPr id="38" name="TextBox 37">
            <a:extLst>
              <a:ext uri="{FF2B5EF4-FFF2-40B4-BE49-F238E27FC236}">
                <a16:creationId xmlns:a16="http://schemas.microsoft.com/office/drawing/2014/main" id="{400B71CC-E025-4596-A02F-6BC2A3CEA1BA}"/>
              </a:ext>
            </a:extLst>
          </p:cNvPr>
          <p:cNvSpPr txBox="1"/>
          <p:nvPr/>
        </p:nvSpPr>
        <p:spPr>
          <a:xfrm>
            <a:off x="8841802" y="5798432"/>
            <a:ext cx="1483725" cy="55399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800" err="1">
                <a:cs typeface="+mn-cs"/>
              </a:rPr>
              <a:t>Slechte</a:t>
            </a:r>
            <a:r>
              <a:rPr lang="en-US" sz="1800">
                <a:cs typeface="+mn-cs"/>
              </a:rPr>
              <a:t> docent (</a:t>
            </a:r>
            <a:r>
              <a:rPr lang="en-US" sz="1800" err="1">
                <a:cs typeface="+mn-cs"/>
              </a:rPr>
              <a:t>slechtste</a:t>
            </a:r>
            <a:r>
              <a:rPr lang="en-US" sz="1800">
                <a:cs typeface="+mn-cs"/>
              </a:rPr>
              <a:t> 25%)</a:t>
            </a:r>
          </a:p>
        </p:txBody>
      </p:sp>
      <p:sp>
        <p:nvSpPr>
          <p:cNvPr id="41" name="TextBox 40">
            <a:extLst>
              <a:ext uri="{FF2B5EF4-FFF2-40B4-BE49-F238E27FC236}">
                <a16:creationId xmlns:a16="http://schemas.microsoft.com/office/drawing/2014/main" id="{C6E5720B-018C-4B78-ABEE-14A6457923FB}"/>
              </a:ext>
            </a:extLst>
          </p:cNvPr>
          <p:cNvSpPr txBox="1">
            <a:spLocks/>
          </p:cNvSpPr>
          <p:nvPr/>
        </p:nvSpPr>
        <p:spPr>
          <a:xfrm>
            <a:off x="10541435" y="5798432"/>
            <a:ext cx="1093353" cy="2769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800">
                <a:cs typeface="+mn-cs"/>
              </a:rPr>
              <a:t>VMBO-T-</a:t>
            </a:r>
            <a:r>
              <a:rPr lang="en-US" sz="1800" err="1">
                <a:cs typeface="+mn-cs"/>
              </a:rPr>
              <a:t>niveau</a:t>
            </a:r>
            <a:endParaRPr lang="en-US" sz="1800">
              <a:cs typeface="+mn-cs"/>
            </a:endParaRPr>
          </a:p>
        </p:txBody>
      </p:sp>
      <p:sp>
        <p:nvSpPr>
          <p:cNvPr id="56" name="TextBox 55">
            <a:extLst>
              <a:ext uri="{FF2B5EF4-FFF2-40B4-BE49-F238E27FC236}">
                <a16:creationId xmlns:a16="http://schemas.microsoft.com/office/drawing/2014/main" id="{3B6B749E-9E7D-467D-9CFC-2BC51BD4026C}"/>
              </a:ext>
            </a:extLst>
          </p:cNvPr>
          <p:cNvSpPr txBox="1">
            <a:spLocks/>
          </p:cNvSpPr>
          <p:nvPr/>
        </p:nvSpPr>
        <p:spPr>
          <a:xfrm>
            <a:off x="10541435" y="3591377"/>
            <a:ext cx="1093353" cy="2769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800">
                <a:cs typeface="+mn-cs"/>
              </a:rPr>
              <a:t>HAVO-</a:t>
            </a:r>
            <a:r>
              <a:rPr lang="en-US" sz="1800" err="1">
                <a:cs typeface="+mn-cs"/>
              </a:rPr>
              <a:t>niveau</a:t>
            </a:r>
            <a:endParaRPr lang="en-US" sz="1800">
              <a:cs typeface="+mn-cs"/>
            </a:endParaRPr>
          </a:p>
        </p:txBody>
      </p:sp>
      <p:grpSp>
        <p:nvGrpSpPr>
          <p:cNvPr id="59" name="CustomIcon">
            <a:extLst>
              <a:ext uri="{FF2B5EF4-FFF2-40B4-BE49-F238E27FC236}">
                <a16:creationId xmlns:a16="http://schemas.microsoft.com/office/drawing/2014/main" id="{1B0AA41B-0E31-4129-B233-77EBF5D9DAF7}"/>
              </a:ext>
            </a:extLst>
          </p:cNvPr>
          <p:cNvGrpSpPr>
            <a:grpSpLocks noChangeAspect="1"/>
          </p:cNvGrpSpPr>
          <p:nvPr>
            <p:custDataLst>
              <p:tags r:id="rId6"/>
            </p:custDataLst>
          </p:nvPr>
        </p:nvGrpSpPr>
        <p:grpSpPr>
          <a:xfrm>
            <a:off x="10541435" y="4692299"/>
            <a:ext cx="1093353" cy="1093353"/>
            <a:chOff x="-200025" y="-207010"/>
            <a:chExt cx="1019810" cy="1019810"/>
          </a:xfrm>
        </p:grpSpPr>
        <p:sp>
          <p:nvSpPr>
            <p:cNvPr id="60" name="Oval 59">
              <a:extLst>
                <a:ext uri="{FF2B5EF4-FFF2-40B4-BE49-F238E27FC236}">
                  <a16:creationId xmlns:a16="http://schemas.microsoft.com/office/drawing/2014/main" id="{48B159F1-5F13-4A71-9942-26A5B2AC6E50}"/>
                </a:ext>
              </a:extLst>
            </p:cNvPr>
            <p:cNvSpPr>
              <a:spLocks noChangeAspect="1"/>
            </p:cNvSpPr>
            <p:nvPr/>
          </p:nvSpPr>
          <p:spPr>
            <a:xfrm>
              <a:off x="-200025" y="-207010"/>
              <a:ext cx="1019810" cy="101981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spcBef>
                  <a:spcPts val="306"/>
                </a:spcBef>
                <a:spcAft>
                  <a:spcPts val="306"/>
                </a:spcAft>
              </a:pPr>
              <a:endParaRPr lang="en-US" sz="1632" err="1">
                <a:solidFill>
                  <a:schemeClr val="bg1"/>
                </a:solidFill>
              </a:endParaRPr>
            </a:p>
          </p:txBody>
        </p:sp>
        <p:pic>
          <p:nvPicPr>
            <p:cNvPr id="61" name="Graphic 60">
              <a:extLst>
                <a:ext uri="{FF2B5EF4-FFF2-40B4-BE49-F238E27FC236}">
                  <a16:creationId xmlns:a16="http://schemas.microsoft.com/office/drawing/2014/main" id="{C1B4F41D-DCA3-43C2-9D2E-47F8580587D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0" y="0"/>
              <a:ext cx="609600" cy="609600"/>
            </a:xfrm>
            <a:prstGeom prst="rect">
              <a:avLst/>
            </a:prstGeom>
          </p:spPr>
        </p:pic>
      </p:grpSp>
      <p:grpSp>
        <p:nvGrpSpPr>
          <p:cNvPr id="62" name="CustomIcon">
            <a:extLst>
              <a:ext uri="{FF2B5EF4-FFF2-40B4-BE49-F238E27FC236}">
                <a16:creationId xmlns:a16="http://schemas.microsoft.com/office/drawing/2014/main" id="{05CC6D44-0385-45BA-9FDC-639D94B8F534}"/>
              </a:ext>
            </a:extLst>
          </p:cNvPr>
          <p:cNvGrpSpPr>
            <a:grpSpLocks/>
          </p:cNvGrpSpPr>
          <p:nvPr>
            <p:custDataLst>
              <p:tags r:id="rId7"/>
            </p:custDataLst>
          </p:nvPr>
        </p:nvGrpSpPr>
        <p:grpSpPr>
          <a:xfrm>
            <a:off x="10541435" y="2462342"/>
            <a:ext cx="1093353" cy="1093353"/>
            <a:chOff x="-200025" y="-207010"/>
            <a:chExt cx="1019810" cy="1019810"/>
          </a:xfrm>
        </p:grpSpPr>
        <p:sp>
          <p:nvSpPr>
            <p:cNvPr id="63" name="Oval 62">
              <a:extLst>
                <a:ext uri="{FF2B5EF4-FFF2-40B4-BE49-F238E27FC236}">
                  <a16:creationId xmlns:a16="http://schemas.microsoft.com/office/drawing/2014/main" id="{79CBDB38-76DB-4543-8713-D55AB480166D}"/>
                </a:ext>
              </a:extLst>
            </p:cNvPr>
            <p:cNvSpPr>
              <a:spLocks noChangeAspect="1"/>
            </p:cNvSpPr>
            <p:nvPr/>
          </p:nvSpPr>
          <p:spPr>
            <a:xfrm>
              <a:off x="-200025" y="-207010"/>
              <a:ext cx="1019810" cy="101981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spcBef>
                  <a:spcPts val="306"/>
                </a:spcBef>
                <a:spcAft>
                  <a:spcPts val="306"/>
                </a:spcAft>
              </a:pPr>
              <a:endParaRPr lang="en-US" sz="1632" err="1">
                <a:solidFill>
                  <a:schemeClr val="bg1"/>
                </a:solidFill>
              </a:endParaRPr>
            </a:p>
          </p:txBody>
        </p:sp>
        <p:pic>
          <p:nvPicPr>
            <p:cNvPr id="64" name="Graphic 63">
              <a:extLst>
                <a:ext uri="{FF2B5EF4-FFF2-40B4-BE49-F238E27FC236}">
                  <a16:creationId xmlns:a16="http://schemas.microsoft.com/office/drawing/2014/main" id="{0E6AD59B-FDC7-4009-887B-B5826E67B39F}"/>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0" y="0"/>
              <a:ext cx="609600" cy="609600"/>
            </a:xfrm>
            <a:prstGeom prst="rect">
              <a:avLst/>
            </a:prstGeom>
          </p:spPr>
        </p:pic>
      </p:grpSp>
      <p:grpSp>
        <p:nvGrpSpPr>
          <p:cNvPr id="65" name="CustomIcon">
            <a:extLst>
              <a:ext uri="{FF2B5EF4-FFF2-40B4-BE49-F238E27FC236}">
                <a16:creationId xmlns:a16="http://schemas.microsoft.com/office/drawing/2014/main" id="{47316A1B-4A59-4B96-9731-D9C94296F40E}"/>
              </a:ext>
            </a:extLst>
          </p:cNvPr>
          <p:cNvGrpSpPr>
            <a:grpSpLocks noChangeAspect="1"/>
          </p:cNvGrpSpPr>
          <p:nvPr>
            <p:custDataLst>
              <p:tags r:id="rId8"/>
            </p:custDataLst>
          </p:nvPr>
        </p:nvGrpSpPr>
        <p:grpSpPr>
          <a:xfrm>
            <a:off x="9009099" y="4692299"/>
            <a:ext cx="1093353" cy="1093353"/>
            <a:chOff x="-200025" y="-207010"/>
            <a:chExt cx="1019810" cy="1019810"/>
          </a:xfrm>
        </p:grpSpPr>
        <p:sp>
          <p:nvSpPr>
            <p:cNvPr id="66" name="Oval 65">
              <a:extLst>
                <a:ext uri="{FF2B5EF4-FFF2-40B4-BE49-F238E27FC236}">
                  <a16:creationId xmlns:a16="http://schemas.microsoft.com/office/drawing/2014/main" id="{2B193747-3509-42E8-8AB6-BC3A7EBA334C}"/>
                </a:ext>
              </a:extLst>
            </p:cNvPr>
            <p:cNvSpPr>
              <a:spLocks noChangeAspect="1"/>
            </p:cNvSpPr>
            <p:nvPr/>
          </p:nvSpPr>
          <p:spPr>
            <a:xfrm>
              <a:off x="-200025" y="-207010"/>
              <a:ext cx="1019810" cy="101981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spcBef>
                  <a:spcPts val="306"/>
                </a:spcBef>
                <a:spcAft>
                  <a:spcPts val="306"/>
                </a:spcAft>
              </a:pPr>
              <a:endParaRPr lang="en-US" sz="1632" err="1">
                <a:solidFill>
                  <a:schemeClr val="bg1"/>
                </a:solidFill>
              </a:endParaRPr>
            </a:p>
          </p:txBody>
        </p:sp>
        <p:pic>
          <p:nvPicPr>
            <p:cNvPr id="67" name="Graphic 66">
              <a:extLst>
                <a:ext uri="{FF2B5EF4-FFF2-40B4-BE49-F238E27FC236}">
                  <a16:creationId xmlns:a16="http://schemas.microsoft.com/office/drawing/2014/main" id="{DB85B754-1E64-4CCF-97B9-2520A352DA5B}"/>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0" y="0"/>
              <a:ext cx="609600" cy="609600"/>
            </a:xfrm>
            <a:prstGeom prst="rect">
              <a:avLst/>
            </a:prstGeom>
          </p:spPr>
        </p:pic>
      </p:grpSp>
      <p:grpSp>
        <p:nvGrpSpPr>
          <p:cNvPr id="68" name="CustomIcon">
            <a:extLst>
              <a:ext uri="{FF2B5EF4-FFF2-40B4-BE49-F238E27FC236}">
                <a16:creationId xmlns:a16="http://schemas.microsoft.com/office/drawing/2014/main" id="{D0DCDE49-0A93-4568-8EFA-088463C1898A}"/>
              </a:ext>
            </a:extLst>
          </p:cNvPr>
          <p:cNvGrpSpPr>
            <a:grpSpLocks noChangeAspect="1"/>
          </p:cNvGrpSpPr>
          <p:nvPr>
            <p:custDataLst>
              <p:tags r:id="rId9"/>
            </p:custDataLst>
          </p:nvPr>
        </p:nvGrpSpPr>
        <p:grpSpPr>
          <a:xfrm>
            <a:off x="9009099" y="2462342"/>
            <a:ext cx="1093353" cy="1093353"/>
            <a:chOff x="-200025" y="-207010"/>
            <a:chExt cx="1019810" cy="1019810"/>
          </a:xfrm>
        </p:grpSpPr>
        <p:sp>
          <p:nvSpPr>
            <p:cNvPr id="69" name="Oval 68">
              <a:extLst>
                <a:ext uri="{FF2B5EF4-FFF2-40B4-BE49-F238E27FC236}">
                  <a16:creationId xmlns:a16="http://schemas.microsoft.com/office/drawing/2014/main" id="{4CA6A340-ADC8-4CC1-B9D3-839A9E71FC39}"/>
                </a:ext>
              </a:extLst>
            </p:cNvPr>
            <p:cNvSpPr>
              <a:spLocks noChangeAspect="1"/>
            </p:cNvSpPr>
            <p:nvPr/>
          </p:nvSpPr>
          <p:spPr>
            <a:xfrm>
              <a:off x="-200025" y="-207010"/>
              <a:ext cx="1019810" cy="101981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spcBef>
                  <a:spcPts val="306"/>
                </a:spcBef>
                <a:spcAft>
                  <a:spcPts val="306"/>
                </a:spcAft>
              </a:pPr>
              <a:endParaRPr lang="en-US" sz="1632" err="1">
                <a:solidFill>
                  <a:schemeClr val="bg1"/>
                </a:solidFill>
              </a:endParaRPr>
            </a:p>
          </p:txBody>
        </p:sp>
        <p:pic>
          <p:nvPicPr>
            <p:cNvPr id="70" name="Graphic 69">
              <a:extLst>
                <a:ext uri="{FF2B5EF4-FFF2-40B4-BE49-F238E27FC236}">
                  <a16:creationId xmlns:a16="http://schemas.microsoft.com/office/drawing/2014/main" id="{EBA8D40C-B16F-4FB0-8E87-10C25A9DE0A1}"/>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0" y="0"/>
              <a:ext cx="609600" cy="609600"/>
            </a:xfrm>
            <a:prstGeom prst="rect">
              <a:avLst/>
            </a:prstGeom>
          </p:spPr>
        </p:pic>
      </p:grpSp>
      <p:sp>
        <p:nvSpPr>
          <p:cNvPr id="26" name="TextBox 25">
            <a:extLst>
              <a:ext uri="{FF2B5EF4-FFF2-40B4-BE49-F238E27FC236}">
                <a16:creationId xmlns:a16="http://schemas.microsoft.com/office/drawing/2014/main" id="{F543949B-4CE2-4730-9613-F7C155A1BCA5}"/>
              </a:ext>
            </a:extLst>
          </p:cNvPr>
          <p:cNvSpPr txBox="1"/>
          <p:nvPr/>
        </p:nvSpPr>
        <p:spPr>
          <a:xfrm>
            <a:off x="6555618" y="4716961"/>
            <a:ext cx="1162599" cy="55399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800" err="1">
                <a:cs typeface="+mn-cs"/>
              </a:rPr>
              <a:t>Gemiddelde</a:t>
            </a:r>
            <a:r>
              <a:rPr lang="en-US" sz="1800">
                <a:cs typeface="+mn-cs"/>
              </a:rPr>
              <a:t> </a:t>
            </a:r>
            <a:r>
              <a:rPr lang="en-US" sz="1800" err="1">
                <a:cs typeface="+mn-cs"/>
              </a:rPr>
              <a:t>Leerling</a:t>
            </a:r>
            <a:endParaRPr lang="en-US" sz="1800">
              <a:cs typeface="+mn-cs"/>
            </a:endParaRPr>
          </a:p>
        </p:txBody>
      </p:sp>
      <p:grpSp>
        <p:nvGrpSpPr>
          <p:cNvPr id="85" name="Group 84">
            <a:extLst>
              <a:ext uri="{FF2B5EF4-FFF2-40B4-BE49-F238E27FC236}">
                <a16:creationId xmlns:a16="http://schemas.microsoft.com/office/drawing/2014/main" id="{53E47903-9723-4017-B1F1-9B5E4EF9D4B4}"/>
              </a:ext>
            </a:extLst>
          </p:cNvPr>
          <p:cNvGrpSpPr/>
          <p:nvPr/>
        </p:nvGrpSpPr>
        <p:grpSpPr>
          <a:xfrm>
            <a:off x="6569012" y="3542697"/>
            <a:ext cx="1162599" cy="1162599"/>
            <a:chOff x="6569012" y="3439957"/>
            <a:chExt cx="1162599" cy="1162599"/>
          </a:xfrm>
        </p:grpSpPr>
        <p:sp>
          <p:nvSpPr>
            <p:cNvPr id="80" name="Oval 79">
              <a:extLst>
                <a:ext uri="{FF2B5EF4-FFF2-40B4-BE49-F238E27FC236}">
                  <a16:creationId xmlns:a16="http://schemas.microsoft.com/office/drawing/2014/main" id="{6E64472A-8E73-42AD-9DB9-C0CE7B848FA0}"/>
                </a:ext>
              </a:extLst>
            </p:cNvPr>
            <p:cNvSpPr/>
            <p:nvPr/>
          </p:nvSpPr>
          <p:spPr>
            <a:xfrm>
              <a:off x="6569012" y="3439957"/>
              <a:ext cx="1162599" cy="1162599"/>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spcBef>
                  <a:spcPts val="306"/>
                </a:spcBef>
                <a:spcAft>
                  <a:spcPts val="306"/>
                </a:spcAft>
              </a:pPr>
              <a:endParaRPr lang="en-US" sz="1632" err="1">
                <a:solidFill>
                  <a:schemeClr val="bg1"/>
                </a:solidFill>
              </a:endParaRPr>
            </a:p>
          </p:txBody>
        </p:sp>
        <p:pic>
          <p:nvPicPr>
            <p:cNvPr id="72" name="Graphic 71">
              <a:extLst>
                <a:ext uri="{FF2B5EF4-FFF2-40B4-BE49-F238E27FC236}">
                  <a16:creationId xmlns:a16="http://schemas.microsoft.com/office/drawing/2014/main" id="{EF7E14FA-4601-4C7D-A83A-1691CAFDD18A}"/>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7015731" y="3639175"/>
              <a:ext cx="563006" cy="563006"/>
            </a:xfrm>
            <a:prstGeom prst="rect">
              <a:avLst/>
            </a:prstGeom>
          </p:spPr>
        </p:pic>
        <p:pic>
          <p:nvPicPr>
            <p:cNvPr id="73" name="Graphic 72">
              <a:extLst>
                <a:ext uri="{FF2B5EF4-FFF2-40B4-BE49-F238E27FC236}">
                  <a16:creationId xmlns:a16="http://schemas.microsoft.com/office/drawing/2014/main" id="{E6EDE6C2-3F6A-484A-B6C4-1A2724F45595}"/>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6721885" y="4001023"/>
              <a:ext cx="402315" cy="402315"/>
            </a:xfrm>
            <a:prstGeom prst="rect">
              <a:avLst/>
            </a:prstGeom>
          </p:spPr>
        </p:pic>
      </p:grpSp>
      <p:cxnSp>
        <p:nvCxnSpPr>
          <p:cNvPr id="74" name="Connector: Elbow 73">
            <a:extLst>
              <a:ext uri="{FF2B5EF4-FFF2-40B4-BE49-F238E27FC236}">
                <a16:creationId xmlns:a16="http://schemas.microsoft.com/office/drawing/2014/main" id="{237F4A64-96E4-4707-AA21-C97795A6A752}"/>
              </a:ext>
            </a:extLst>
          </p:cNvPr>
          <p:cNvCxnSpPr>
            <a:cxnSpLocks/>
            <a:stCxn id="80" idx="6"/>
            <a:endCxn id="66" idx="2"/>
          </p:cNvCxnSpPr>
          <p:nvPr/>
        </p:nvCxnSpPr>
        <p:spPr>
          <a:xfrm>
            <a:off x="7731611" y="4123997"/>
            <a:ext cx="1277488" cy="1114979"/>
          </a:xfrm>
          <a:prstGeom prst="bentConnector3">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75" name="Connector: Elbow 74">
            <a:extLst>
              <a:ext uri="{FF2B5EF4-FFF2-40B4-BE49-F238E27FC236}">
                <a16:creationId xmlns:a16="http://schemas.microsoft.com/office/drawing/2014/main" id="{80363478-3404-4829-AC0E-BE0A7E0CEEBE}"/>
              </a:ext>
            </a:extLst>
          </p:cNvPr>
          <p:cNvCxnSpPr>
            <a:cxnSpLocks/>
            <a:stCxn id="80" idx="6"/>
            <a:endCxn id="69" idx="2"/>
          </p:cNvCxnSpPr>
          <p:nvPr/>
        </p:nvCxnSpPr>
        <p:spPr>
          <a:xfrm flipV="1">
            <a:off x="7731611" y="3009019"/>
            <a:ext cx="1277488" cy="1114978"/>
          </a:xfrm>
          <a:prstGeom prst="bentConnector3">
            <a:avLst>
              <a:gd name="adj1" fmla="val 50000"/>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76" name="Connector: Elbow 31">
            <a:extLst>
              <a:ext uri="{FF2B5EF4-FFF2-40B4-BE49-F238E27FC236}">
                <a16:creationId xmlns:a16="http://schemas.microsoft.com/office/drawing/2014/main" id="{6CF5538F-D7C5-44F5-B9D2-7CC6F0067106}"/>
              </a:ext>
            </a:extLst>
          </p:cNvPr>
          <p:cNvCxnSpPr>
            <a:cxnSpLocks/>
            <a:stCxn id="69" idx="6"/>
            <a:endCxn id="63" idx="2"/>
          </p:cNvCxnSpPr>
          <p:nvPr/>
        </p:nvCxnSpPr>
        <p:spPr>
          <a:xfrm>
            <a:off x="10102452" y="3009019"/>
            <a:ext cx="438983"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77" name="Connector: Elbow 31">
            <a:extLst>
              <a:ext uri="{FF2B5EF4-FFF2-40B4-BE49-F238E27FC236}">
                <a16:creationId xmlns:a16="http://schemas.microsoft.com/office/drawing/2014/main" id="{B0FD1B5D-9A31-4C4A-998D-A820B46E337A}"/>
              </a:ext>
            </a:extLst>
          </p:cNvPr>
          <p:cNvCxnSpPr>
            <a:cxnSpLocks/>
            <a:stCxn id="66" idx="6"/>
            <a:endCxn id="60" idx="2"/>
          </p:cNvCxnSpPr>
          <p:nvPr/>
        </p:nvCxnSpPr>
        <p:spPr>
          <a:xfrm>
            <a:off x="10102452" y="5238976"/>
            <a:ext cx="438983" cy="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78" name="Oval 77">
            <a:extLst>
              <a:ext uri="{FF2B5EF4-FFF2-40B4-BE49-F238E27FC236}">
                <a16:creationId xmlns:a16="http://schemas.microsoft.com/office/drawing/2014/main" id="{606479A0-32EE-4FE3-873A-B46636669224}"/>
              </a:ext>
            </a:extLst>
          </p:cNvPr>
          <p:cNvSpPr/>
          <p:nvPr/>
        </p:nvSpPr>
        <p:spPr>
          <a:xfrm>
            <a:off x="8067595" y="3821237"/>
            <a:ext cx="605520" cy="605520"/>
          </a:xfrm>
          <a:prstGeom prst="ellips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42" name="Graphic 41" descr="Dice">
            <a:extLst>
              <a:ext uri="{FF2B5EF4-FFF2-40B4-BE49-F238E27FC236}">
                <a16:creationId xmlns:a16="http://schemas.microsoft.com/office/drawing/2014/main" id="{C2718E3A-FE61-4CD8-8B45-B041BF6B76E9}"/>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8142711" y="3896353"/>
            <a:ext cx="455288" cy="455288"/>
          </a:xfrm>
          <a:prstGeom prst="rect">
            <a:avLst/>
          </a:prstGeom>
        </p:spPr>
      </p:pic>
    </p:spTree>
    <p:extLst>
      <p:ext uri="{BB962C8B-B14F-4D97-AF65-F5344CB8AC3E}">
        <p14:creationId xmlns:p14="http://schemas.microsoft.com/office/powerpoint/2010/main" val="110810634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341D395-A8FC-44D2-96F0-FFCE82C6124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31" name="think-cell Slide" r:id="rId6" imgW="395" imgH="394" progId="TCLayout.ActiveDocument.1">
                  <p:embed/>
                </p:oleObj>
              </mc:Choice>
              <mc:Fallback>
                <p:oleObj name="think-cell Slide" r:id="rId6" imgW="395" imgH="394" progId="TCLayout.ActiveDocument.1">
                  <p:embed/>
                  <p:pic>
                    <p:nvPicPr>
                      <p:cNvPr id="5" name="Object 4" hidden="1">
                        <a:extLst>
                          <a:ext uri="{FF2B5EF4-FFF2-40B4-BE49-F238E27FC236}">
                            <a16:creationId xmlns:a16="http://schemas.microsoft.com/office/drawing/2014/main" id="{5341D395-A8FC-44D2-96F0-FFCE82C6124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17CEC825-C64D-48B0-B79A-E67565D48A03}"/>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err="1">
              <a:solidFill>
                <a:schemeClr val="bg1"/>
              </a:solidFill>
              <a:latin typeface="Calibri" panose="020F0502020204030204" pitchFamily="34" charset="0"/>
              <a:ea typeface="+mj-ea"/>
              <a:cs typeface="+mj-cs"/>
              <a:sym typeface="Calibri" panose="020F0502020204030204" pitchFamily="34" charset="0"/>
            </a:endParaRPr>
          </a:p>
        </p:txBody>
      </p:sp>
      <p:sp>
        <p:nvSpPr>
          <p:cNvPr id="2" name="2. Slide Title">
            <a:extLst>
              <a:ext uri="{FF2B5EF4-FFF2-40B4-BE49-F238E27FC236}">
                <a16:creationId xmlns:a16="http://schemas.microsoft.com/office/drawing/2014/main" id="{EB931F0F-0707-4D80-8B8A-75F147896785}"/>
              </a:ext>
            </a:extLst>
          </p:cNvPr>
          <p:cNvSpPr>
            <a:spLocks noGrp="1"/>
          </p:cNvSpPr>
          <p:nvPr>
            <p:ph type="title"/>
            <p:custDataLst>
              <p:tags r:id="rId4"/>
            </p:custDataLst>
          </p:nvPr>
        </p:nvSpPr>
        <p:spPr>
          <a:xfrm>
            <a:off x="554736" y="134291"/>
            <a:ext cx="11082528" cy="769441"/>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dirty="0"/>
              <a:t>Door </a:t>
            </a:r>
            <a:r>
              <a:rPr lang="en-US" dirty="0" err="1"/>
              <a:t>te</a:t>
            </a:r>
            <a:r>
              <a:rPr lang="en-US" dirty="0"/>
              <a:t> </a:t>
            </a:r>
            <a:r>
              <a:rPr lang="en-US" dirty="0" err="1"/>
              <a:t>werken</a:t>
            </a:r>
            <a:r>
              <a:rPr lang="en-US" dirty="0"/>
              <a:t> </a:t>
            </a:r>
            <a:r>
              <a:rPr lang="en-US" dirty="0" err="1"/>
              <a:t>aan</a:t>
            </a:r>
            <a:r>
              <a:rPr lang="en-US" dirty="0"/>
              <a:t> een </a:t>
            </a:r>
            <a:r>
              <a:rPr lang="en-US" dirty="0" err="1"/>
              <a:t>verbetercultuur</a:t>
            </a:r>
            <a:r>
              <a:rPr lang="en-US" dirty="0"/>
              <a:t> op scholen </a:t>
            </a:r>
            <a:r>
              <a:rPr lang="en-US" dirty="0" err="1"/>
              <a:t>zou</a:t>
            </a:r>
            <a:r>
              <a:rPr lang="en-US" dirty="0"/>
              <a:t> de kwaliteit van </a:t>
            </a:r>
            <a:r>
              <a:rPr lang="en-US" dirty="0" err="1"/>
              <a:t>schoolleiders</a:t>
            </a:r>
            <a:r>
              <a:rPr lang="en-US" dirty="0"/>
              <a:t>, </a:t>
            </a:r>
            <a:r>
              <a:rPr lang="en-US" dirty="0" err="1"/>
              <a:t>docenten</a:t>
            </a:r>
            <a:r>
              <a:rPr lang="en-US" dirty="0"/>
              <a:t> </a:t>
            </a:r>
            <a:r>
              <a:rPr lang="en-US" dirty="0" err="1"/>
              <a:t>en</a:t>
            </a:r>
            <a:r>
              <a:rPr lang="en-US" dirty="0"/>
              <a:t> het onderwijs </a:t>
            </a:r>
            <a:r>
              <a:rPr lang="en-US" dirty="0" err="1"/>
              <a:t>fors</a:t>
            </a:r>
            <a:r>
              <a:rPr lang="en-US" dirty="0"/>
              <a:t> </a:t>
            </a:r>
            <a:r>
              <a:rPr lang="en-US" dirty="0" err="1"/>
              <a:t>omhoog</a:t>
            </a:r>
            <a:r>
              <a:rPr lang="en-US" dirty="0"/>
              <a:t> </a:t>
            </a:r>
            <a:r>
              <a:rPr lang="en-US" dirty="0" err="1"/>
              <a:t>kunnen</a:t>
            </a:r>
            <a:endParaRPr lang="en-US" dirty="0"/>
          </a:p>
        </p:txBody>
      </p:sp>
      <p:pic>
        <p:nvPicPr>
          <p:cNvPr id="89090" name="Picture 2">
            <a:extLst>
              <a:ext uri="{FF2B5EF4-FFF2-40B4-BE49-F238E27FC236}">
                <a16:creationId xmlns:a16="http://schemas.microsoft.com/office/drawing/2014/main" id="{D91264F6-6FD9-4457-A567-DC1E527E8FB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390552" y="1521627"/>
            <a:ext cx="6828828" cy="4808189"/>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8C2D8FD7-AA5B-4662-8DB4-E51F72AC685C}"/>
              </a:ext>
            </a:extLst>
          </p:cNvPr>
          <p:cNvSpPr txBox="1"/>
          <p:nvPr/>
        </p:nvSpPr>
        <p:spPr>
          <a:xfrm>
            <a:off x="554737" y="1654166"/>
            <a:ext cx="3462460" cy="384720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nl-NL" sz="2000" b="1">
                <a:cs typeface="+mn-cs"/>
              </a:rPr>
              <a:t>Verschillende rapporten laten zien dat op goede scholen vaak een verbetercultuur centraal staat. </a:t>
            </a:r>
          </a:p>
          <a:p>
            <a:endParaRPr lang="en-US" sz="2000">
              <a:cs typeface="+mn-cs"/>
            </a:endParaRPr>
          </a:p>
          <a:p>
            <a:r>
              <a:rPr lang="nl-NL" sz="2000">
                <a:cs typeface="+mn-cs"/>
              </a:rPr>
              <a:t>Hierbij werken het lerarenteam en de schoolleiding intensief samen om van elkaar te leren en het onderwijs elke dag verder te verbeteren. Dit is veel effectiever dan verbeteren d.m.v. bijvoorbeeld cursussen</a:t>
            </a:r>
            <a:endParaRPr lang="en-US" sz="2000">
              <a:cs typeface="+mn-cs"/>
            </a:endParaRPr>
          </a:p>
        </p:txBody>
      </p:sp>
    </p:spTree>
    <p:extLst>
      <p:ext uri="{BB962C8B-B14F-4D97-AF65-F5344CB8AC3E}">
        <p14:creationId xmlns:p14="http://schemas.microsoft.com/office/powerpoint/2010/main" val="259823801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2" hidden="1">
            <a:extLst>
              <a:ext uri="{FF2B5EF4-FFF2-40B4-BE49-F238E27FC236}">
                <a16:creationId xmlns:a16="http://schemas.microsoft.com/office/drawing/2014/main" id="{740F82DA-46D1-4DD9-BCB5-74A4641CE4EE}"/>
              </a:ext>
            </a:extLst>
          </p:cNvPr>
          <p:cNvGraphicFramePr>
            <a:graphicFrameLocks noChangeAspect="1"/>
          </p:cNvGraphicFramePr>
          <p:nvPr>
            <p:custDataLst>
              <p:tags r:id="rId2"/>
            </p:custDataLst>
            <p:extLst>
              <p:ext uri="{D42A27DB-BD31-4B8C-83A1-F6EECF244321}">
                <p14:modId xmlns:p14="http://schemas.microsoft.com/office/powerpoint/2010/main" val="30387801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55" name="think-cell Slide" r:id="rId7" imgW="395" imgH="394" progId="TCLayout.ActiveDocument.1">
                  <p:embed/>
                </p:oleObj>
              </mc:Choice>
              <mc:Fallback>
                <p:oleObj name="think-cell Slide" r:id="rId7" imgW="395" imgH="394" progId="TCLayout.ActiveDocument.1">
                  <p:embed/>
                  <p:pic>
                    <p:nvPicPr>
                      <p:cNvPr id="6" name="Object 5" hidden="1">
                        <a:extLst>
                          <a:ext uri="{FF2B5EF4-FFF2-40B4-BE49-F238E27FC236}">
                            <a16:creationId xmlns:a16="http://schemas.microsoft.com/office/drawing/2014/main" id="{740F82DA-46D1-4DD9-BCB5-74A4641CE4EE}"/>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3" hidden="1">
            <a:extLst>
              <a:ext uri="{FF2B5EF4-FFF2-40B4-BE49-F238E27FC236}">
                <a16:creationId xmlns:a16="http://schemas.microsoft.com/office/drawing/2014/main" id="{058C7CD5-B091-487C-9420-99B793D0F7FE}"/>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err="1">
              <a:solidFill>
                <a:schemeClr val="bg1"/>
              </a:solidFill>
              <a:latin typeface="Calibri" panose="020F0502020204030204" pitchFamily="34" charset="0"/>
              <a:ea typeface="+mj-ea"/>
              <a:cs typeface="+mj-cs"/>
              <a:sym typeface="Calibri" panose="020F0502020204030204" pitchFamily="34" charset="0"/>
            </a:endParaRPr>
          </a:p>
        </p:txBody>
      </p:sp>
      <p:sp>
        <p:nvSpPr>
          <p:cNvPr id="2" name="2. Slide Title">
            <a:extLst>
              <a:ext uri="{FF2B5EF4-FFF2-40B4-BE49-F238E27FC236}">
                <a16:creationId xmlns:a16="http://schemas.microsoft.com/office/drawing/2014/main" id="{C2B920CE-3866-4DA3-8838-67EC68294229}"/>
              </a:ext>
            </a:extLst>
          </p:cNvPr>
          <p:cNvSpPr>
            <a:spLocks noGrp="1"/>
          </p:cNvSpPr>
          <p:nvPr>
            <p:ph type="title"/>
            <p:custDataLst>
              <p:tags r:id="rId4"/>
            </p:custDataLst>
          </p:nvPr>
        </p:nvSpPr>
        <p:spPr>
          <a:noFill/>
          <a:ln/>
          <a:extLst>
            <a:ext uri="{909E8E84-426E-40DD-AFC4-6F175D3DCCD1}">
              <a14:hiddenFill xmlns:a14="http://schemas.microsoft.com/office/drawing/2010/main">
                <a:solidFill>
                  <a:srgbClr val="FFFFFF"/>
                </a:solidFill>
              </a14:hiddenFill>
            </a:ext>
          </a:extLst>
        </p:spPr>
        <p:txBody>
          <a:bodyPr wrap="square" anchor="b" anchorCtr="0">
            <a:noAutofit/>
          </a:bodyPr>
          <a:lstStyle/>
          <a:p>
            <a:r>
              <a:rPr lang="en-US" dirty="0" err="1"/>
              <a:t>Ook</a:t>
            </a:r>
            <a:r>
              <a:rPr lang="en-US" dirty="0"/>
              <a:t> </a:t>
            </a:r>
            <a:r>
              <a:rPr lang="en-US" dirty="0" err="1"/>
              <a:t>onderzoek</a:t>
            </a:r>
            <a:r>
              <a:rPr lang="en-US" dirty="0"/>
              <a:t> van McKinsey </a:t>
            </a:r>
            <a:r>
              <a:rPr lang="en-US" dirty="0" err="1"/>
              <a:t>uit</a:t>
            </a:r>
            <a:r>
              <a:rPr lang="en-US" dirty="0"/>
              <a:t> 2020 </a:t>
            </a:r>
            <a:r>
              <a:rPr lang="en-US" dirty="0" err="1"/>
              <a:t>stelt</a:t>
            </a:r>
            <a:r>
              <a:rPr lang="en-US" dirty="0"/>
              <a:t> dat een continue </a:t>
            </a:r>
            <a:r>
              <a:rPr lang="en-US" dirty="0" err="1"/>
              <a:t>verbetercultuur</a:t>
            </a:r>
            <a:r>
              <a:rPr lang="en-US" dirty="0"/>
              <a:t> </a:t>
            </a:r>
            <a:r>
              <a:rPr lang="en-US" dirty="0" err="1"/>
              <a:t>centraal</a:t>
            </a:r>
            <a:r>
              <a:rPr lang="en-US" dirty="0"/>
              <a:t> </a:t>
            </a:r>
            <a:r>
              <a:rPr lang="en-US" dirty="0" err="1"/>
              <a:t>moet</a:t>
            </a:r>
            <a:r>
              <a:rPr lang="en-US" dirty="0"/>
              <a:t> </a:t>
            </a:r>
            <a:r>
              <a:rPr lang="en-US" dirty="0" err="1"/>
              <a:t>staan</a:t>
            </a:r>
            <a:endParaRPr lang="en-US" dirty="0"/>
          </a:p>
        </p:txBody>
      </p:sp>
      <p:sp>
        <p:nvSpPr>
          <p:cNvPr id="10" name="5. Source">
            <a:extLst>
              <a:ext uri="{FF2B5EF4-FFF2-40B4-BE49-F238E27FC236}">
                <a16:creationId xmlns:a16="http://schemas.microsoft.com/office/drawing/2014/main" id="{C702AB85-C5EF-48AA-9D16-0190425F2A97}"/>
              </a:ext>
            </a:extLst>
          </p:cNvPr>
          <p:cNvSpPr txBox="1"/>
          <p:nvPr>
            <p:custDataLst>
              <p:tags r:id="rId5"/>
            </p:custDataLst>
          </p:nvPr>
        </p:nvSpPr>
        <p:spPr>
          <a:xfrm>
            <a:off x="554735" y="6501669"/>
            <a:ext cx="6967729"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Bron: TALIS 2018</a:t>
            </a:r>
          </a:p>
        </p:txBody>
      </p:sp>
      <p:sp>
        <p:nvSpPr>
          <p:cNvPr id="3" name="TextBox 2">
            <a:extLst>
              <a:ext uri="{FF2B5EF4-FFF2-40B4-BE49-F238E27FC236}">
                <a16:creationId xmlns:a16="http://schemas.microsoft.com/office/drawing/2014/main" id="{2DC54152-098E-48D2-B42C-2DB9FE16BECC}"/>
              </a:ext>
            </a:extLst>
          </p:cNvPr>
          <p:cNvSpPr txBox="1"/>
          <p:nvPr/>
        </p:nvSpPr>
        <p:spPr>
          <a:xfrm>
            <a:off x="8940800" y="1548081"/>
            <a:ext cx="2740863" cy="4693593"/>
          </a:xfrm>
          <a:prstGeom prst="rect">
            <a:avLst/>
          </a:prstGeom>
        </p:spPr>
        <p:txBody>
          <a:bodyPr vert="horz" wrap="square" lIns="0" tIns="0" rIns="0" bIns="0" rtlCol="0" anchor="t" anchorCtr="0">
            <a:sp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2000"/>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sz="160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sz="160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sz="160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nl-NL"/>
              <a:t>In een onderzoek dat McKinsey in 2020 voor het Ministerie van Onderwijs uitvoerde, concluderen ook zij dat </a:t>
            </a:r>
            <a:r>
              <a:rPr lang="nl-NL" b="1"/>
              <a:t>de leraar het verschil maakt. </a:t>
            </a:r>
          </a:p>
          <a:p>
            <a:r>
              <a:rPr lang="nl-NL"/>
              <a:t>Op schoolniveau constateert McKinsey dat bijna 75% van de verschillen tussen scholen wordt verklaard door doelmatig handelen van onderwijsprofessionals,</a:t>
            </a:r>
            <a:r>
              <a:rPr lang="nl-NL" b="1"/>
              <a:t> met daarin centraal een continue verbetercultuur</a:t>
            </a:r>
            <a:endParaRPr lang="en-US" b="1"/>
          </a:p>
        </p:txBody>
      </p:sp>
      <p:pic>
        <p:nvPicPr>
          <p:cNvPr id="72" name="Picture 71">
            <a:extLst>
              <a:ext uri="{FF2B5EF4-FFF2-40B4-BE49-F238E27FC236}">
                <a16:creationId xmlns:a16="http://schemas.microsoft.com/office/drawing/2014/main" id="{5C3ECEFD-7DC4-4865-BD3E-DEF3F0B3E6ED}"/>
              </a:ext>
            </a:extLst>
          </p:cNvPr>
          <p:cNvPicPr>
            <a:picLocks noChangeAspect="1"/>
          </p:cNvPicPr>
          <p:nvPr/>
        </p:nvPicPr>
        <p:blipFill>
          <a:blip r:embed="rId9"/>
          <a:stretch>
            <a:fillRect/>
          </a:stretch>
        </p:blipFill>
        <p:spPr>
          <a:xfrm>
            <a:off x="510336" y="2272405"/>
            <a:ext cx="4091583" cy="4066584"/>
          </a:xfrm>
          <a:prstGeom prst="rect">
            <a:avLst/>
          </a:prstGeom>
        </p:spPr>
      </p:pic>
      <p:pic>
        <p:nvPicPr>
          <p:cNvPr id="73" name="Picture 72">
            <a:extLst>
              <a:ext uri="{FF2B5EF4-FFF2-40B4-BE49-F238E27FC236}">
                <a16:creationId xmlns:a16="http://schemas.microsoft.com/office/drawing/2014/main" id="{122B65A4-F0B6-4D70-9C06-CCC3D359463D}"/>
              </a:ext>
            </a:extLst>
          </p:cNvPr>
          <p:cNvPicPr>
            <a:picLocks noChangeAspect="1"/>
          </p:cNvPicPr>
          <p:nvPr/>
        </p:nvPicPr>
        <p:blipFill>
          <a:blip r:embed="rId10"/>
          <a:stretch>
            <a:fillRect/>
          </a:stretch>
        </p:blipFill>
        <p:spPr>
          <a:xfrm>
            <a:off x="5105811" y="2272405"/>
            <a:ext cx="2814040" cy="4033776"/>
          </a:xfrm>
          <a:prstGeom prst="rect">
            <a:avLst/>
          </a:prstGeom>
          <a:ln>
            <a:solidFill>
              <a:schemeClr val="tx1"/>
            </a:solidFill>
          </a:ln>
        </p:spPr>
      </p:pic>
      <p:sp>
        <p:nvSpPr>
          <p:cNvPr id="4" name="TextBox 3">
            <a:extLst>
              <a:ext uri="{FF2B5EF4-FFF2-40B4-BE49-F238E27FC236}">
                <a16:creationId xmlns:a16="http://schemas.microsoft.com/office/drawing/2014/main" id="{99513D5B-10E9-451D-9F6A-CA5C6CD363C2}"/>
              </a:ext>
            </a:extLst>
          </p:cNvPr>
          <p:cNvSpPr txBox="1">
            <a:spLocks/>
          </p:cNvSpPr>
          <p:nvPr/>
        </p:nvSpPr>
        <p:spPr>
          <a:xfrm>
            <a:off x="557210" y="1548081"/>
            <a:ext cx="7916229" cy="50783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nl-NL" sz="1400" b="1">
                <a:cs typeface="+mn-cs"/>
              </a:rPr>
              <a:t>10 factoren die het verschil maken tussen een onder- en bovengemiddelde school</a:t>
            </a:r>
          </a:p>
          <a:p>
            <a:r>
              <a:rPr lang="nl-NL" sz="1400">
                <a:cs typeface="+mn-cs"/>
              </a:rPr>
              <a:t>Rapport ‘Een verstevigd fundament voor iedereen’ over het funderend onderwijs, 2020</a:t>
            </a:r>
            <a:endParaRPr lang="en-GB" sz="1400">
              <a:cs typeface="+mn-cs"/>
            </a:endParaRPr>
          </a:p>
        </p:txBody>
      </p:sp>
    </p:spTree>
    <p:extLst>
      <p:ext uri="{BB962C8B-B14F-4D97-AF65-F5344CB8AC3E}">
        <p14:creationId xmlns:p14="http://schemas.microsoft.com/office/powerpoint/2010/main" val="35528508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D8C1A4F-4A63-574E-B8A6-9FF8DBF95B3B}"/>
              </a:ext>
            </a:extLst>
          </p:cNvPr>
          <p:cNvSpPr>
            <a:spLocks noGrp="1"/>
          </p:cNvSpPr>
          <p:nvPr>
            <p:ph type="title"/>
          </p:nvPr>
        </p:nvSpPr>
        <p:spPr>
          <a:xfrm flipV="1">
            <a:off x="-1379621" y="-433136"/>
            <a:ext cx="256674" cy="770020"/>
          </a:xfrm>
        </p:spPr>
        <p:txBody>
          <a:bodyPr/>
          <a:lstStyle/>
          <a:p>
            <a:endParaRPr lang="nl-NL" dirty="0"/>
          </a:p>
        </p:txBody>
      </p:sp>
      <p:sp>
        <p:nvSpPr>
          <p:cNvPr id="3" name="Tijdelijke aanduiding voor inhoud 2">
            <a:extLst>
              <a:ext uri="{FF2B5EF4-FFF2-40B4-BE49-F238E27FC236}">
                <a16:creationId xmlns:a16="http://schemas.microsoft.com/office/drawing/2014/main" id="{84BD0B2E-9D75-DF43-8405-67BAA412D332}"/>
              </a:ext>
            </a:extLst>
          </p:cNvPr>
          <p:cNvSpPr>
            <a:spLocks noGrp="1"/>
          </p:cNvSpPr>
          <p:nvPr>
            <p:ph idx="1"/>
          </p:nvPr>
        </p:nvSpPr>
        <p:spPr>
          <a:xfrm>
            <a:off x="764638" y="1542855"/>
            <a:ext cx="10515600" cy="4656666"/>
          </a:xfrm>
        </p:spPr>
        <p:txBody>
          <a:bodyPr>
            <a:normAutofit fontScale="25000" lnSpcReduction="20000"/>
          </a:bodyPr>
          <a:lstStyle/>
          <a:p>
            <a:pPr marL="0" indent="0">
              <a:buNone/>
            </a:pPr>
            <a:endParaRPr lang="nl-NL" dirty="0">
              <a:solidFill>
                <a:schemeClr val="accent1">
                  <a:lumMod val="75000"/>
                </a:schemeClr>
              </a:solidFill>
            </a:endParaRPr>
          </a:p>
          <a:p>
            <a:pPr marL="0" indent="0">
              <a:buNone/>
            </a:pPr>
            <a:r>
              <a:rPr lang="nl-NL" sz="7400" dirty="0">
                <a:solidFill>
                  <a:schemeClr val="accent1">
                    <a:lumMod val="75000"/>
                  </a:schemeClr>
                </a:solidFill>
              </a:rPr>
              <a:t>  </a:t>
            </a:r>
            <a:endParaRPr lang="nl-NL" sz="8000" dirty="0">
              <a:solidFill>
                <a:schemeClr val="accent2">
                  <a:lumMod val="50000"/>
                </a:schemeClr>
              </a:solidFill>
              <a:latin typeface="Avenir Next Medium" panose="020B0503020202020204" pitchFamily="34" charset="0"/>
            </a:endParaRPr>
          </a:p>
          <a:p>
            <a:pPr marL="0" indent="0">
              <a:buNone/>
            </a:pPr>
            <a:r>
              <a:rPr lang="nl-NL" sz="8000" dirty="0">
                <a:solidFill>
                  <a:schemeClr val="accent2">
                    <a:lumMod val="50000"/>
                  </a:schemeClr>
                </a:solidFill>
                <a:latin typeface="Avenir Next Medium" panose="020B0503020202020204" pitchFamily="34" charset="0"/>
              </a:rPr>
              <a:t>19.30 – 19.40 uur: 	Introductie door Rob Martens (NIVOZ)</a:t>
            </a:r>
            <a:br>
              <a:rPr lang="nl-NL" sz="8000" dirty="0">
                <a:solidFill>
                  <a:schemeClr val="accent2">
                    <a:lumMod val="50000"/>
                  </a:schemeClr>
                </a:solidFill>
                <a:latin typeface="Avenir Next Medium" panose="020B0503020202020204" pitchFamily="34" charset="0"/>
              </a:rPr>
            </a:br>
            <a:endParaRPr lang="nl-NL" sz="8000" dirty="0">
              <a:solidFill>
                <a:schemeClr val="accent2">
                  <a:lumMod val="50000"/>
                </a:schemeClr>
              </a:solidFill>
              <a:latin typeface="Avenir Next Medium" panose="020B0503020202020204" pitchFamily="34" charset="0"/>
            </a:endParaRPr>
          </a:p>
          <a:p>
            <a:pPr marL="0" indent="0">
              <a:buNone/>
            </a:pPr>
            <a:r>
              <a:rPr lang="nl-NL" sz="8000" dirty="0">
                <a:solidFill>
                  <a:schemeClr val="accent2">
                    <a:lumMod val="50000"/>
                  </a:schemeClr>
                </a:solidFill>
                <a:latin typeface="Avenir Next Medium" panose="020B0503020202020204" pitchFamily="34" charset="0"/>
              </a:rPr>
              <a:t>19.40 – 20.30 uur: 	Jaap Versfelt (chatfunctie open)</a:t>
            </a:r>
            <a:br>
              <a:rPr lang="nl-NL" sz="8000" dirty="0">
                <a:solidFill>
                  <a:schemeClr val="accent2">
                    <a:lumMod val="50000"/>
                  </a:schemeClr>
                </a:solidFill>
                <a:latin typeface="Avenir Next Medium" panose="020B0503020202020204" pitchFamily="34" charset="0"/>
              </a:rPr>
            </a:br>
            <a:endParaRPr lang="nl-NL" sz="8000" dirty="0">
              <a:solidFill>
                <a:schemeClr val="accent2">
                  <a:lumMod val="50000"/>
                </a:schemeClr>
              </a:solidFill>
              <a:latin typeface="Avenir Next Medium" panose="020B0503020202020204" pitchFamily="34" charset="0"/>
            </a:endParaRPr>
          </a:p>
          <a:p>
            <a:pPr marL="0" indent="0">
              <a:buNone/>
            </a:pPr>
            <a:r>
              <a:rPr lang="nl-NL" sz="8000" dirty="0">
                <a:solidFill>
                  <a:schemeClr val="accent2">
                    <a:lumMod val="50000"/>
                  </a:schemeClr>
                </a:solidFill>
                <a:latin typeface="Avenir Next Medium" panose="020B0503020202020204" pitchFamily="34" charset="0"/>
              </a:rPr>
              <a:t>20.30 – 20.40 uur:	Pauze</a:t>
            </a:r>
            <a:br>
              <a:rPr lang="nl-NL" sz="8000" dirty="0">
                <a:solidFill>
                  <a:schemeClr val="accent2">
                    <a:lumMod val="50000"/>
                  </a:schemeClr>
                </a:solidFill>
                <a:latin typeface="Avenir Next Medium" panose="020B0503020202020204" pitchFamily="34" charset="0"/>
              </a:rPr>
            </a:br>
            <a:endParaRPr lang="nl-NL" sz="8000" dirty="0">
              <a:solidFill>
                <a:schemeClr val="accent2">
                  <a:lumMod val="50000"/>
                </a:schemeClr>
              </a:solidFill>
              <a:latin typeface="Avenir Next Medium" panose="020B0503020202020204" pitchFamily="34" charset="0"/>
            </a:endParaRPr>
          </a:p>
          <a:p>
            <a:pPr marL="0" indent="0">
              <a:buNone/>
            </a:pPr>
            <a:r>
              <a:rPr lang="nl-NL" sz="8000" dirty="0">
                <a:solidFill>
                  <a:schemeClr val="accent2">
                    <a:lumMod val="50000"/>
                  </a:schemeClr>
                </a:solidFill>
                <a:latin typeface="Avenir Next Medium" panose="020B0503020202020204" pitchFamily="34" charset="0"/>
              </a:rPr>
              <a:t>20.40 – 21.10 uur: 	Q&amp;A Jaap Versfelt en Rob Martens (m.g.v. chatroom)</a:t>
            </a:r>
            <a:br>
              <a:rPr lang="nl-NL" sz="8000" dirty="0">
                <a:solidFill>
                  <a:schemeClr val="accent2">
                    <a:lumMod val="50000"/>
                  </a:schemeClr>
                </a:solidFill>
                <a:latin typeface="Avenir Next Medium" panose="020B0503020202020204" pitchFamily="34" charset="0"/>
              </a:rPr>
            </a:br>
            <a:endParaRPr lang="nl-NL" sz="8000" dirty="0">
              <a:solidFill>
                <a:schemeClr val="accent2">
                  <a:lumMod val="50000"/>
                </a:schemeClr>
              </a:solidFill>
              <a:latin typeface="Avenir Next Medium" panose="020B0503020202020204" pitchFamily="34" charset="0"/>
            </a:endParaRPr>
          </a:p>
          <a:p>
            <a:pPr marL="0" indent="0">
              <a:buNone/>
            </a:pPr>
            <a:r>
              <a:rPr lang="nl-NL" sz="8000" dirty="0">
                <a:solidFill>
                  <a:schemeClr val="accent2">
                    <a:lumMod val="50000"/>
                  </a:schemeClr>
                </a:solidFill>
                <a:latin typeface="Avenir Next Medium" panose="020B0503020202020204" pitchFamily="34" charset="0"/>
              </a:rPr>
              <a:t>21.10 – 21.20 uur:	Nawoord Luc Stevens</a:t>
            </a:r>
            <a:br>
              <a:rPr lang="nl-NL" sz="8000" dirty="0">
                <a:solidFill>
                  <a:schemeClr val="accent2">
                    <a:lumMod val="50000"/>
                  </a:schemeClr>
                </a:solidFill>
                <a:latin typeface="Avenir Next Medium" panose="020B0503020202020204" pitchFamily="34" charset="0"/>
              </a:rPr>
            </a:br>
            <a:endParaRPr lang="nl-NL" sz="8000" dirty="0">
              <a:solidFill>
                <a:schemeClr val="accent2">
                  <a:lumMod val="50000"/>
                </a:schemeClr>
              </a:solidFill>
              <a:latin typeface="Avenir Next Medium" panose="020B0503020202020204" pitchFamily="34" charset="0"/>
            </a:endParaRPr>
          </a:p>
          <a:p>
            <a:pPr marL="0" indent="0">
              <a:buNone/>
            </a:pPr>
            <a:r>
              <a:rPr lang="nl-NL" sz="8000" dirty="0">
                <a:solidFill>
                  <a:schemeClr val="accent2">
                    <a:lumMod val="50000"/>
                  </a:schemeClr>
                </a:solidFill>
                <a:latin typeface="Avenir Next Medium" panose="020B0503020202020204" pitchFamily="34" charset="0"/>
              </a:rPr>
              <a:t>21.20 – 21.25 uur: 	afronding Rob Martens</a:t>
            </a:r>
          </a:p>
          <a:p>
            <a:pPr marL="0" indent="0">
              <a:buNone/>
            </a:pPr>
            <a:br>
              <a:rPr lang="nl-NL" sz="8000" dirty="0">
                <a:solidFill>
                  <a:schemeClr val="accent2">
                    <a:lumMod val="50000"/>
                  </a:schemeClr>
                </a:solidFill>
                <a:latin typeface="Avenir Next Medium" panose="020B0503020202020204" pitchFamily="34" charset="0"/>
              </a:rPr>
            </a:br>
            <a:r>
              <a:rPr lang="nl-NL" sz="8000" dirty="0">
                <a:solidFill>
                  <a:schemeClr val="accent2">
                    <a:lumMod val="50000"/>
                  </a:schemeClr>
                </a:solidFill>
                <a:latin typeface="Avenir Next Medium" panose="020B0503020202020204" pitchFamily="34" charset="0"/>
              </a:rPr>
              <a:t>21.25 – 21.40 uur: 	Vrijblijvende nazit (in break-outs)</a:t>
            </a:r>
          </a:p>
        </p:txBody>
      </p:sp>
      <p:pic>
        <p:nvPicPr>
          <p:cNvPr id="4" name="Afbeelding 3">
            <a:extLst>
              <a:ext uri="{FF2B5EF4-FFF2-40B4-BE49-F238E27FC236}">
                <a16:creationId xmlns:a16="http://schemas.microsoft.com/office/drawing/2014/main" id="{825079A9-298A-F24D-B263-1FF2ED886D1C}"/>
              </a:ext>
            </a:extLst>
          </p:cNvPr>
          <p:cNvPicPr>
            <a:picLocks noChangeAspect="1"/>
          </p:cNvPicPr>
          <p:nvPr/>
        </p:nvPicPr>
        <p:blipFill>
          <a:blip r:embed="rId2"/>
          <a:stretch>
            <a:fillRect/>
          </a:stretch>
        </p:blipFill>
        <p:spPr>
          <a:xfrm>
            <a:off x="7395410" y="353665"/>
            <a:ext cx="4539916" cy="820817"/>
          </a:xfrm>
          <a:prstGeom prst="rect">
            <a:avLst/>
          </a:prstGeom>
        </p:spPr>
      </p:pic>
      <p:sp>
        <p:nvSpPr>
          <p:cNvPr id="5" name="Tekstvak 4">
            <a:extLst>
              <a:ext uri="{FF2B5EF4-FFF2-40B4-BE49-F238E27FC236}">
                <a16:creationId xmlns:a16="http://schemas.microsoft.com/office/drawing/2014/main" id="{69BE0AD0-89A4-E040-B251-A281C03F15FB}"/>
              </a:ext>
            </a:extLst>
          </p:cNvPr>
          <p:cNvSpPr txBox="1"/>
          <p:nvPr/>
        </p:nvSpPr>
        <p:spPr>
          <a:xfrm>
            <a:off x="2029343" y="764073"/>
            <a:ext cx="3042756" cy="707886"/>
          </a:xfrm>
          <a:prstGeom prst="rect">
            <a:avLst/>
          </a:prstGeom>
          <a:noFill/>
        </p:spPr>
        <p:txBody>
          <a:bodyPr wrap="none" rtlCol="0">
            <a:spAutoFit/>
          </a:bodyPr>
          <a:lstStyle/>
          <a:p>
            <a:r>
              <a:rPr lang="nl-NL" sz="4000" b="1" i="1" dirty="0">
                <a:solidFill>
                  <a:schemeClr val="accent2">
                    <a:lumMod val="50000"/>
                  </a:schemeClr>
                </a:solidFill>
                <a:latin typeface="Avenir Next" panose="020B0503020202020204" pitchFamily="34" charset="0"/>
              </a:rPr>
              <a:t>Programma</a:t>
            </a:r>
          </a:p>
        </p:txBody>
      </p:sp>
    </p:spTree>
    <p:extLst>
      <p:ext uri="{BB962C8B-B14F-4D97-AF65-F5344CB8AC3E}">
        <p14:creationId xmlns:p14="http://schemas.microsoft.com/office/powerpoint/2010/main" val="369451804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fgeronde rechthoek 2">
            <a:extLst>
              <a:ext uri="{FF2B5EF4-FFF2-40B4-BE49-F238E27FC236}">
                <a16:creationId xmlns:a16="http://schemas.microsoft.com/office/drawing/2014/main" id="{18B4E1BC-927C-D544-8535-8BA02973DA1F}"/>
              </a:ext>
            </a:extLst>
          </p:cNvPr>
          <p:cNvSpPr>
            <a:spLocks noChangeAspect="1"/>
          </p:cNvSpPr>
          <p:nvPr/>
        </p:nvSpPr>
        <p:spPr>
          <a:xfrm>
            <a:off x="2042583" y="928395"/>
            <a:ext cx="7546433" cy="5001209"/>
          </a:xfrm>
          <a:prstGeom prst="roundRect">
            <a:avLst/>
          </a:prstGeom>
          <a:solidFill>
            <a:schemeClr val="bg1"/>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defTabSz="457189">
              <a:defRPr/>
            </a:pPr>
            <a:r>
              <a:rPr lang="nl-NL" sz="2667" b="1">
                <a:solidFill>
                  <a:srgbClr val="000000"/>
                </a:solidFill>
                <a:latin typeface="Arial"/>
                <a:cs typeface="Arial"/>
              </a:rPr>
              <a:t>Waaraan besteedt de Nederlandse schoolleider het meeste tijd aan?</a:t>
            </a:r>
          </a:p>
          <a:p>
            <a:pPr defTabSz="457189">
              <a:defRPr/>
            </a:pPr>
            <a:endParaRPr lang="nl-NL" sz="2667">
              <a:solidFill>
                <a:srgbClr val="000000"/>
              </a:solidFill>
              <a:latin typeface="Arial"/>
              <a:cs typeface="Arial"/>
            </a:endParaRPr>
          </a:p>
          <a:p>
            <a:pPr marL="514350" indent="-514350" defTabSz="457189">
              <a:buAutoNum type="arabicPeriod"/>
              <a:defRPr/>
            </a:pPr>
            <a:r>
              <a:rPr lang="nl-NL" sz="2667">
                <a:solidFill>
                  <a:srgbClr val="000000"/>
                </a:solidFill>
                <a:latin typeface="Arial"/>
                <a:cs typeface="Arial"/>
              </a:rPr>
              <a:t>Administratie</a:t>
            </a:r>
          </a:p>
          <a:p>
            <a:pPr marL="514350" indent="-514350" defTabSz="457189">
              <a:buAutoNum type="arabicPeriod"/>
              <a:defRPr/>
            </a:pPr>
            <a:r>
              <a:rPr lang="nl-NL" sz="2667">
                <a:solidFill>
                  <a:srgbClr val="000000"/>
                </a:solidFill>
                <a:latin typeface="Arial"/>
                <a:cs typeface="Arial"/>
              </a:rPr>
              <a:t>Lespraktijk</a:t>
            </a:r>
          </a:p>
          <a:p>
            <a:pPr marL="514350" indent="-514350" defTabSz="457189">
              <a:buAutoNum type="arabicPeriod"/>
              <a:defRPr/>
            </a:pPr>
            <a:r>
              <a:rPr lang="nl-NL" sz="2667">
                <a:solidFill>
                  <a:srgbClr val="000000"/>
                </a:solidFill>
                <a:latin typeface="Arial"/>
                <a:cs typeface="Arial"/>
              </a:rPr>
              <a:t>Curriculum</a:t>
            </a:r>
          </a:p>
          <a:p>
            <a:pPr marL="514350" indent="-514350" defTabSz="457189">
              <a:buAutoNum type="arabicPeriod"/>
              <a:defRPr/>
            </a:pPr>
            <a:r>
              <a:rPr lang="nl-NL" sz="2667">
                <a:solidFill>
                  <a:srgbClr val="000000"/>
                </a:solidFill>
                <a:latin typeface="Arial"/>
                <a:cs typeface="Arial"/>
              </a:rPr>
              <a:t>Schoolomgeving</a:t>
            </a:r>
          </a:p>
          <a:p>
            <a:pPr marL="514350" indent="-514350" defTabSz="457189">
              <a:buAutoNum type="arabicPeriod"/>
              <a:defRPr/>
            </a:pPr>
            <a:r>
              <a:rPr lang="nl-NL" sz="2667">
                <a:solidFill>
                  <a:srgbClr val="000000"/>
                </a:solidFill>
                <a:latin typeface="Arial"/>
                <a:cs typeface="Arial"/>
              </a:rPr>
              <a:t>Vergaderen</a:t>
            </a:r>
          </a:p>
          <a:p>
            <a:pPr defTabSz="457189">
              <a:defRPr/>
            </a:pPr>
            <a:endParaRPr lang="nl-NL" sz="2667" i="1">
              <a:solidFill>
                <a:srgbClr val="000000"/>
              </a:solidFill>
              <a:latin typeface="Arial"/>
              <a:cs typeface="Arial"/>
            </a:endParaRPr>
          </a:p>
          <a:p>
            <a:pPr defTabSz="457189">
              <a:defRPr/>
            </a:pPr>
            <a:r>
              <a:rPr lang="nl-NL" sz="2667" i="1">
                <a:solidFill>
                  <a:srgbClr val="000000"/>
                </a:solidFill>
                <a:latin typeface="Arial"/>
                <a:cs typeface="Arial"/>
              </a:rPr>
              <a:t>Maak je keuze in de poll</a:t>
            </a:r>
          </a:p>
        </p:txBody>
      </p:sp>
      <p:sp>
        <p:nvSpPr>
          <p:cNvPr id="5" name="Google Shape;160;p29">
            <a:extLst>
              <a:ext uri="{FF2B5EF4-FFF2-40B4-BE49-F238E27FC236}">
                <a16:creationId xmlns:a16="http://schemas.microsoft.com/office/drawing/2014/main" id="{2236B081-6862-41F6-A798-CC20EA42D38D}"/>
              </a:ext>
            </a:extLst>
          </p:cNvPr>
          <p:cNvSpPr txBox="1">
            <a:spLocks/>
          </p:cNvSpPr>
          <p:nvPr/>
        </p:nvSpPr>
        <p:spPr>
          <a:xfrm>
            <a:off x="475200" y="233645"/>
            <a:ext cx="10681200" cy="215600"/>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L="0" indent="0">
              <a:buSzPts val="1400"/>
              <a:buNone/>
              <a:defRPr b="1">
                <a:solidFill>
                  <a:schemeClr val="dk1"/>
                </a:solidFill>
              </a:defRPr>
            </a:lvl1pPr>
            <a:lvl2pPr>
              <a:buSzPts val="1400"/>
              <a:buNone/>
              <a:defRPr sz="1900" b="1">
                <a:solidFill>
                  <a:schemeClr val="dk2"/>
                </a:solidFill>
              </a:defRPr>
            </a:lvl2pPr>
            <a:lvl3pPr>
              <a:buSzPts val="1400"/>
              <a:buNone/>
              <a:defRPr sz="1900" b="1">
                <a:solidFill>
                  <a:schemeClr val="dk2"/>
                </a:solidFill>
              </a:defRPr>
            </a:lvl3pPr>
            <a:lvl4pPr>
              <a:buSzPts val="1400"/>
              <a:buNone/>
              <a:defRPr sz="1900" b="1">
                <a:solidFill>
                  <a:schemeClr val="dk2"/>
                </a:solidFill>
              </a:defRPr>
            </a:lvl4pPr>
            <a:lvl5pPr>
              <a:buSzPts val="1400"/>
              <a:buNone/>
              <a:defRPr sz="1900" b="1">
                <a:solidFill>
                  <a:schemeClr val="dk2"/>
                </a:solidFill>
              </a:defRPr>
            </a:lvl5pPr>
            <a:lvl6pPr>
              <a:buSzPts val="1400"/>
              <a:buNone/>
              <a:defRPr sz="1900" b="1">
                <a:solidFill>
                  <a:schemeClr val="dk2"/>
                </a:solidFill>
              </a:defRPr>
            </a:lvl6pPr>
            <a:lvl7pPr>
              <a:buSzPts val="1400"/>
              <a:buNone/>
              <a:defRPr sz="1900" b="1">
                <a:solidFill>
                  <a:schemeClr val="dk2"/>
                </a:solidFill>
              </a:defRPr>
            </a:lvl7pPr>
            <a:lvl8pPr>
              <a:buSzPts val="1400"/>
              <a:buNone/>
              <a:defRPr sz="1900" b="1">
                <a:solidFill>
                  <a:schemeClr val="dk2"/>
                </a:solidFill>
              </a:defRPr>
            </a:lvl8pPr>
            <a:lvl9pPr>
              <a:buSzPts val="1400"/>
              <a:buNone/>
              <a:defRPr sz="1900" b="1">
                <a:solidFill>
                  <a:schemeClr val="dk2"/>
                </a:solidFill>
              </a:defRPr>
            </a:lvl9pPr>
          </a:lstStyle>
          <a:p>
            <a:endParaRPr lang="nl-NL" sz="2400"/>
          </a:p>
        </p:txBody>
      </p:sp>
    </p:spTree>
    <p:extLst>
      <p:ext uri="{BB962C8B-B14F-4D97-AF65-F5344CB8AC3E}">
        <p14:creationId xmlns:p14="http://schemas.microsoft.com/office/powerpoint/2010/main" val="148591643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40F82DA-46D1-4DD9-BCB5-74A4641CE4E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79" name="think-cell Slide" r:id="rId73" imgW="395" imgH="394" progId="TCLayout.ActiveDocument.1">
                  <p:embed/>
                </p:oleObj>
              </mc:Choice>
              <mc:Fallback>
                <p:oleObj name="think-cell Slide" r:id="rId73" imgW="395" imgH="394" progId="TCLayout.ActiveDocument.1">
                  <p:embed/>
                  <p:pic>
                    <p:nvPicPr>
                      <p:cNvPr id="6" name="Object 5" hidden="1">
                        <a:extLst>
                          <a:ext uri="{FF2B5EF4-FFF2-40B4-BE49-F238E27FC236}">
                            <a16:creationId xmlns:a16="http://schemas.microsoft.com/office/drawing/2014/main" id="{740F82DA-46D1-4DD9-BCB5-74A4641CE4EE}"/>
                          </a:ext>
                        </a:extLst>
                      </p:cNvPr>
                      <p:cNvPicPr/>
                      <p:nvPr/>
                    </p:nvPicPr>
                    <p:blipFill>
                      <a:blip r:embed="rId74"/>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58C7CD5-B091-487C-9420-99B793D0F7FE}"/>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err="1">
              <a:solidFill>
                <a:schemeClr val="bg1"/>
              </a:solidFill>
              <a:latin typeface="Calibri" panose="020F0502020204030204" pitchFamily="34" charset="0"/>
              <a:ea typeface="+mj-ea"/>
              <a:cs typeface="+mj-cs"/>
              <a:sym typeface="Calibri" panose="020F0502020204030204" pitchFamily="34" charset="0"/>
            </a:endParaRPr>
          </a:p>
        </p:txBody>
      </p:sp>
      <p:sp>
        <p:nvSpPr>
          <p:cNvPr id="2" name="2. Slide Title">
            <a:extLst>
              <a:ext uri="{FF2B5EF4-FFF2-40B4-BE49-F238E27FC236}">
                <a16:creationId xmlns:a16="http://schemas.microsoft.com/office/drawing/2014/main" id="{C2B920CE-3866-4DA3-8838-67EC68294229}"/>
              </a:ext>
            </a:extLst>
          </p:cNvPr>
          <p:cNvSpPr>
            <a:spLocks noGrp="1"/>
          </p:cNvSpPr>
          <p:nvPr>
            <p:ph type="title"/>
            <p:custDataLst>
              <p:tags r:id="rId4"/>
            </p:custDataLst>
          </p:nvPr>
        </p:nvSpPr>
        <p:spPr>
          <a:xfrm>
            <a:off x="554736" y="134291"/>
            <a:ext cx="6967728" cy="769441"/>
          </a:xfrm>
          <a:noFill/>
          <a:ln/>
          <a:extLst>
            <a:ext uri="{909E8E84-426E-40DD-AFC4-6F175D3DCCD1}">
              <a14:hiddenFill xmlns:a14="http://schemas.microsoft.com/office/drawing/2010/main">
                <a:solidFill>
                  <a:srgbClr val="FFFFFF"/>
                </a:solidFill>
              </a14:hiddenFill>
            </a:ext>
          </a:extLst>
        </p:spPr>
        <p:txBody>
          <a:bodyPr wrap="square" anchor="b" anchorCtr="0">
            <a:noAutofit/>
          </a:bodyPr>
          <a:lstStyle/>
          <a:p>
            <a:r>
              <a:rPr lang="en-US" dirty="0"/>
              <a:t>Op </a:t>
            </a:r>
            <a:r>
              <a:rPr lang="en-US" dirty="0" err="1"/>
              <a:t>dit</a:t>
            </a:r>
            <a:r>
              <a:rPr lang="en-US" dirty="0"/>
              <a:t> moment zijn </a:t>
            </a:r>
            <a:r>
              <a:rPr lang="en-US" dirty="0" err="1"/>
              <a:t>schoolleiders</a:t>
            </a:r>
            <a:r>
              <a:rPr lang="en-US" dirty="0"/>
              <a:t> echter niet genoeg </a:t>
            </a:r>
            <a:r>
              <a:rPr lang="en-US" dirty="0" err="1"/>
              <a:t>bezig</a:t>
            </a:r>
            <a:r>
              <a:rPr lang="en-US" dirty="0"/>
              <a:t> met het </a:t>
            </a:r>
            <a:r>
              <a:rPr lang="en-US" dirty="0" err="1"/>
              <a:t>verbeteren</a:t>
            </a:r>
            <a:r>
              <a:rPr lang="en-US" dirty="0"/>
              <a:t> van </a:t>
            </a:r>
            <a:r>
              <a:rPr lang="en-US" dirty="0" err="1"/>
              <a:t>hun</a:t>
            </a:r>
            <a:r>
              <a:rPr lang="en-US" dirty="0"/>
              <a:t> </a:t>
            </a:r>
            <a:r>
              <a:rPr lang="en-US" dirty="0" err="1"/>
              <a:t>docenten</a:t>
            </a:r>
            <a:endParaRPr lang="en-US" dirty="0"/>
          </a:p>
        </p:txBody>
      </p:sp>
      <p:sp>
        <p:nvSpPr>
          <p:cNvPr id="10" name="5. Source">
            <a:extLst>
              <a:ext uri="{FF2B5EF4-FFF2-40B4-BE49-F238E27FC236}">
                <a16:creationId xmlns:a16="http://schemas.microsoft.com/office/drawing/2014/main" id="{C702AB85-C5EF-48AA-9D16-0190425F2A97}"/>
              </a:ext>
            </a:extLst>
          </p:cNvPr>
          <p:cNvSpPr txBox="1"/>
          <p:nvPr>
            <p:custDataLst>
              <p:tags r:id="rId5"/>
            </p:custDataLst>
          </p:nvPr>
        </p:nvSpPr>
        <p:spPr>
          <a:xfrm>
            <a:off x="554735" y="6501669"/>
            <a:ext cx="6967729"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Bron: TALIS 2018</a:t>
            </a:r>
          </a:p>
        </p:txBody>
      </p:sp>
      <p:sp>
        <p:nvSpPr>
          <p:cNvPr id="3" name="TextBox 2">
            <a:extLst>
              <a:ext uri="{FF2B5EF4-FFF2-40B4-BE49-F238E27FC236}">
                <a16:creationId xmlns:a16="http://schemas.microsoft.com/office/drawing/2014/main" id="{2DC54152-098E-48D2-B42C-2DB9FE16BECC}"/>
              </a:ext>
            </a:extLst>
          </p:cNvPr>
          <p:cNvSpPr txBox="1"/>
          <p:nvPr/>
        </p:nvSpPr>
        <p:spPr>
          <a:xfrm>
            <a:off x="8095789" y="2294657"/>
            <a:ext cx="3539000" cy="3539430"/>
          </a:xfrm>
          <a:prstGeom prst="rect">
            <a:avLst/>
          </a:prstGeom>
        </p:spPr>
        <p:txBody>
          <a:bodyPr vert="horz" wrap="square" lIns="0" tIns="0" rIns="0" bIns="0" rtlCol="0" anchor="t" anchorCtr="0">
            <a:sp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2000"/>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sz="160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sz="160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sz="160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nl-NL" b="1"/>
              <a:t>Nederlandse schoolleiders besteden internationaal gezien heel weinig tijd aan les-gerelateerde zaken</a:t>
            </a:r>
          </a:p>
          <a:p>
            <a:r>
              <a:rPr lang="nl-NL"/>
              <a:t>Ze besteden vooral veel tijd aan administratie en vergaderen. </a:t>
            </a:r>
          </a:p>
          <a:p>
            <a:pPr>
              <a:buNone/>
            </a:pPr>
            <a:r>
              <a:rPr lang="nl-NL"/>
              <a:t>Dit komt door een onderwijsbeleid gericht op schaalvergroting en afrekenen, in plaats van op het sterker maken van leraren en schoolleiders</a:t>
            </a:r>
            <a:endParaRPr lang="en-US"/>
          </a:p>
        </p:txBody>
      </p:sp>
      <p:graphicFrame>
        <p:nvGraphicFramePr>
          <p:cNvPr id="183" name="Chart 182">
            <a:extLst>
              <a:ext uri="{FF2B5EF4-FFF2-40B4-BE49-F238E27FC236}">
                <a16:creationId xmlns:a16="http://schemas.microsoft.com/office/drawing/2014/main" id="{A17CD9EB-C105-45ED-B04F-4C2E06B75461}"/>
              </a:ext>
            </a:extLst>
          </p:cNvPr>
          <p:cNvGraphicFramePr/>
          <p:nvPr>
            <p:custDataLst>
              <p:tags r:id="rId6"/>
            </p:custDataLst>
          </p:nvPr>
        </p:nvGraphicFramePr>
        <p:xfrm>
          <a:off x="1465263" y="2085975"/>
          <a:ext cx="2373312" cy="3879850"/>
        </p:xfrm>
        <a:graphic>
          <a:graphicData uri="http://schemas.openxmlformats.org/drawingml/2006/chart">
            <c:chart xmlns:c="http://schemas.openxmlformats.org/drawingml/2006/chart" xmlns:r="http://schemas.openxmlformats.org/officeDocument/2006/relationships" r:id="rId75"/>
          </a:graphicData>
        </a:graphic>
      </p:graphicFrame>
      <p:sp>
        <p:nvSpPr>
          <p:cNvPr id="179" name="Text Placeholder 4">
            <a:extLst>
              <a:ext uri="{FF2B5EF4-FFF2-40B4-BE49-F238E27FC236}">
                <a16:creationId xmlns:a16="http://schemas.microsoft.com/office/drawing/2014/main" id="{4C1F3293-4EFE-461D-940D-7EE66BAE31C5}"/>
              </a:ext>
            </a:extLst>
          </p:cNvPr>
          <p:cNvSpPr>
            <a:spLocks noGrp="1"/>
          </p:cNvSpPr>
          <p:nvPr>
            <p:custDataLst>
              <p:tags r:id="rId7"/>
            </p:custDataLst>
          </p:nvPr>
        </p:nvSpPr>
        <p:spPr bwMode="gray">
          <a:xfrm>
            <a:off x="2587625" y="1973263"/>
            <a:ext cx="1301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08F5D05D-4076-4512-8114-99E55125F079}" type="datetime'''1''''5'''''''''''''''''''''">
              <a:rPr lang="en-GB" altLang="en-US" sz="1000" smtClean="0">
                <a:sym typeface="+mn-lt"/>
              </a:rPr>
              <a:pPr algn="ctr">
                <a:spcBef>
                  <a:spcPct val="0"/>
                </a:spcBef>
                <a:spcAft>
                  <a:spcPct val="0"/>
                </a:spcAft>
              </a:pPr>
              <a:t>15</a:t>
            </a:fld>
            <a:endParaRPr lang="en-GB" sz="1000">
              <a:sym typeface="+mn-lt"/>
            </a:endParaRPr>
          </a:p>
        </p:txBody>
      </p:sp>
      <p:sp>
        <p:nvSpPr>
          <p:cNvPr id="177" name="Text Placeholder 4">
            <a:extLst>
              <a:ext uri="{FF2B5EF4-FFF2-40B4-BE49-F238E27FC236}">
                <a16:creationId xmlns:a16="http://schemas.microsoft.com/office/drawing/2014/main" id="{4C1F3293-4EFE-461D-940D-7EE66BAE31C5}"/>
              </a:ext>
            </a:extLst>
          </p:cNvPr>
          <p:cNvSpPr>
            <a:spLocks noGrp="1"/>
          </p:cNvSpPr>
          <p:nvPr>
            <p:custDataLst>
              <p:tags r:id="rId8"/>
            </p:custDataLst>
          </p:nvPr>
        </p:nvSpPr>
        <p:spPr bwMode="gray">
          <a:xfrm>
            <a:off x="1884363" y="1973263"/>
            <a:ext cx="6508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D3B35703-9DCE-4B1B-BE93-4E9ECD9E6CC7}" type="datetime'''''''''''''''''''''''5'''''">
              <a:rPr lang="en-GB" altLang="en-US" sz="1000" smtClean="0">
                <a:sym typeface="+mn-lt"/>
              </a:rPr>
              <a:pPr algn="ctr">
                <a:spcBef>
                  <a:spcPct val="0"/>
                </a:spcBef>
                <a:spcAft>
                  <a:spcPct val="0"/>
                </a:spcAft>
              </a:pPr>
              <a:t>5</a:t>
            </a:fld>
            <a:endParaRPr lang="en-GB" sz="1000">
              <a:sym typeface="+mn-lt"/>
            </a:endParaRPr>
          </a:p>
        </p:txBody>
      </p:sp>
      <p:sp>
        <p:nvSpPr>
          <p:cNvPr id="180" name="Text Placeholder 4">
            <a:extLst>
              <a:ext uri="{FF2B5EF4-FFF2-40B4-BE49-F238E27FC236}">
                <a16:creationId xmlns:a16="http://schemas.microsoft.com/office/drawing/2014/main" id="{4C1F3293-4EFE-461D-940D-7EE66BAE31C5}"/>
              </a:ext>
            </a:extLst>
          </p:cNvPr>
          <p:cNvSpPr>
            <a:spLocks noGrp="1"/>
          </p:cNvSpPr>
          <p:nvPr>
            <p:custDataLst>
              <p:tags r:id="rId9"/>
            </p:custDataLst>
          </p:nvPr>
        </p:nvSpPr>
        <p:spPr bwMode="gray">
          <a:xfrm>
            <a:off x="2954338" y="1973263"/>
            <a:ext cx="1301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E01F9C67-1505-4FF7-923B-6C3F3267F557}" type="datetime'''''2''''''''''''''''''''''0'''''''''''''''''''''''">
              <a:rPr lang="en-GB" altLang="en-US" sz="1000" smtClean="0">
                <a:sym typeface="+mn-lt"/>
              </a:rPr>
              <a:pPr algn="ctr">
                <a:spcBef>
                  <a:spcPct val="0"/>
                </a:spcBef>
                <a:spcAft>
                  <a:spcPct val="0"/>
                </a:spcAft>
              </a:pPr>
              <a:t>20</a:t>
            </a:fld>
            <a:endParaRPr lang="en-GB" sz="1000">
              <a:sym typeface="+mn-lt"/>
            </a:endParaRPr>
          </a:p>
        </p:txBody>
      </p:sp>
      <p:sp>
        <p:nvSpPr>
          <p:cNvPr id="244" name="Text Placeholder 4">
            <a:extLst>
              <a:ext uri="{FF2B5EF4-FFF2-40B4-BE49-F238E27FC236}">
                <a16:creationId xmlns:a16="http://schemas.microsoft.com/office/drawing/2014/main" id="{4C1F3293-4EFE-461D-940D-7EE66BAE31C5}"/>
              </a:ext>
            </a:extLst>
          </p:cNvPr>
          <p:cNvSpPr>
            <a:spLocks noGrp="1"/>
          </p:cNvSpPr>
          <p:nvPr>
            <p:custDataLst>
              <p:tags r:id="rId10"/>
            </p:custDataLst>
          </p:nvPr>
        </p:nvSpPr>
        <p:spPr bwMode="gray">
          <a:xfrm>
            <a:off x="1516063" y="1973263"/>
            <a:ext cx="6508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C1EFAFBC-57C6-4495-A4F6-E38B35A9AEDD}" type="datetime'''''''''''0'''''''''''''''">
              <a:rPr lang="en-US" altLang="en-US" sz="1000" smtClean="0">
                <a:sym typeface="+mn-lt"/>
              </a:rPr>
              <a:pPr algn="ctr">
                <a:spcBef>
                  <a:spcPct val="0"/>
                </a:spcBef>
                <a:spcAft>
                  <a:spcPct val="0"/>
                </a:spcAft>
              </a:pPr>
              <a:t>0</a:t>
            </a:fld>
            <a:endParaRPr lang="en-US" sz="1000">
              <a:sym typeface="+mn-lt"/>
            </a:endParaRPr>
          </a:p>
        </p:txBody>
      </p:sp>
      <p:sp>
        <p:nvSpPr>
          <p:cNvPr id="178" name="Text Placeholder 4">
            <a:extLst>
              <a:ext uri="{FF2B5EF4-FFF2-40B4-BE49-F238E27FC236}">
                <a16:creationId xmlns:a16="http://schemas.microsoft.com/office/drawing/2014/main" id="{4C1F3293-4EFE-461D-940D-7EE66BAE31C5}"/>
              </a:ext>
            </a:extLst>
          </p:cNvPr>
          <p:cNvSpPr>
            <a:spLocks noGrp="1"/>
          </p:cNvSpPr>
          <p:nvPr>
            <p:custDataLst>
              <p:tags r:id="rId11"/>
            </p:custDataLst>
          </p:nvPr>
        </p:nvSpPr>
        <p:spPr bwMode="gray">
          <a:xfrm>
            <a:off x="2219325" y="1973263"/>
            <a:ext cx="1301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569399CE-DD05-4F77-863A-5C0F88D3885E}" type="datetime'''''''''''''''''''''''''''''''''''''''''''''1''0'">
              <a:rPr lang="en-GB" altLang="en-US" sz="1000" smtClean="0">
                <a:sym typeface="+mn-lt"/>
              </a:rPr>
              <a:pPr algn="ctr">
                <a:spcBef>
                  <a:spcPct val="0"/>
                </a:spcBef>
                <a:spcAft>
                  <a:spcPct val="0"/>
                </a:spcAft>
              </a:pPr>
              <a:t>10</a:t>
            </a:fld>
            <a:endParaRPr lang="en-GB" sz="1000">
              <a:sym typeface="+mn-lt"/>
            </a:endParaRPr>
          </a:p>
        </p:txBody>
      </p:sp>
      <p:sp>
        <p:nvSpPr>
          <p:cNvPr id="181" name="Text Placeholder 4">
            <a:extLst>
              <a:ext uri="{FF2B5EF4-FFF2-40B4-BE49-F238E27FC236}">
                <a16:creationId xmlns:a16="http://schemas.microsoft.com/office/drawing/2014/main" id="{4C1F3293-4EFE-461D-940D-7EE66BAE31C5}"/>
              </a:ext>
            </a:extLst>
          </p:cNvPr>
          <p:cNvSpPr>
            <a:spLocks noGrp="1"/>
          </p:cNvSpPr>
          <p:nvPr>
            <p:custDataLst>
              <p:tags r:id="rId12"/>
            </p:custDataLst>
          </p:nvPr>
        </p:nvSpPr>
        <p:spPr bwMode="gray">
          <a:xfrm>
            <a:off x="3322638" y="1973263"/>
            <a:ext cx="1301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B40AF9EB-B852-4ADF-B073-A65FF8A5699E}" type="datetime'''2''5'''">
              <a:rPr lang="en-GB" altLang="en-US" sz="1000" smtClean="0">
                <a:sym typeface="+mn-lt"/>
              </a:rPr>
              <a:pPr algn="ctr">
                <a:spcBef>
                  <a:spcPct val="0"/>
                </a:spcBef>
                <a:spcAft>
                  <a:spcPct val="0"/>
                </a:spcAft>
              </a:pPr>
              <a:t>25</a:t>
            </a:fld>
            <a:endParaRPr lang="en-GB" sz="1000">
              <a:sym typeface="+mn-lt"/>
            </a:endParaRPr>
          </a:p>
        </p:txBody>
      </p:sp>
      <p:sp>
        <p:nvSpPr>
          <p:cNvPr id="182" name="Text Placeholder 4">
            <a:extLst>
              <a:ext uri="{FF2B5EF4-FFF2-40B4-BE49-F238E27FC236}">
                <a16:creationId xmlns:a16="http://schemas.microsoft.com/office/drawing/2014/main" id="{4C1F3293-4EFE-461D-940D-7EE66BAE31C5}"/>
              </a:ext>
            </a:extLst>
          </p:cNvPr>
          <p:cNvSpPr>
            <a:spLocks noGrp="1"/>
          </p:cNvSpPr>
          <p:nvPr>
            <p:custDataLst>
              <p:tags r:id="rId13"/>
            </p:custDataLst>
          </p:nvPr>
        </p:nvSpPr>
        <p:spPr bwMode="gray">
          <a:xfrm>
            <a:off x="3690938" y="1973263"/>
            <a:ext cx="1301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CE21CB76-BAC4-4F9C-91A1-10511C5161AC}" type="datetime'''''''''''''3''''''''''''''''''''''''''0'''''''">
              <a:rPr lang="en-GB" altLang="en-US" sz="1000" smtClean="0">
                <a:sym typeface="+mn-lt"/>
              </a:rPr>
              <a:pPr algn="ctr">
                <a:spcBef>
                  <a:spcPct val="0"/>
                </a:spcBef>
                <a:spcAft>
                  <a:spcPct val="0"/>
                </a:spcAft>
              </a:pPr>
              <a:t>30</a:t>
            </a:fld>
            <a:endParaRPr lang="en-GB" sz="1000">
              <a:sym typeface="+mn-lt"/>
            </a:endParaRPr>
          </a:p>
        </p:txBody>
      </p:sp>
      <p:sp>
        <p:nvSpPr>
          <p:cNvPr id="33" name="Text Placeholder 4">
            <a:extLst>
              <a:ext uri="{FF2B5EF4-FFF2-40B4-BE49-F238E27FC236}">
                <a16:creationId xmlns:a16="http://schemas.microsoft.com/office/drawing/2014/main" id="{2A90FE94-9295-4E21-9DD0-209F98819F26}"/>
              </a:ext>
            </a:extLst>
          </p:cNvPr>
          <p:cNvSpPr>
            <a:spLocks noGrp="1"/>
          </p:cNvSpPr>
          <p:nvPr>
            <p:custDataLst>
              <p:tags r:id="rId14"/>
            </p:custDataLst>
          </p:nvPr>
        </p:nvSpPr>
        <p:spPr bwMode="auto">
          <a:xfrm>
            <a:off x="569913" y="2887663"/>
            <a:ext cx="5508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E5DDBD53-22E0-4448-870F-8150158E6D12}" type="datetime'''''Zu''i''d'''' ''''A''f''''r''''''''''''''''''''''''''''ika'">
              <a:rPr lang="en-US" altLang="en-US" sz="1000" smtClean="0"/>
              <a:pPr/>
              <a:t>Zuid Afrika</a:t>
            </a:fld>
            <a:endParaRPr lang="en-US" sz="1000">
              <a:sym typeface="+mn-lt"/>
            </a:endParaRPr>
          </a:p>
        </p:txBody>
      </p:sp>
      <p:sp>
        <p:nvSpPr>
          <p:cNvPr id="40" name="Text Placeholder 4">
            <a:extLst>
              <a:ext uri="{FF2B5EF4-FFF2-40B4-BE49-F238E27FC236}">
                <a16:creationId xmlns:a16="http://schemas.microsoft.com/office/drawing/2014/main" id="{575C093B-B9FD-44E0-85A8-72E33E0BA71D}"/>
              </a:ext>
            </a:extLst>
          </p:cNvPr>
          <p:cNvSpPr>
            <a:spLocks noGrp="1"/>
          </p:cNvSpPr>
          <p:nvPr>
            <p:custDataLst>
              <p:tags r:id="rId15"/>
            </p:custDataLst>
          </p:nvPr>
        </p:nvSpPr>
        <p:spPr bwMode="auto">
          <a:xfrm>
            <a:off x="569913" y="4125913"/>
            <a:ext cx="5381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AE2868C6-DC37-4124-B847-FD97A26FCA7C}" type="datetime'''A''''''''''''r''''''''''''''''''g''e''n''ti''''n''''ië'">
              <a:rPr lang="en-US" altLang="en-US" sz="1000" smtClean="0"/>
              <a:pPr/>
              <a:t>Argentinië</a:t>
            </a:fld>
            <a:endParaRPr lang="en-US" sz="1000">
              <a:sym typeface="+mn-lt"/>
            </a:endParaRPr>
          </a:p>
        </p:txBody>
      </p:sp>
      <p:sp>
        <p:nvSpPr>
          <p:cNvPr id="49" name="Text Placeholder 4">
            <a:extLst>
              <a:ext uri="{FF2B5EF4-FFF2-40B4-BE49-F238E27FC236}">
                <a16:creationId xmlns:a16="http://schemas.microsoft.com/office/drawing/2014/main" id="{8950E7C8-AEF8-42C5-945E-6E67DA2EC0A2}"/>
              </a:ext>
            </a:extLst>
          </p:cNvPr>
          <p:cNvSpPr>
            <a:spLocks noGrp="1"/>
          </p:cNvSpPr>
          <p:nvPr>
            <p:custDataLst>
              <p:tags r:id="rId16"/>
            </p:custDataLst>
          </p:nvPr>
        </p:nvSpPr>
        <p:spPr bwMode="auto">
          <a:xfrm>
            <a:off x="569913" y="5718175"/>
            <a:ext cx="3746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C4838F4C-6D0F-412D-8195-1DCEF748AEDD}" type="datetime'Bra''''''''''''''''''''z''''i''li''''''''ë'''''''">
              <a:rPr lang="en-US" altLang="en-US" sz="1000" smtClean="0"/>
              <a:pPr/>
              <a:t>Brazilië</a:t>
            </a:fld>
            <a:endParaRPr lang="en-US" sz="1000">
              <a:sym typeface="+mn-lt"/>
            </a:endParaRPr>
          </a:p>
        </p:txBody>
      </p:sp>
      <p:sp>
        <p:nvSpPr>
          <p:cNvPr id="14" name="Text Placeholder 4">
            <a:extLst>
              <a:ext uri="{FF2B5EF4-FFF2-40B4-BE49-F238E27FC236}">
                <a16:creationId xmlns:a16="http://schemas.microsoft.com/office/drawing/2014/main" id="{4C1F3293-4EFE-461D-940D-7EE66BAE31C5}"/>
              </a:ext>
            </a:extLst>
          </p:cNvPr>
          <p:cNvSpPr>
            <a:spLocks noGrp="1"/>
          </p:cNvSpPr>
          <p:nvPr>
            <p:custDataLst>
              <p:tags r:id="rId17"/>
            </p:custDataLst>
          </p:nvPr>
        </p:nvSpPr>
        <p:spPr bwMode="auto">
          <a:xfrm>
            <a:off x="569913" y="2179638"/>
            <a:ext cx="8636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518559EB-0497-4391-A758-70E0D5736227}" type="datetime'''''''''''''''''''Sh''ang''''''h''''ai'''' ''(''Ch''ina'')'''">
              <a:rPr lang="en-US" altLang="en-US" sz="1000" smtClean="0"/>
              <a:pPr/>
              <a:t>Shanghai (China)</a:t>
            </a:fld>
            <a:endParaRPr lang="en-US" sz="1000">
              <a:sym typeface="+mn-lt"/>
            </a:endParaRPr>
          </a:p>
        </p:txBody>
      </p:sp>
      <p:sp>
        <p:nvSpPr>
          <p:cNvPr id="43" name="Text Placeholder 4">
            <a:extLst>
              <a:ext uri="{FF2B5EF4-FFF2-40B4-BE49-F238E27FC236}">
                <a16:creationId xmlns:a16="http://schemas.microsoft.com/office/drawing/2014/main" id="{46E449EB-5780-44C7-845B-BAEDF167E212}"/>
              </a:ext>
            </a:extLst>
          </p:cNvPr>
          <p:cNvSpPr>
            <a:spLocks noGrp="1"/>
          </p:cNvSpPr>
          <p:nvPr>
            <p:custDataLst>
              <p:tags r:id="rId18"/>
            </p:custDataLst>
          </p:nvPr>
        </p:nvSpPr>
        <p:spPr bwMode="auto">
          <a:xfrm>
            <a:off x="569913" y="4656138"/>
            <a:ext cx="3460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8897F8BD-433B-43E9-BA73-84B07B672B3B}" type="datetime'''S''''''pa''''''''''''n''''''''''j''''''e'''''''''''''''''''">
              <a:rPr lang="en-US" altLang="en-US" sz="1000" smtClean="0"/>
              <a:pPr/>
              <a:t>Spanje</a:t>
            </a:fld>
            <a:endParaRPr lang="en-US" sz="1000">
              <a:sym typeface="+mn-lt"/>
            </a:endParaRPr>
          </a:p>
        </p:txBody>
      </p:sp>
      <p:sp>
        <p:nvSpPr>
          <p:cNvPr id="15" name="Text Placeholder 4">
            <a:extLst>
              <a:ext uri="{FF2B5EF4-FFF2-40B4-BE49-F238E27FC236}">
                <a16:creationId xmlns:a16="http://schemas.microsoft.com/office/drawing/2014/main" id="{4C1F3293-4EFE-461D-940D-7EE66BAE31C5}"/>
              </a:ext>
            </a:extLst>
          </p:cNvPr>
          <p:cNvSpPr>
            <a:spLocks noGrp="1"/>
          </p:cNvSpPr>
          <p:nvPr>
            <p:custDataLst>
              <p:tags r:id="rId19"/>
            </p:custDataLst>
          </p:nvPr>
        </p:nvSpPr>
        <p:spPr bwMode="auto">
          <a:xfrm>
            <a:off x="569913" y="2357438"/>
            <a:ext cx="4349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C83E3748-DC5D-4DD9-AC19-4284A8BCB16D}" type="datetime'''''''''''V''''''''''''''i''''et''''n''''''''''a''m'''''''''''">
              <a:rPr lang="en-US" altLang="en-US" sz="1000" smtClean="0"/>
              <a:pPr/>
              <a:t>Vietnam</a:t>
            </a:fld>
            <a:endParaRPr lang="en-US" sz="1000">
              <a:sym typeface="+mn-lt"/>
            </a:endParaRPr>
          </a:p>
        </p:txBody>
      </p:sp>
      <p:sp>
        <p:nvSpPr>
          <p:cNvPr id="16" name="Text Placeholder 4">
            <a:extLst>
              <a:ext uri="{FF2B5EF4-FFF2-40B4-BE49-F238E27FC236}">
                <a16:creationId xmlns:a16="http://schemas.microsoft.com/office/drawing/2014/main" id="{4C1F3293-4EFE-461D-940D-7EE66BAE31C5}"/>
              </a:ext>
            </a:extLst>
          </p:cNvPr>
          <p:cNvSpPr>
            <a:spLocks noGrp="1"/>
          </p:cNvSpPr>
          <p:nvPr>
            <p:custDataLst>
              <p:tags r:id="rId20"/>
            </p:custDataLst>
          </p:nvPr>
        </p:nvSpPr>
        <p:spPr bwMode="auto">
          <a:xfrm>
            <a:off x="569913" y="2533650"/>
            <a:ext cx="56038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0D34C42F-D282-41A8-9A44-90308BDE6DA9}" type="datetime'Zu''id''-''K''''''''o''''r''''''e''''a'''''''''''">
              <a:rPr lang="en-US" altLang="en-US" sz="1000" smtClean="0"/>
              <a:pPr/>
              <a:t>Zuid-Korea</a:t>
            </a:fld>
            <a:endParaRPr lang="en-US" sz="1000">
              <a:sym typeface="+mn-lt"/>
            </a:endParaRPr>
          </a:p>
        </p:txBody>
      </p:sp>
      <p:sp>
        <p:nvSpPr>
          <p:cNvPr id="29" name="Text Placeholder 4">
            <a:extLst>
              <a:ext uri="{FF2B5EF4-FFF2-40B4-BE49-F238E27FC236}">
                <a16:creationId xmlns:a16="http://schemas.microsoft.com/office/drawing/2014/main" id="{7BAAEAD4-3EC4-44FB-A158-FE930B664FCB}"/>
              </a:ext>
            </a:extLst>
          </p:cNvPr>
          <p:cNvSpPr>
            <a:spLocks noGrp="1"/>
          </p:cNvSpPr>
          <p:nvPr>
            <p:custDataLst>
              <p:tags r:id="rId21"/>
            </p:custDataLst>
          </p:nvPr>
        </p:nvSpPr>
        <p:spPr bwMode="auto">
          <a:xfrm>
            <a:off x="569913" y="2711450"/>
            <a:ext cx="2952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1BA46286-831E-4153-848F-9DEB98278AA9}" type="datetime'''''J''''a''p''''''''a''''''''''n'''''''''''">
              <a:rPr lang="en-US" altLang="en-US" sz="1000" smtClean="0"/>
              <a:pPr/>
              <a:t>Japan</a:t>
            </a:fld>
            <a:endParaRPr lang="en-US" sz="1000">
              <a:sym typeface="+mn-lt"/>
            </a:endParaRPr>
          </a:p>
        </p:txBody>
      </p:sp>
      <p:sp>
        <p:nvSpPr>
          <p:cNvPr id="42" name="Text Placeholder 4">
            <a:extLst>
              <a:ext uri="{FF2B5EF4-FFF2-40B4-BE49-F238E27FC236}">
                <a16:creationId xmlns:a16="http://schemas.microsoft.com/office/drawing/2014/main" id="{A77636DE-0CA9-40F2-A542-7889D0E54FD5}"/>
              </a:ext>
            </a:extLst>
          </p:cNvPr>
          <p:cNvSpPr>
            <a:spLocks noGrp="1"/>
          </p:cNvSpPr>
          <p:nvPr>
            <p:custDataLst>
              <p:tags r:id="rId22"/>
            </p:custDataLst>
          </p:nvPr>
        </p:nvSpPr>
        <p:spPr bwMode="auto">
          <a:xfrm>
            <a:off x="569913" y="4479925"/>
            <a:ext cx="3762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17D8E6FE-E79E-47FB-A10C-0939EF23B890}" type="datetime'M''''''''''''exic''''''''''''''''''''''''''o'''''''''">
              <a:rPr lang="en-US" altLang="en-US" sz="1000" smtClean="0"/>
              <a:pPr/>
              <a:t>Mexico</a:t>
            </a:fld>
            <a:endParaRPr lang="en-US" sz="1000">
              <a:sym typeface="+mn-lt"/>
            </a:endParaRPr>
          </a:p>
        </p:txBody>
      </p:sp>
      <p:sp>
        <p:nvSpPr>
          <p:cNvPr id="34" name="Text Placeholder 4">
            <a:extLst>
              <a:ext uri="{FF2B5EF4-FFF2-40B4-BE49-F238E27FC236}">
                <a16:creationId xmlns:a16="http://schemas.microsoft.com/office/drawing/2014/main" id="{75C8342A-EFB6-457D-94A6-69F5FBDA7526}"/>
              </a:ext>
            </a:extLst>
          </p:cNvPr>
          <p:cNvSpPr>
            <a:spLocks noGrp="1"/>
          </p:cNvSpPr>
          <p:nvPr>
            <p:custDataLst>
              <p:tags r:id="rId23"/>
            </p:custDataLst>
          </p:nvPr>
        </p:nvSpPr>
        <p:spPr bwMode="auto">
          <a:xfrm>
            <a:off x="569913" y="3065463"/>
            <a:ext cx="64611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A22BFA0D-44ED-4166-B649-463392C24A99}" type="datetime'''''S''''''''a''''u''di'' ''''A''''''''''''r''''''abi''''ë'''">
              <a:rPr lang="en-US" altLang="en-US" sz="1000" smtClean="0"/>
              <a:pPr/>
              <a:t>Saudi Arabië</a:t>
            </a:fld>
            <a:endParaRPr lang="en-US" sz="1000">
              <a:sym typeface="+mn-lt"/>
            </a:endParaRPr>
          </a:p>
        </p:txBody>
      </p:sp>
      <p:sp>
        <p:nvSpPr>
          <p:cNvPr id="35" name="Text Placeholder 4">
            <a:extLst>
              <a:ext uri="{FF2B5EF4-FFF2-40B4-BE49-F238E27FC236}">
                <a16:creationId xmlns:a16="http://schemas.microsoft.com/office/drawing/2014/main" id="{EB5E285B-4D0D-438F-863D-775AC078A872}"/>
              </a:ext>
            </a:extLst>
          </p:cNvPr>
          <p:cNvSpPr>
            <a:spLocks noGrp="1"/>
          </p:cNvSpPr>
          <p:nvPr>
            <p:custDataLst>
              <p:tags r:id="rId24"/>
            </p:custDataLst>
          </p:nvPr>
        </p:nvSpPr>
        <p:spPr bwMode="auto">
          <a:xfrm>
            <a:off x="569913" y="3241675"/>
            <a:ext cx="27781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F9DA6124-B4C6-40EE-BD25-BDC406FEC563}" type="datetime'''I''''''s''r''''''''''''''''''''''a''''''''''''''el'''">
              <a:rPr lang="en-US" altLang="en-US" sz="1000" smtClean="0"/>
              <a:pPr/>
              <a:t>Israel</a:t>
            </a:fld>
            <a:endParaRPr lang="en-US" sz="1000">
              <a:sym typeface="+mn-lt"/>
            </a:endParaRPr>
          </a:p>
        </p:txBody>
      </p:sp>
      <p:sp>
        <p:nvSpPr>
          <p:cNvPr id="36" name="Text Placeholder 4">
            <a:extLst>
              <a:ext uri="{FF2B5EF4-FFF2-40B4-BE49-F238E27FC236}">
                <a16:creationId xmlns:a16="http://schemas.microsoft.com/office/drawing/2014/main" id="{BED9D4C4-6F4A-42FA-A5CA-5ABDD29CB30D}"/>
              </a:ext>
            </a:extLst>
          </p:cNvPr>
          <p:cNvSpPr>
            <a:spLocks noGrp="1"/>
          </p:cNvSpPr>
          <p:nvPr>
            <p:custDataLst>
              <p:tags r:id="rId25"/>
            </p:custDataLst>
          </p:nvPr>
        </p:nvSpPr>
        <p:spPr bwMode="auto">
          <a:xfrm>
            <a:off x="569913" y="3417888"/>
            <a:ext cx="2206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ACF9B095-F56C-4892-9819-C5320C838B26}" type="datetime'''''''''C''''''''''h''''i''''''''l''''''''i'">
              <a:rPr lang="en-US" altLang="en-US" sz="1000" smtClean="0"/>
              <a:pPr/>
              <a:t>Chili</a:t>
            </a:fld>
            <a:endParaRPr lang="en-US" sz="1000">
              <a:sym typeface="+mn-lt"/>
            </a:endParaRPr>
          </a:p>
        </p:txBody>
      </p:sp>
      <p:sp>
        <p:nvSpPr>
          <p:cNvPr id="41" name="Text Placeholder 4">
            <a:extLst>
              <a:ext uri="{FF2B5EF4-FFF2-40B4-BE49-F238E27FC236}">
                <a16:creationId xmlns:a16="http://schemas.microsoft.com/office/drawing/2014/main" id="{C0E7082E-90C7-4FDF-836D-83ABB9B9C5F0}"/>
              </a:ext>
            </a:extLst>
          </p:cNvPr>
          <p:cNvSpPr>
            <a:spLocks noGrp="1"/>
          </p:cNvSpPr>
          <p:nvPr>
            <p:custDataLst>
              <p:tags r:id="rId26"/>
            </p:custDataLst>
          </p:nvPr>
        </p:nvSpPr>
        <p:spPr bwMode="auto">
          <a:xfrm>
            <a:off x="569913" y="4303713"/>
            <a:ext cx="7683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07CD84FB-837E-439F-B14B-5BCFDA4C5533}" type="datetime'''''''N''i''''e''''u''w'' ''''''Z''e''''''el''''an''''d'''''">
              <a:rPr lang="en-US" altLang="en-US" sz="1000" smtClean="0"/>
              <a:pPr/>
              <a:t>Nieuw Zeeland</a:t>
            </a:fld>
            <a:endParaRPr lang="en-US" sz="1000">
              <a:sym typeface="+mn-lt"/>
            </a:endParaRPr>
          </a:p>
        </p:txBody>
      </p:sp>
      <p:sp>
        <p:nvSpPr>
          <p:cNvPr id="37" name="Text Placeholder 4">
            <a:extLst>
              <a:ext uri="{FF2B5EF4-FFF2-40B4-BE49-F238E27FC236}">
                <a16:creationId xmlns:a16="http://schemas.microsoft.com/office/drawing/2014/main" id="{5697ABD4-F632-4628-AB17-FB629886482D}"/>
              </a:ext>
            </a:extLst>
          </p:cNvPr>
          <p:cNvSpPr>
            <a:spLocks noGrp="1"/>
          </p:cNvSpPr>
          <p:nvPr>
            <p:custDataLst>
              <p:tags r:id="rId27"/>
            </p:custDataLst>
          </p:nvPr>
        </p:nvSpPr>
        <p:spPr bwMode="auto">
          <a:xfrm>
            <a:off x="569913" y="3595688"/>
            <a:ext cx="52228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225C65A4-BF0F-4F2D-8709-38BF2A3D6259}" type="datetime'''R''''''''''oe''''me''''''''''''''ni''''''ë'''">
              <a:rPr lang="en-US" altLang="en-US" sz="1000" smtClean="0"/>
              <a:pPr/>
              <a:t>Roemenië</a:t>
            </a:fld>
            <a:endParaRPr lang="en-US" sz="1000">
              <a:sym typeface="+mn-lt"/>
            </a:endParaRPr>
          </a:p>
        </p:txBody>
      </p:sp>
      <p:sp>
        <p:nvSpPr>
          <p:cNvPr id="38" name="Text Placeholder 4">
            <a:extLst>
              <a:ext uri="{FF2B5EF4-FFF2-40B4-BE49-F238E27FC236}">
                <a16:creationId xmlns:a16="http://schemas.microsoft.com/office/drawing/2014/main" id="{06B81679-E5C1-4510-9412-54A9B436681A}"/>
              </a:ext>
            </a:extLst>
          </p:cNvPr>
          <p:cNvSpPr>
            <a:spLocks noGrp="1"/>
          </p:cNvSpPr>
          <p:nvPr>
            <p:custDataLst>
              <p:tags r:id="rId28"/>
            </p:custDataLst>
          </p:nvPr>
        </p:nvSpPr>
        <p:spPr bwMode="auto">
          <a:xfrm>
            <a:off x="569913" y="3771900"/>
            <a:ext cx="5159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E4DEEFFB-12FB-4312-A659-4A76E5732A66}" type="datetime'S''i''''n''g''a''''p''''''''''''''''''''o''''''''''''r''e'''">
              <a:rPr lang="en-US" altLang="en-US" sz="1000" smtClean="0"/>
              <a:pPr/>
              <a:t>Singapore</a:t>
            </a:fld>
            <a:endParaRPr lang="en-US" sz="1000">
              <a:sym typeface="+mn-lt"/>
            </a:endParaRPr>
          </a:p>
        </p:txBody>
      </p:sp>
      <p:sp>
        <p:nvSpPr>
          <p:cNvPr id="39" name="Text Placeholder 4">
            <a:extLst>
              <a:ext uri="{FF2B5EF4-FFF2-40B4-BE49-F238E27FC236}">
                <a16:creationId xmlns:a16="http://schemas.microsoft.com/office/drawing/2014/main" id="{9121CC40-FB52-4FD3-BCA6-D1589DE1A08C}"/>
              </a:ext>
            </a:extLst>
          </p:cNvPr>
          <p:cNvSpPr>
            <a:spLocks noGrp="1"/>
          </p:cNvSpPr>
          <p:nvPr>
            <p:custDataLst>
              <p:tags r:id="rId29"/>
            </p:custDataLst>
          </p:nvPr>
        </p:nvSpPr>
        <p:spPr bwMode="auto">
          <a:xfrm>
            <a:off x="569913" y="3949700"/>
            <a:ext cx="8667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0D0DB645-11EA-470D-AF1A-CE58C45FE7B1}" type="datetime'''''Al''b''''''''''e''''''''''rt''''''''a (''C''''''ana''da)'">
              <a:rPr lang="en-US" altLang="en-US" sz="1000" smtClean="0"/>
              <a:pPr/>
              <a:t>Alberta (Canada)</a:t>
            </a:fld>
            <a:endParaRPr lang="en-US" sz="1000">
              <a:sym typeface="+mn-lt"/>
            </a:endParaRPr>
          </a:p>
        </p:txBody>
      </p:sp>
      <p:sp>
        <p:nvSpPr>
          <p:cNvPr id="44" name="Text Placeholder 4">
            <a:extLst>
              <a:ext uri="{FF2B5EF4-FFF2-40B4-BE49-F238E27FC236}">
                <a16:creationId xmlns:a16="http://schemas.microsoft.com/office/drawing/2014/main" id="{E58A73A5-01CF-450B-92DA-BD36D4209513}"/>
              </a:ext>
            </a:extLst>
          </p:cNvPr>
          <p:cNvSpPr>
            <a:spLocks noGrp="1"/>
          </p:cNvSpPr>
          <p:nvPr>
            <p:custDataLst>
              <p:tags r:id="rId30"/>
            </p:custDataLst>
          </p:nvPr>
        </p:nvSpPr>
        <p:spPr bwMode="auto">
          <a:xfrm>
            <a:off x="569913" y="4833938"/>
            <a:ext cx="25558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C570E350-A84E-46E5-8AFC-41D4AB1C18BB}" type="datetime'''I''''''''t''''''''''''''''''''a''lië'">
              <a:rPr lang="en-US" altLang="en-US" sz="1000" smtClean="0"/>
              <a:pPr/>
              <a:t>Italië</a:t>
            </a:fld>
            <a:endParaRPr lang="en-US" sz="1000">
              <a:sym typeface="+mn-lt"/>
            </a:endParaRPr>
          </a:p>
        </p:txBody>
      </p:sp>
      <p:sp>
        <p:nvSpPr>
          <p:cNvPr id="45" name="Text Placeholder 4">
            <a:extLst>
              <a:ext uri="{FF2B5EF4-FFF2-40B4-BE49-F238E27FC236}">
                <a16:creationId xmlns:a16="http://schemas.microsoft.com/office/drawing/2014/main" id="{CF9B6A87-6BDD-4313-8A43-FD7F24573367}"/>
              </a:ext>
            </a:extLst>
          </p:cNvPr>
          <p:cNvSpPr>
            <a:spLocks noGrp="1"/>
          </p:cNvSpPr>
          <p:nvPr>
            <p:custDataLst>
              <p:tags r:id="rId31"/>
            </p:custDataLst>
          </p:nvPr>
        </p:nvSpPr>
        <p:spPr bwMode="auto">
          <a:xfrm>
            <a:off x="569913" y="5010150"/>
            <a:ext cx="3000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C37BD8FE-E484-45C1-9774-F0A3BB3D8683}" type="datetime'''''''M''''a''l''''''''''''''''''t''''''''''''''a'''''''">
              <a:rPr lang="en-US" altLang="en-US" sz="1000" smtClean="0"/>
              <a:pPr/>
              <a:t>Malta</a:t>
            </a:fld>
            <a:endParaRPr lang="en-US" sz="1000">
              <a:sym typeface="+mn-lt"/>
            </a:endParaRPr>
          </a:p>
        </p:txBody>
      </p:sp>
      <p:sp>
        <p:nvSpPr>
          <p:cNvPr id="46" name="Text Placeholder 4">
            <a:extLst>
              <a:ext uri="{FF2B5EF4-FFF2-40B4-BE49-F238E27FC236}">
                <a16:creationId xmlns:a16="http://schemas.microsoft.com/office/drawing/2014/main" id="{A9983AE2-3E9C-40B0-A7E4-73AD68CB2849}"/>
              </a:ext>
            </a:extLst>
          </p:cNvPr>
          <p:cNvSpPr>
            <a:spLocks noGrp="1"/>
          </p:cNvSpPr>
          <p:nvPr>
            <p:custDataLst>
              <p:tags r:id="rId32"/>
            </p:custDataLst>
          </p:nvPr>
        </p:nvSpPr>
        <p:spPr bwMode="auto">
          <a:xfrm>
            <a:off x="569913" y="5187950"/>
            <a:ext cx="8921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6D3D2F29-61A8-404A-9A35-DE64A2E7EFDD}" type="datetime'V''e''''''re''''ni''gd''''e ''''''''Sta''t''''''e''''''n'''''">
              <a:rPr lang="en-US" altLang="en-US" sz="1000" smtClean="0"/>
              <a:pPr/>
              <a:t>Verenigde Staten</a:t>
            </a:fld>
            <a:endParaRPr lang="en-US" sz="1000">
              <a:sym typeface="+mn-lt"/>
            </a:endParaRPr>
          </a:p>
        </p:txBody>
      </p:sp>
      <p:sp>
        <p:nvSpPr>
          <p:cNvPr id="47" name="Text Placeholder 4">
            <a:extLst>
              <a:ext uri="{FF2B5EF4-FFF2-40B4-BE49-F238E27FC236}">
                <a16:creationId xmlns:a16="http://schemas.microsoft.com/office/drawing/2014/main" id="{1206FE71-C57B-44E0-87B3-A49EC8D82844}"/>
              </a:ext>
            </a:extLst>
          </p:cNvPr>
          <p:cNvSpPr>
            <a:spLocks noGrp="1"/>
          </p:cNvSpPr>
          <p:nvPr>
            <p:custDataLst>
              <p:tags r:id="rId33"/>
            </p:custDataLst>
          </p:nvPr>
        </p:nvSpPr>
        <p:spPr bwMode="auto">
          <a:xfrm>
            <a:off x="569913" y="5364163"/>
            <a:ext cx="4524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83A66AEE-BF0E-4D77-82A8-93CF99A9D1C5}" type="datetime'''Bu''''l''''''ga''''''''''''''''''r''i''j''''''''''''''e'''">
              <a:rPr lang="en-US" altLang="en-US" sz="1000" smtClean="0"/>
              <a:pPr/>
              <a:t>Bulgarije</a:t>
            </a:fld>
            <a:endParaRPr lang="en-US" sz="1000">
              <a:sym typeface="+mn-lt"/>
            </a:endParaRPr>
          </a:p>
        </p:txBody>
      </p:sp>
      <p:sp>
        <p:nvSpPr>
          <p:cNvPr id="48" name="Text Placeholder 4">
            <a:extLst>
              <a:ext uri="{FF2B5EF4-FFF2-40B4-BE49-F238E27FC236}">
                <a16:creationId xmlns:a16="http://schemas.microsoft.com/office/drawing/2014/main" id="{60D7A7E0-A6D2-4853-AAEB-64BD5F9BEEE5}"/>
              </a:ext>
            </a:extLst>
          </p:cNvPr>
          <p:cNvSpPr>
            <a:spLocks noGrp="1"/>
          </p:cNvSpPr>
          <p:nvPr>
            <p:custDataLst>
              <p:tags r:id="rId34"/>
            </p:custDataLst>
          </p:nvPr>
        </p:nvSpPr>
        <p:spPr bwMode="auto">
          <a:xfrm>
            <a:off x="569913" y="5541963"/>
            <a:ext cx="4476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CB2DBC5D-102B-44A9-991E-A70A6543CC81}" type="datetime'''''''''''''F''''''''''r''a''nk''''''ri''''''''''jk'''">
              <a:rPr lang="en-US" altLang="en-US" sz="1000" smtClean="0"/>
              <a:pPr/>
              <a:t>Frankrijk</a:t>
            </a:fld>
            <a:endParaRPr lang="en-US" sz="1000">
              <a:sym typeface="+mn-lt"/>
            </a:endParaRPr>
          </a:p>
        </p:txBody>
      </p:sp>
      <p:graphicFrame>
        <p:nvGraphicFramePr>
          <p:cNvPr id="75" name="Chart 74">
            <a:extLst>
              <a:ext uri="{FF2B5EF4-FFF2-40B4-BE49-F238E27FC236}">
                <a16:creationId xmlns:a16="http://schemas.microsoft.com/office/drawing/2014/main" id="{DF10DDB2-E354-4617-B544-AF6A69A3F308}"/>
              </a:ext>
            </a:extLst>
          </p:cNvPr>
          <p:cNvGraphicFramePr/>
          <p:nvPr>
            <p:custDataLst>
              <p:tags r:id="rId35"/>
            </p:custDataLst>
          </p:nvPr>
        </p:nvGraphicFramePr>
        <p:xfrm>
          <a:off x="4957763" y="2085975"/>
          <a:ext cx="2373312" cy="3879850"/>
        </p:xfrm>
        <a:graphic>
          <a:graphicData uri="http://schemas.openxmlformats.org/drawingml/2006/chart">
            <c:chart xmlns:c="http://schemas.openxmlformats.org/drawingml/2006/chart" xmlns:r="http://schemas.openxmlformats.org/officeDocument/2006/relationships" r:id="rId76"/>
          </a:graphicData>
        </a:graphic>
      </p:graphicFrame>
      <p:sp>
        <p:nvSpPr>
          <p:cNvPr id="258" name="Text Placeholder 4">
            <a:extLst>
              <a:ext uri="{FF2B5EF4-FFF2-40B4-BE49-F238E27FC236}">
                <a16:creationId xmlns:a16="http://schemas.microsoft.com/office/drawing/2014/main" id="{4C1F3293-4EFE-461D-940D-7EE66BAE31C5}"/>
              </a:ext>
            </a:extLst>
          </p:cNvPr>
          <p:cNvSpPr>
            <a:spLocks noGrp="1"/>
          </p:cNvSpPr>
          <p:nvPr>
            <p:custDataLst>
              <p:tags r:id="rId36"/>
            </p:custDataLst>
          </p:nvPr>
        </p:nvSpPr>
        <p:spPr bwMode="gray">
          <a:xfrm>
            <a:off x="5008563" y="1973263"/>
            <a:ext cx="6508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98F2FB2C-F761-4175-8594-5A1ACBD1DBA4}" type="datetime'''''''''''''''''''''''''''0'''''''''''''''''''">
              <a:rPr lang="en-US" altLang="en-US" sz="1000" smtClean="0">
                <a:sym typeface="+mn-lt"/>
              </a:rPr>
              <a:pPr algn="ctr">
                <a:spcBef>
                  <a:spcPct val="0"/>
                </a:spcBef>
                <a:spcAft>
                  <a:spcPct val="0"/>
                </a:spcAft>
              </a:pPr>
              <a:t>0</a:t>
            </a:fld>
            <a:endParaRPr lang="en-US" sz="1000">
              <a:sym typeface="+mn-lt"/>
            </a:endParaRPr>
          </a:p>
        </p:txBody>
      </p:sp>
      <p:sp>
        <p:nvSpPr>
          <p:cNvPr id="188" name="Text Placeholder 4">
            <a:extLst>
              <a:ext uri="{FF2B5EF4-FFF2-40B4-BE49-F238E27FC236}">
                <a16:creationId xmlns:a16="http://schemas.microsoft.com/office/drawing/2014/main" id="{4C1F3293-4EFE-461D-940D-7EE66BAE31C5}"/>
              </a:ext>
            </a:extLst>
          </p:cNvPr>
          <p:cNvSpPr>
            <a:spLocks noGrp="1"/>
          </p:cNvSpPr>
          <p:nvPr>
            <p:custDataLst>
              <p:tags r:id="rId37"/>
            </p:custDataLst>
          </p:nvPr>
        </p:nvSpPr>
        <p:spPr bwMode="gray">
          <a:xfrm>
            <a:off x="5989638" y="1973263"/>
            <a:ext cx="6508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B9F71DC3-49F9-4203-8F8C-59B2D93606E9}" type="datetime'''''''''''''''''''''''''''''''''''''''8'''''''''''''''''''">
              <a:rPr lang="en-GB" altLang="en-US" sz="1000" smtClean="0">
                <a:sym typeface="+mn-lt"/>
              </a:rPr>
              <a:pPr algn="ctr">
                <a:spcBef>
                  <a:spcPct val="0"/>
                </a:spcBef>
                <a:spcAft>
                  <a:spcPct val="0"/>
                </a:spcAft>
              </a:pPr>
              <a:t>8</a:t>
            </a:fld>
            <a:endParaRPr lang="en-GB" sz="1000">
              <a:sym typeface="+mn-lt"/>
            </a:endParaRPr>
          </a:p>
        </p:txBody>
      </p:sp>
      <p:sp>
        <p:nvSpPr>
          <p:cNvPr id="186" name="Text Placeholder 4">
            <a:extLst>
              <a:ext uri="{FF2B5EF4-FFF2-40B4-BE49-F238E27FC236}">
                <a16:creationId xmlns:a16="http://schemas.microsoft.com/office/drawing/2014/main" id="{4C1F3293-4EFE-461D-940D-7EE66BAE31C5}"/>
              </a:ext>
            </a:extLst>
          </p:cNvPr>
          <p:cNvSpPr>
            <a:spLocks noGrp="1"/>
          </p:cNvSpPr>
          <p:nvPr>
            <p:custDataLst>
              <p:tags r:id="rId38"/>
            </p:custDataLst>
          </p:nvPr>
        </p:nvSpPr>
        <p:spPr bwMode="gray">
          <a:xfrm>
            <a:off x="5499100" y="1973263"/>
            <a:ext cx="6508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38A8569B-D0FD-4978-A70B-FB6939644882}" type="datetime'''''''''''''''''''''''''''''''''''''''''''''4'''''">
              <a:rPr lang="en-GB" altLang="en-US" sz="1000" smtClean="0">
                <a:sym typeface="+mn-lt"/>
              </a:rPr>
              <a:pPr algn="ctr">
                <a:spcBef>
                  <a:spcPct val="0"/>
                </a:spcBef>
                <a:spcAft>
                  <a:spcPct val="0"/>
                </a:spcAft>
              </a:pPr>
              <a:t>4</a:t>
            </a:fld>
            <a:endParaRPr lang="en-GB" sz="1000">
              <a:sym typeface="+mn-lt"/>
            </a:endParaRPr>
          </a:p>
        </p:txBody>
      </p:sp>
      <p:sp>
        <p:nvSpPr>
          <p:cNvPr id="185" name="Text Placeholder 4">
            <a:extLst>
              <a:ext uri="{FF2B5EF4-FFF2-40B4-BE49-F238E27FC236}">
                <a16:creationId xmlns:a16="http://schemas.microsoft.com/office/drawing/2014/main" id="{4C1F3293-4EFE-461D-940D-7EE66BAE31C5}"/>
              </a:ext>
            </a:extLst>
          </p:cNvPr>
          <p:cNvSpPr>
            <a:spLocks noGrp="1"/>
          </p:cNvSpPr>
          <p:nvPr>
            <p:custDataLst>
              <p:tags r:id="rId39"/>
            </p:custDataLst>
          </p:nvPr>
        </p:nvSpPr>
        <p:spPr bwMode="gray">
          <a:xfrm>
            <a:off x="5254625" y="1973263"/>
            <a:ext cx="6508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96D3A77E-3C47-46E8-8E95-0A77C62A2FD3}" type="datetime'''''''''''''''''''''2'''''''''''''''''''''''">
              <a:rPr lang="en-GB" altLang="en-US" sz="1000" smtClean="0">
                <a:sym typeface="+mn-lt"/>
              </a:rPr>
              <a:pPr algn="ctr">
                <a:spcBef>
                  <a:spcPct val="0"/>
                </a:spcBef>
                <a:spcAft>
                  <a:spcPct val="0"/>
                </a:spcAft>
              </a:pPr>
              <a:t>2</a:t>
            </a:fld>
            <a:endParaRPr lang="en-GB" sz="1000">
              <a:sym typeface="+mn-lt"/>
            </a:endParaRPr>
          </a:p>
        </p:txBody>
      </p:sp>
      <p:sp>
        <p:nvSpPr>
          <p:cNvPr id="187" name="Text Placeholder 4">
            <a:extLst>
              <a:ext uri="{FF2B5EF4-FFF2-40B4-BE49-F238E27FC236}">
                <a16:creationId xmlns:a16="http://schemas.microsoft.com/office/drawing/2014/main" id="{4C1F3293-4EFE-461D-940D-7EE66BAE31C5}"/>
              </a:ext>
            </a:extLst>
          </p:cNvPr>
          <p:cNvSpPr>
            <a:spLocks noGrp="1"/>
          </p:cNvSpPr>
          <p:nvPr>
            <p:custDataLst>
              <p:tags r:id="rId40"/>
            </p:custDataLst>
          </p:nvPr>
        </p:nvSpPr>
        <p:spPr bwMode="gray">
          <a:xfrm>
            <a:off x="5745163" y="1973263"/>
            <a:ext cx="6508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8985E73E-97E2-4D51-84E5-DE9489197B59}" type="datetime'''''''''''''''''''6'">
              <a:rPr lang="en-GB" altLang="en-US" sz="1000" smtClean="0">
                <a:sym typeface="+mn-lt"/>
              </a:rPr>
              <a:pPr algn="ctr">
                <a:spcBef>
                  <a:spcPct val="0"/>
                </a:spcBef>
                <a:spcAft>
                  <a:spcPct val="0"/>
                </a:spcAft>
              </a:pPr>
              <a:t>6</a:t>
            </a:fld>
            <a:endParaRPr lang="en-GB" sz="1000">
              <a:sym typeface="+mn-lt"/>
            </a:endParaRPr>
          </a:p>
        </p:txBody>
      </p:sp>
      <p:sp>
        <p:nvSpPr>
          <p:cNvPr id="190" name="Text Placeholder 4">
            <a:extLst>
              <a:ext uri="{FF2B5EF4-FFF2-40B4-BE49-F238E27FC236}">
                <a16:creationId xmlns:a16="http://schemas.microsoft.com/office/drawing/2014/main" id="{4C1F3293-4EFE-461D-940D-7EE66BAE31C5}"/>
              </a:ext>
            </a:extLst>
          </p:cNvPr>
          <p:cNvSpPr>
            <a:spLocks noGrp="1"/>
          </p:cNvSpPr>
          <p:nvPr>
            <p:custDataLst>
              <p:tags r:id="rId41"/>
            </p:custDataLst>
          </p:nvPr>
        </p:nvSpPr>
        <p:spPr bwMode="gray">
          <a:xfrm>
            <a:off x="6446838" y="1973263"/>
            <a:ext cx="1301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D84851D9-584C-42D9-93ED-2C171133F4CD}" type="datetime'''''''''''1''''''''''''''''''2'''''''''''''''''''''''">
              <a:rPr lang="en-GB" altLang="en-US" sz="1000" smtClean="0">
                <a:sym typeface="+mn-lt"/>
              </a:rPr>
              <a:pPr algn="ctr">
                <a:spcBef>
                  <a:spcPct val="0"/>
                </a:spcBef>
                <a:spcAft>
                  <a:spcPct val="0"/>
                </a:spcAft>
              </a:pPr>
              <a:t>12</a:t>
            </a:fld>
            <a:endParaRPr lang="en-GB" sz="1000">
              <a:sym typeface="+mn-lt"/>
            </a:endParaRPr>
          </a:p>
        </p:txBody>
      </p:sp>
      <p:sp>
        <p:nvSpPr>
          <p:cNvPr id="189" name="Text Placeholder 4">
            <a:extLst>
              <a:ext uri="{FF2B5EF4-FFF2-40B4-BE49-F238E27FC236}">
                <a16:creationId xmlns:a16="http://schemas.microsoft.com/office/drawing/2014/main" id="{4C1F3293-4EFE-461D-940D-7EE66BAE31C5}"/>
              </a:ext>
            </a:extLst>
          </p:cNvPr>
          <p:cNvSpPr>
            <a:spLocks noGrp="1"/>
          </p:cNvSpPr>
          <p:nvPr>
            <p:custDataLst>
              <p:tags r:id="rId42"/>
            </p:custDataLst>
          </p:nvPr>
        </p:nvSpPr>
        <p:spPr bwMode="gray">
          <a:xfrm>
            <a:off x="6202363" y="1973263"/>
            <a:ext cx="1301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836D3155-ED82-41A4-920A-E6D1BE8F376A}" type="datetime'1''''''''''''''0'''''''''''''''">
              <a:rPr lang="en-GB" altLang="en-US" sz="1000" smtClean="0">
                <a:sym typeface="+mn-lt"/>
              </a:rPr>
              <a:pPr algn="ctr">
                <a:spcBef>
                  <a:spcPct val="0"/>
                </a:spcBef>
                <a:spcAft>
                  <a:spcPct val="0"/>
                </a:spcAft>
              </a:pPr>
              <a:t>10</a:t>
            </a:fld>
            <a:endParaRPr lang="en-GB" sz="1000">
              <a:sym typeface="+mn-lt"/>
            </a:endParaRPr>
          </a:p>
        </p:txBody>
      </p:sp>
      <p:sp>
        <p:nvSpPr>
          <p:cNvPr id="191" name="Text Placeholder 4">
            <a:extLst>
              <a:ext uri="{FF2B5EF4-FFF2-40B4-BE49-F238E27FC236}">
                <a16:creationId xmlns:a16="http://schemas.microsoft.com/office/drawing/2014/main" id="{4C1F3293-4EFE-461D-940D-7EE66BAE31C5}"/>
              </a:ext>
            </a:extLst>
          </p:cNvPr>
          <p:cNvSpPr>
            <a:spLocks noGrp="1"/>
          </p:cNvSpPr>
          <p:nvPr>
            <p:custDataLst>
              <p:tags r:id="rId43"/>
            </p:custDataLst>
          </p:nvPr>
        </p:nvSpPr>
        <p:spPr bwMode="gray">
          <a:xfrm>
            <a:off x="6692900" y="1973263"/>
            <a:ext cx="1301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A13C81F3-00E0-4C87-8E82-9990FF52AE94}" type="datetime'''''''1''''''''4'''''''''''''">
              <a:rPr lang="en-GB" altLang="en-US" sz="1000" smtClean="0">
                <a:sym typeface="+mn-lt"/>
              </a:rPr>
              <a:pPr algn="ctr">
                <a:spcBef>
                  <a:spcPct val="0"/>
                </a:spcBef>
                <a:spcAft>
                  <a:spcPct val="0"/>
                </a:spcAft>
              </a:pPr>
              <a:t>14</a:t>
            </a:fld>
            <a:endParaRPr lang="en-GB" sz="1000">
              <a:sym typeface="+mn-lt"/>
            </a:endParaRPr>
          </a:p>
        </p:txBody>
      </p:sp>
      <p:sp>
        <p:nvSpPr>
          <p:cNvPr id="192" name="Text Placeholder 4">
            <a:extLst>
              <a:ext uri="{FF2B5EF4-FFF2-40B4-BE49-F238E27FC236}">
                <a16:creationId xmlns:a16="http://schemas.microsoft.com/office/drawing/2014/main" id="{4C1F3293-4EFE-461D-940D-7EE66BAE31C5}"/>
              </a:ext>
            </a:extLst>
          </p:cNvPr>
          <p:cNvSpPr>
            <a:spLocks noGrp="1"/>
          </p:cNvSpPr>
          <p:nvPr>
            <p:custDataLst>
              <p:tags r:id="rId44"/>
            </p:custDataLst>
          </p:nvPr>
        </p:nvSpPr>
        <p:spPr bwMode="gray">
          <a:xfrm>
            <a:off x="6937375" y="1973263"/>
            <a:ext cx="1301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F6F6117D-093C-4A54-9A21-DBE545377B44}" type="datetime'''''''1''''''''''''''''''''''''''''''''''''''''''''''''''6'">
              <a:rPr lang="en-GB" altLang="en-US" sz="1000" smtClean="0">
                <a:sym typeface="+mn-lt"/>
              </a:rPr>
              <a:pPr algn="ctr">
                <a:spcBef>
                  <a:spcPct val="0"/>
                </a:spcBef>
                <a:spcAft>
                  <a:spcPct val="0"/>
                </a:spcAft>
              </a:pPr>
              <a:t>16</a:t>
            </a:fld>
            <a:endParaRPr lang="en-GB" sz="1000">
              <a:sym typeface="+mn-lt"/>
            </a:endParaRPr>
          </a:p>
        </p:txBody>
      </p:sp>
      <p:sp>
        <p:nvSpPr>
          <p:cNvPr id="193" name="Text Placeholder 4">
            <a:extLst>
              <a:ext uri="{FF2B5EF4-FFF2-40B4-BE49-F238E27FC236}">
                <a16:creationId xmlns:a16="http://schemas.microsoft.com/office/drawing/2014/main" id="{4C1F3293-4EFE-461D-940D-7EE66BAE31C5}"/>
              </a:ext>
            </a:extLst>
          </p:cNvPr>
          <p:cNvSpPr>
            <a:spLocks noGrp="1"/>
          </p:cNvSpPr>
          <p:nvPr>
            <p:custDataLst>
              <p:tags r:id="rId45"/>
            </p:custDataLst>
          </p:nvPr>
        </p:nvSpPr>
        <p:spPr bwMode="gray">
          <a:xfrm>
            <a:off x="7183438" y="1973263"/>
            <a:ext cx="1301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0BB9D782-B02F-480B-BD86-7323ED6D157D}" type="datetime'''''''''''''''''1''''''''''''''''''''''8'''''''''''''''''">
              <a:rPr lang="en-GB" altLang="en-US" sz="1000" smtClean="0">
                <a:sym typeface="+mn-lt"/>
              </a:rPr>
              <a:pPr algn="ctr">
                <a:spcBef>
                  <a:spcPct val="0"/>
                </a:spcBef>
                <a:spcAft>
                  <a:spcPct val="0"/>
                </a:spcAft>
              </a:pPr>
              <a:t>18</a:t>
            </a:fld>
            <a:endParaRPr lang="en-GB" sz="1000">
              <a:sym typeface="+mn-lt"/>
            </a:endParaRPr>
          </a:p>
        </p:txBody>
      </p:sp>
      <p:sp>
        <p:nvSpPr>
          <p:cNvPr id="207" name="Text Placeholder 4">
            <a:extLst>
              <a:ext uri="{FF2B5EF4-FFF2-40B4-BE49-F238E27FC236}">
                <a16:creationId xmlns:a16="http://schemas.microsoft.com/office/drawing/2014/main" id="{10549F09-6938-49DC-BDB0-6DE07BC08DC9}"/>
              </a:ext>
            </a:extLst>
          </p:cNvPr>
          <p:cNvSpPr>
            <a:spLocks noGrp="1"/>
          </p:cNvSpPr>
          <p:nvPr>
            <p:custDataLst>
              <p:tags r:id="rId46"/>
            </p:custDataLst>
          </p:nvPr>
        </p:nvSpPr>
        <p:spPr bwMode="auto">
          <a:xfrm>
            <a:off x="4289425" y="5010150"/>
            <a:ext cx="406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53035941-5E2D-4AA5-B1D4-7E236CF6DE4F}" type="datetime'''''R''''''''us''''''''''''''''''''''''''''''la''''''n''''d'">
              <a:rPr lang="en-US" altLang="en-US" sz="1000" smtClean="0"/>
              <a:pPr/>
              <a:t>Rusland</a:t>
            </a:fld>
            <a:endParaRPr lang="en-US" sz="1000">
              <a:sym typeface="+mn-lt"/>
            </a:endParaRPr>
          </a:p>
        </p:txBody>
      </p:sp>
      <p:sp>
        <p:nvSpPr>
          <p:cNvPr id="221" name="Text Placeholder 4">
            <a:extLst>
              <a:ext uri="{FF2B5EF4-FFF2-40B4-BE49-F238E27FC236}">
                <a16:creationId xmlns:a16="http://schemas.microsoft.com/office/drawing/2014/main" id="{F6113CCB-1C24-44D1-A04B-FB3A15BC04E2}"/>
              </a:ext>
            </a:extLst>
          </p:cNvPr>
          <p:cNvSpPr>
            <a:spLocks noGrp="1"/>
          </p:cNvSpPr>
          <p:nvPr>
            <p:custDataLst>
              <p:tags r:id="rId47"/>
            </p:custDataLst>
          </p:nvPr>
        </p:nvSpPr>
        <p:spPr bwMode="auto">
          <a:xfrm>
            <a:off x="4289425" y="4479925"/>
            <a:ext cx="3762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315FD35A-CBEF-49BA-96B2-F7F0DE6B8B6C}" type="datetime'''''F''''''i''''''''''''''n''''l''''an''''''''''''''d'''">
              <a:rPr lang="en-US" altLang="en-US" sz="1000" smtClean="0"/>
              <a:pPr/>
              <a:t>Finland</a:t>
            </a:fld>
            <a:endParaRPr lang="en-US" sz="1000">
              <a:sym typeface="+mn-lt"/>
            </a:endParaRPr>
          </a:p>
        </p:txBody>
      </p:sp>
      <p:sp>
        <p:nvSpPr>
          <p:cNvPr id="196" name="Text Placeholder 4">
            <a:extLst>
              <a:ext uri="{FF2B5EF4-FFF2-40B4-BE49-F238E27FC236}">
                <a16:creationId xmlns:a16="http://schemas.microsoft.com/office/drawing/2014/main" id="{DF3F8CE4-64D1-4A13-A402-D7761EF81149}"/>
              </a:ext>
            </a:extLst>
          </p:cNvPr>
          <p:cNvSpPr>
            <a:spLocks noGrp="1"/>
          </p:cNvSpPr>
          <p:nvPr>
            <p:custDataLst>
              <p:tags r:id="rId48"/>
            </p:custDataLst>
          </p:nvPr>
        </p:nvSpPr>
        <p:spPr bwMode="auto">
          <a:xfrm>
            <a:off x="4289425" y="3065463"/>
            <a:ext cx="4873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11943092-91A3-4361-9422-16F002D54D8A}" type="datetime'''Col''o''''''''''''''''''''''''''''''m''b''''i''''a'">
              <a:rPr lang="en-US" altLang="en-US" sz="1000" smtClean="0"/>
              <a:pPr/>
              <a:t>Colombia</a:t>
            </a:fld>
            <a:endParaRPr lang="en-US" sz="1000">
              <a:sym typeface="+mn-lt"/>
            </a:endParaRPr>
          </a:p>
        </p:txBody>
      </p:sp>
      <p:sp>
        <p:nvSpPr>
          <p:cNvPr id="184" name="Text Placeholder 4">
            <a:extLst>
              <a:ext uri="{FF2B5EF4-FFF2-40B4-BE49-F238E27FC236}">
                <a16:creationId xmlns:a16="http://schemas.microsoft.com/office/drawing/2014/main" id="{C2D6ADC5-ECEF-428A-9CC8-175468FCF670}"/>
              </a:ext>
            </a:extLst>
          </p:cNvPr>
          <p:cNvSpPr>
            <a:spLocks noGrp="1"/>
          </p:cNvSpPr>
          <p:nvPr>
            <p:custDataLst>
              <p:tags r:id="rId49"/>
            </p:custDataLst>
          </p:nvPr>
        </p:nvSpPr>
        <p:spPr bwMode="auto">
          <a:xfrm>
            <a:off x="4289425" y="2179638"/>
            <a:ext cx="4794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F09E377D-082B-47F3-9AAA-E7B1C407E30E}" type="datetime'''''L''''''''''''''''''''''it''''o''uw''''''''''en'''''''''''">
              <a:rPr lang="en-US" altLang="en-US" sz="1000" smtClean="0"/>
              <a:pPr/>
              <a:t>Litouwen</a:t>
            </a:fld>
            <a:endParaRPr lang="en-US" sz="1000">
              <a:sym typeface="+mn-lt"/>
            </a:endParaRPr>
          </a:p>
        </p:txBody>
      </p:sp>
      <p:sp>
        <p:nvSpPr>
          <p:cNvPr id="206" name="Text Placeholder 4">
            <a:extLst>
              <a:ext uri="{FF2B5EF4-FFF2-40B4-BE49-F238E27FC236}">
                <a16:creationId xmlns:a16="http://schemas.microsoft.com/office/drawing/2014/main" id="{4A0074E6-8B00-4095-90FF-B0B654DD6C3F}"/>
              </a:ext>
            </a:extLst>
          </p:cNvPr>
          <p:cNvSpPr>
            <a:spLocks noGrp="1"/>
          </p:cNvSpPr>
          <p:nvPr>
            <p:custDataLst>
              <p:tags r:id="rId50"/>
            </p:custDataLst>
          </p:nvPr>
        </p:nvSpPr>
        <p:spPr bwMode="auto">
          <a:xfrm>
            <a:off x="4289425" y="2357438"/>
            <a:ext cx="48418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E9900A84-E3C6-4379-9DAC-A7A28C9D66A2}" type="datetime'''''S''''''''''''l''''o''''w''ak''''''i''j''''e'''''''''''''''">
              <a:rPr lang="en-US" altLang="en-US" sz="1000" smtClean="0"/>
              <a:pPr/>
              <a:t>Slowakije</a:t>
            </a:fld>
            <a:endParaRPr lang="en-US" sz="1000">
              <a:sym typeface="+mn-lt"/>
            </a:endParaRPr>
          </a:p>
        </p:txBody>
      </p:sp>
      <p:sp>
        <p:nvSpPr>
          <p:cNvPr id="208" name="Text Placeholder 4">
            <a:extLst>
              <a:ext uri="{FF2B5EF4-FFF2-40B4-BE49-F238E27FC236}">
                <a16:creationId xmlns:a16="http://schemas.microsoft.com/office/drawing/2014/main" id="{E2F023FB-883D-4145-A378-2E5CA82DF7E7}"/>
              </a:ext>
            </a:extLst>
          </p:cNvPr>
          <p:cNvSpPr>
            <a:spLocks noGrp="1"/>
          </p:cNvSpPr>
          <p:nvPr>
            <p:custDataLst>
              <p:tags r:id="rId51"/>
            </p:custDataLst>
          </p:nvPr>
        </p:nvSpPr>
        <p:spPr bwMode="auto">
          <a:xfrm>
            <a:off x="4289425" y="2533650"/>
            <a:ext cx="3730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91E26CA6-9B60-4762-80A1-1D6FCD19107D}" type="datetime'''''''''K''''''''r''''o''''a''''''''ti''''''''''''''ë'''">
              <a:rPr lang="en-US" altLang="en-US" sz="1000" smtClean="0"/>
              <a:pPr/>
              <a:t>Kroatië</a:t>
            </a:fld>
            <a:endParaRPr lang="en-US" sz="1000">
              <a:sym typeface="+mn-lt"/>
            </a:endParaRPr>
          </a:p>
        </p:txBody>
      </p:sp>
      <p:sp>
        <p:nvSpPr>
          <p:cNvPr id="214" name="Text Placeholder 4">
            <a:extLst>
              <a:ext uri="{FF2B5EF4-FFF2-40B4-BE49-F238E27FC236}">
                <a16:creationId xmlns:a16="http://schemas.microsoft.com/office/drawing/2014/main" id="{184F7179-F6FE-4606-A752-2DA5A1F13B74}"/>
              </a:ext>
            </a:extLst>
          </p:cNvPr>
          <p:cNvSpPr>
            <a:spLocks noGrp="1"/>
          </p:cNvSpPr>
          <p:nvPr>
            <p:custDataLst>
              <p:tags r:id="rId52"/>
            </p:custDataLst>
          </p:nvPr>
        </p:nvSpPr>
        <p:spPr bwMode="auto">
          <a:xfrm>
            <a:off x="4289425" y="3595688"/>
            <a:ext cx="5000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F4613E6A-7309-469D-B4CF-987A6F2E0D41}" type="datetime'''''H''o''n''''g''''a''''''''''''''''r''''i''''''j''''''''e'">
              <a:rPr lang="en-US" altLang="en-US" sz="1000" smtClean="0"/>
              <a:pPr/>
              <a:t>Hongarije</a:t>
            </a:fld>
            <a:endParaRPr lang="en-US" sz="1000">
              <a:sym typeface="+mn-lt"/>
            </a:endParaRPr>
          </a:p>
        </p:txBody>
      </p:sp>
      <p:sp>
        <p:nvSpPr>
          <p:cNvPr id="210" name="Text Placeholder 4">
            <a:extLst>
              <a:ext uri="{FF2B5EF4-FFF2-40B4-BE49-F238E27FC236}">
                <a16:creationId xmlns:a16="http://schemas.microsoft.com/office/drawing/2014/main" id="{73E09A76-E166-450F-B7CA-12630DAE5ACB}"/>
              </a:ext>
            </a:extLst>
          </p:cNvPr>
          <p:cNvSpPr>
            <a:spLocks noGrp="1"/>
          </p:cNvSpPr>
          <p:nvPr>
            <p:custDataLst>
              <p:tags r:id="rId53"/>
            </p:custDataLst>
          </p:nvPr>
        </p:nvSpPr>
        <p:spPr bwMode="auto">
          <a:xfrm>
            <a:off x="4289425" y="2711450"/>
            <a:ext cx="4746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A8DBCA3B-BC93-4FE0-A449-B20220D3B263}" type="datetime'''''''''E''''''''''n''''''''''''g''e''l''''''''''''a''n''d'''">
              <a:rPr lang="en-US" altLang="en-US" sz="1000" smtClean="0"/>
              <a:pPr/>
              <a:t>Engeland</a:t>
            </a:fld>
            <a:endParaRPr lang="en-US" sz="1000">
              <a:sym typeface="+mn-lt"/>
            </a:endParaRPr>
          </a:p>
        </p:txBody>
      </p:sp>
      <p:sp>
        <p:nvSpPr>
          <p:cNvPr id="211" name="Text Placeholder 4">
            <a:extLst>
              <a:ext uri="{FF2B5EF4-FFF2-40B4-BE49-F238E27FC236}">
                <a16:creationId xmlns:a16="http://schemas.microsoft.com/office/drawing/2014/main" id="{DB6EF7CE-E0A5-4D7F-9C6C-858C9DE182B6}"/>
              </a:ext>
            </a:extLst>
          </p:cNvPr>
          <p:cNvSpPr>
            <a:spLocks noGrp="1"/>
          </p:cNvSpPr>
          <p:nvPr>
            <p:custDataLst>
              <p:tags r:id="rId54"/>
            </p:custDataLst>
          </p:nvPr>
        </p:nvSpPr>
        <p:spPr bwMode="auto">
          <a:xfrm>
            <a:off x="4289425" y="2887663"/>
            <a:ext cx="43338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5DA56322-9FB1-4A6E-8712-1BCADFDB9F60}" type="datetime'''''Sl''o''''''''''''''v''''''e''''''''''''''n''''i''''ë'''">
              <a:rPr lang="en-US" altLang="en-US" sz="1000" smtClean="0"/>
              <a:pPr/>
              <a:t>Slovenië</a:t>
            </a:fld>
            <a:endParaRPr lang="en-US" sz="1000">
              <a:sym typeface="+mn-lt"/>
            </a:endParaRPr>
          </a:p>
        </p:txBody>
      </p:sp>
      <p:sp>
        <p:nvSpPr>
          <p:cNvPr id="213" name="Text Placeholder 4">
            <a:extLst>
              <a:ext uri="{FF2B5EF4-FFF2-40B4-BE49-F238E27FC236}">
                <a16:creationId xmlns:a16="http://schemas.microsoft.com/office/drawing/2014/main" id="{D99C497D-AC02-4AEF-9FD3-99D708986F49}"/>
              </a:ext>
            </a:extLst>
          </p:cNvPr>
          <p:cNvSpPr>
            <a:spLocks noGrp="1"/>
          </p:cNvSpPr>
          <p:nvPr>
            <p:custDataLst>
              <p:tags r:id="rId55"/>
            </p:custDataLst>
          </p:nvPr>
        </p:nvSpPr>
        <p:spPr bwMode="auto">
          <a:xfrm>
            <a:off x="4289425" y="3241675"/>
            <a:ext cx="41751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7D3A739A-ECD6-49BB-B916-730960E4E646}" type="datetime'''''''''T''''''sj''''''ech''''''''''''''''''''''i''''''''ë'''">
              <a:rPr lang="en-US" altLang="en-US" sz="1000" smtClean="0"/>
              <a:pPr/>
              <a:t>Tsjechië</a:t>
            </a:fld>
            <a:endParaRPr lang="en-US" sz="1000">
              <a:sym typeface="+mn-lt"/>
            </a:endParaRPr>
          </a:p>
        </p:txBody>
      </p:sp>
      <p:sp>
        <p:nvSpPr>
          <p:cNvPr id="209" name="Text Placeholder 4">
            <a:extLst>
              <a:ext uri="{FF2B5EF4-FFF2-40B4-BE49-F238E27FC236}">
                <a16:creationId xmlns:a16="http://schemas.microsoft.com/office/drawing/2014/main" id="{A2CF54E6-5201-44C3-AEC3-A0DD41F0BDA2}"/>
              </a:ext>
            </a:extLst>
          </p:cNvPr>
          <p:cNvSpPr>
            <a:spLocks noGrp="1"/>
          </p:cNvSpPr>
          <p:nvPr>
            <p:custDataLst>
              <p:tags r:id="rId56"/>
            </p:custDataLst>
          </p:nvPr>
        </p:nvSpPr>
        <p:spPr bwMode="auto">
          <a:xfrm>
            <a:off x="4289425" y="3417888"/>
            <a:ext cx="533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EFA17243-2F78-4CA1-830C-8B5C960610CD}" type="datetime'''''''O''''''''''''o''''''''ste''''''''''n''''''''rij''k'">
              <a:rPr lang="en-US" altLang="en-US" sz="1000" smtClean="0"/>
              <a:pPr/>
              <a:t>Oostenrijk</a:t>
            </a:fld>
            <a:endParaRPr lang="en-US" sz="1000">
              <a:sym typeface="+mn-lt"/>
            </a:endParaRPr>
          </a:p>
        </p:txBody>
      </p:sp>
      <p:sp>
        <p:nvSpPr>
          <p:cNvPr id="215" name="Text Placeholder 4">
            <a:extLst>
              <a:ext uri="{FF2B5EF4-FFF2-40B4-BE49-F238E27FC236}">
                <a16:creationId xmlns:a16="http://schemas.microsoft.com/office/drawing/2014/main" id="{1B69E2E8-44C7-4077-9BB3-6B0C8B239D1E}"/>
              </a:ext>
            </a:extLst>
          </p:cNvPr>
          <p:cNvSpPr>
            <a:spLocks noGrp="1"/>
          </p:cNvSpPr>
          <p:nvPr>
            <p:custDataLst>
              <p:tags r:id="rId57"/>
            </p:custDataLst>
          </p:nvPr>
        </p:nvSpPr>
        <p:spPr bwMode="auto">
          <a:xfrm>
            <a:off x="4289425" y="3771900"/>
            <a:ext cx="3143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BB60003F-FE22-4604-9E7A-008DE89C873E}" type="datetime'''''''B''e''''''''''''''l''''''g''''''i''''ë'''''''">
              <a:rPr lang="en-US" altLang="en-US" sz="1000" smtClean="0"/>
              <a:pPr/>
              <a:t>België</a:t>
            </a:fld>
            <a:endParaRPr lang="en-US" sz="1000">
              <a:sym typeface="+mn-lt"/>
            </a:endParaRPr>
          </a:p>
        </p:txBody>
      </p:sp>
      <p:sp>
        <p:nvSpPr>
          <p:cNvPr id="218" name="Text Placeholder 4">
            <a:extLst>
              <a:ext uri="{FF2B5EF4-FFF2-40B4-BE49-F238E27FC236}">
                <a16:creationId xmlns:a16="http://schemas.microsoft.com/office/drawing/2014/main" id="{AD24B475-A2B9-4E8C-A043-89400C7205FC}"/>
              </a:ext>
            </a:extLst>
          </p:cNvPr>
          <p:cNvSpPr>
            <a:spLocks noGrp="1"/>
          </p:cNvSpPr>
          <p:nvPr>
            <p:custDataLst>
              <p:tags r:id="rId58"/>
            </p:custDataLst>
          </p:nvPr>
        </p:nvSpPr>
        <p:spPr bwMode="auto">
          <a:xfrm>
            <a:off x="4289425" y="3949700"/>
            <a:ext cx="3762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B700A38A-B4C9-4BE8-A061-ABE527C2E0DD}" type="datetime'''''''''''''E''s''''''''''t''l''''an''d'''''''''">
              <a:rPr lang="en-US" altLang="en-US" sz="1000" smtClean="0"/>
              <a:pPr/>
              <a:t>Estland</a:t>
            </a:fld>
            <a:endParaRPr lang="en-US" sz="1000">
              <a:sym typeface="+mn-lt"/>
            </a:endParaRPr>
          </a:p>
        </p:txBody>
      </p:sp>
      <p:sp>
        <p:nvSpPr>
          <p:cNvPr id="219" name="Text Placeholder 4">
            <a:extLst>
              <a:ext uri="{FF2B5EF4-FFF2-40B4-BE49-F238E27FC236}">
                <a16:creationId xmlns:a16="http://schemas.microsoft.com/office/drawing/2014/main" id="{184C0A5D-7D75-4084-9E96-3EFECE354F06}"/>
              </a:ext>
            </a:extLst>
          </p:cNvPr>
          <p:cNvSpPr>
            <a:spLocks noGrp="1"/>
          </p:cNvSpPr>
          <p:nvPr>
            <p:custDataLst>
              <p:tags r:id="rId59"/>
            </p:custDataLst>
          </p:nvPr>
        </p:nvSpPr>
        <p:spPr bwMode="auto">
          <a:xfrm>
            <a:off x="4289425" y="4125913"/>
            <a:ext cx="3524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D6C04887-517F-4BEB-A582-43D906DA0BDC}" type="datetime'T''''u''''''''r''''''k''''i''''j''''''e'''">
              <a:rPr lang="en-US" altLang="en-US" sz="1000" smtClean="0"/>
              <a:pPr/>
              <a:t>Turkije</a:t>
            </a:fld>
            <a:endParaRPr lang="en-US" sz="1000">
              <a:sym typeface="+mn-lt"/>
            </a:endParaRPr>
          </a:p>
        </p:txBody>
      </p:sp>
      <p:sp>
        <p:nvSpPr>
          <p:cNvPr id="220" name="Text Placeholder 4">
            <a:extLst>
              <a:ext uri="{FF2B5EF4-FFF2-40B4-BE49-F238E27FC236}">
                <a16:creationId xmlns:a16="http://schemas.microsoft.com/office/drawing/2014/main" id="{D338910D-0DC9-4D35-A2BF-DB2419223BF2}"/>
              </a:ext>
            </a:extLst>
          </p:cNvPr>
          <p:cNvSpPr>
            <a:spLocks noGrp="1"/>
          </p:cNvSpPr>
          <p:nvPr>
            <p:custDataLst>
              <p:tags r:id="rId60"/>
            </p:custDataLst>
          </p:nvPr>
        </p:nvSpPr>
        <p:spPr bwMode="auto">
          <a:xfrm>
            <a:off x="4289425" y="4303713"/>
            <a:ext cx="38258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DFF3DA10-1C96-44FF-8C6F-466A72758A8F}" type="datetime'L''''''e''''''''''t''l''a''''''''''''''''''''n''''''''d'''''''">
              <a:rPr lang="en-US" altLang="en-US" sz="1000" smtClean="0"/>
              <a:pPr/>
              <a:t>Letland</a:t>
            </a:fld>
            <a:endParaRPr lang="en-US" sz="1000">
              <a:sym typeface="+mn-lt"/>
            </a:endParaRPr>
          </a:p>
        </p:txBody>
      </p:sp>
      <p:sp>
        <p:nvSpPr>
          <p:cNvPr id="202" name="Text Placeholder 4">
            <a:extLst>
              <a:ext uri="{FF2B5EF4-FFF2-40B4-BE49-F238E27FC236}">
                <a16:creationId xmlns:a16="http://schemas.microsoft.com/office/drawing/2014/main" id="{B7EC3421-4BE5-466F-B938-90BA34670507}"/>
              </a:ext>
            </a:extLst>
          </p:cNvPr>
          <p:cNvSpPr>
            <a:spLocks noGrp="1"/>
          </p:cNvSpPr>
          <p:nvPr>
            <p:custDataLst>
              <p:tags r:id="rId61"/>
            </p:custDataLst>
          </p:nvPr>
        </p:nvSpPr>
        <p:spPr bwMode="auto">
          <a:xfrm>
            <a:off x="4289425" y="4656138"/>
            <a:ext cx="6651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AC04380D-AD85-44A0-898C-313E8694795B}" type="datetime'De''n''''''e''''''''m''''''''''a''''''''r''''''''ke''''''n'''">
              <a:rPr lang="en-US" altLang="en-US" sz="1000" smtClean="0"/>
              <a:pPr/>
              <a:t>Denemarken</a:t>
            </a:fld>
            <a:endParaRPr lang="en-US" sz="1000">
              <a:sym typeface="+mn-lt"/>
            </a:endParaRPr>
          </a:p>
        </p:txBody>
      </p:sp>
      <p:sp>
        <p:nvSpPr>
          <p:cNvPr id="216" name="Text Placeholder 4">
            <a:extLst>
              <a:ext uri="{FF2B5EF4-FFF2-40B4-BE49-F238E27FC236}">
                <a16:creationId xmlns:a16="http://schemas.microsoft.com/office/drawing/2014/main" id="{3BC518E6-41D0-4FDF-8225-A08C6561C545}"/>
              </a:ext>
            </a:extLst>
          </p:cNvPr>
          <p:cNvSpPr>
            <a:spLocks noGrp="1"/>
          </p:cNvSpPr>
          <p:nvPr>
            <p:custDataLst>
              <p:tags r:id="rId62"/>
            </p:custDataLst>
          </p:nvPr>
        </p:nvSpPr>
        <p:spPr bwMode="auto">
          <a:xfrm>
            <a:off x="4289425" y="4833938"/>
            <a:ext cx="3333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A3060824-4440-42D7-8FB6-60DACE60A9B1}" type="datetime'''''''Ij''''''''''''''''s''''''''''''''''lan''d'''''''''''''''">
              <a:rPr lang="en-US" altLang="en-US" sz="1000" smtClean="0"/>
              <a:pPr/>
              <a:t>Ijsland</a:t>
            </a:fld>
            <a:endParaRPr lang="en-US" sz="1000">
              <a:sym typeface="+mn-lt"/>
            </a:endParaRPr>
          </a:p>
        </p:txBody>
      </p:sp>
      <p:sp>
        <p:nvSpPr>
          <p:cNvPr id="222" name="Text Placeholder 4">
            <a:extLst>
              <a:ext uri="{FF2B5EF4-FFF2-40B4-BE49-F238E27FC236}">
                <a16:creationId xmlns:a16="http://schemas.microsoft.com/office/drawing/2014/main" id="{70DDFFA7-206E-45CD-B933-141234D06582}"/>
              </a:ext>
            </a:extLst>
          </p:cNvPr>
          <p:cNvSpPr>
            <a:spLocks noGrp="1"/>
          </p:cNvSpPr>
          <p:nvPr>
            <p:custDataLst>
              <p:tags r:id="rId63"/>
            </p:custDataLst>
          </p:nvPr>
        </p:nvSpPr>
        <p:spPr bwMode="auto">
          <a:xfrm>
            <a:off x="4289425" y="5187950"/>
            <a:ext cx="4349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5700BE83-C779-4F86-B38D-EA8613535145}" type="datetime'''''''''P''''''''''''''''''''''or''''''t''''uga''l'''">
              <a:rPr lang="en-US" altLang="en-US" sz="1000" smtClean="0"/>
              <a:pPr/>
              <a:t>Portugal</a:t>
            </a:fld>
            <a:endParaRPr lang="en-US" sz="1000">
              <a:sym typeface="+mn-lt"/>
            </a:endParaRPr>
          </a:p>
        </p:txBody>
      </p:sp>
      <p:sp>
        <p:nvSpPr>
          <p:cNvPr id="223" name="Text Placeholder 4">
            <a:extLst>
              <a:ext uri="{FF2B5EF4-FFF2-40B4-BE49-F238E27FC236}">
                <a16:creationId xmlns:a16="http://schemas.microsoft.com/office/drawing/2014/main" id="{324595FA-0FD1-4780-9244-4DC0BFDE289B}"/>
              </a:ext>
            </a:extLst>
          </p:cNvPr>
          <p:cNvSpPr>
            <a:spLocks noGrp="1"/>
          </p:cNvSpPr>
          <p:nvPr>
            <p:custDataLst>
              <p:tags r:id="rId64"/>
            </p:custDataLst>
          </p:nvPr>
        </p:nvSpPr>
        <p:spPr bwMode="auto">
          <a:xfrm>
            <a:off x="4289425" y="5364163"/>
            <a:ext cx="4095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2EC7DF20-C862-4DF9-BDED-FC141860F48E}" type="datetime'''''''''Z''''''''''''''''''''''''wed''''e''''''''''''''''n'">
              <a:rPr lang="en-US" altLang="en-US" sz="1000" smtClean="0"/>
              <a:pPr/>
              <a:t>Zweden</a:t>
            </a:fld>
            <a:endParaRPr lang="en-US" sz="1000">
              <a:sym typeface="+mn-lt"/>
            </a:endParaRPr>
          </a:p>
        </p:txBody>
      </p:sp>
      <p:sp>
        <p:nvSpPr>
          <p:cNvPr id="224" name="Text Placeholder 4">
            <a:extLst>
              <a:ext uri="{FF2B5EF4-FFF2-40B4-BE49-F238E27FC236}">
                <a16:creationId xmlns:a16="http://schemas.microsoft.com/office/drawing/2014/main" id="{779DEF5D-5013-42EB-9524-99B4274A36D4}"/>
              </a:ext>
            </a:extLst>
          </p:cNvPr>
          <p:cNvSpPr>
            <a:spLocks noGrp="1"/>
          </p:cNvSpPr>
          <p:nvPr>
            <p:custDataLst>
              <p:tags r:id="rId65"/>
            </p:custDataLst>
          </p:nvPr>
        </p:nvSpPr>
        <p:spPr bwMode="auto">
          <a:xfrm>
            <a:off x="4289425" y="5541963"/>
            <a:ext cx="6048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C374E257-9785-4613-B05B-EB9AF2994F6F}" type="datetime'N''''o''or''''''''w''''''e''''''ge''''''''''n'''''''''''''''''">
              <a:rPr lang="en-US" altLang="en-US" sz="1000" smtClean="0"/>
              <a:pPr/>
              <a:t>Noorwegen</a:t>
            </a:fld>
            <a:endParaRPr lang="en-US" sz="1000">
              <a:sym typeface="+mn-lt"/>
            </a:endParaRPr>
          </a:p>
        </p:txBody>
      </p:sp>
      <p:sp>
        <p:nvSpPr>
          <p:cNvPr id="225" name="Text Placeholder 4">
            <a:extLst>
              <a:ext uri="{FF2B5EF4-FFF2-40B4-BE49-F238E27FC236}">
                <a16:creationId xmlns:a16="http://schemas.microsoft.com/office/drawing/2014/main" id="{36847F27-D379-483A-BF63-5292113A2152}"/>
              </a:ext>
            </a:extLst>
          </p:cNvPr>
          <p:cNvSpPr>
            <a:spLocks noGrp="1"/>
          </p:cNvSpPr>
          <p:nvPr>
            <p:custDataLst>
              <p:tags r:id="rId66"/>
            </p:custDataLst>
          </p:nvPr>
        </p:nvSpPr>
        <p:spPr bwMode="auto">
          <a:xfrm>
            <a:off x="4289424" y="5718175"/>
            <a:ext cx="5540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652584BC-2549-4B24-9F86-183AA64D6C1A}" type="datetime'''Ne''''''''d''er''l''''''''''''''''''''an''''''''d'''''''''''">
              <a:rPr lang="en-US" altLang="en-US" sz="1000" b="1" smtClean="0">
                <a:solidFill>
                  <a:schemeClr val="accent2"/>
                </a:solidFill>
              </a:rPr>
              <a:pPr/>
              <a:t>Nederland</a:t>
            </a:fld>
            <a:endParaRPr lang="en-US" sz="1000" b="1">
              <a:solidFill>
                <a:schemeClr val="accent2"/>
              </a:solidFill>
              <a:sym typeface="+mn-lt"/>
            </a:endParaRPr>
          </a:p>
        </p:txBody>
      </p:sp>
      <p:sp>
        <p:nvSpPr>
          <p:cNvPr id="8" name="TextBox 7">
            <a:extLst>
              <a:ext uri="{FF2B5EF4-FFF2-40B4-BE49-F238E27FC236}">
                <a16:creationId xmlns:a16="http://schemas.microsoft.com/office/drawing/2014/main" id="{DECFE21B-C572-4D5A-8AC9-4567FEDC28B6}"/>
              </a:ext>
            </a:extLst>
          </p:cNvPr>
          <p:cNvSpPr txBox="1"/>
          <p:nvPr/>
        </p:nvSpPr>
        <p:spPr>
          <a:xfrm>
            <a:off x="557211" y="1420924"/>
            <a:ext cx="6502400" cy="44627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nl-NL" sz="1200" b="1">
                <a:cs typeface="+mn-cs"/>
              </a:rPr>
              <a:t>Deel van hun tijd die schoolleiders besteden aan lesgerelateerde zaken</a:t>
            </a:r>
          </a:p>
          <a:p>
            <a:r>
              <a:rPr lang="en-GB" sz="1200">
                <a:cs typeface="+mn-cs"/>
              </a:rPr>
              <a:t>%, per land</a:t>
            </a:r>
          </a:p>
        </p:txBody>
      </p:sp>
      <p:cxnSp>
        <p:nvCxnSpPr>
          <p:cNvPr id="87" name="LineBasicVerticalDefault 17">
            <a:extLst>
              <a:ext uri="{FF2B5EF4-FFF2-40B4-BE49-F238E27FC236}">
                <a16:creationId xmlns:a16="http://schemas.microsoft.com/office/drawing/2014/main" id="{8DC673A2-5BA0-40A8-A85F-C28B2F51C71B}"/>
              </a:ext>
            </a:extLst>
          </p:cNvPr>
          <p:cNvCxnSpPr>
            <a:cxnSpLocks/>
          </p:cNvCxnSpPr>
          <p:nvPr>
            <p:custDataLst>
              <p:tags r:id="rId67"/>
            </p:custDataLst>
          </p:nvPr>
        </p:nvCxnSpPr>
        <p:spPr>
          <a:xfrm flipH="1">
            <a:off x="702733" y="6210300"/>
            <a:ext cx="3237443" cy="0"/>
          </a:xfrm>
          <a:prstGeom prst="straightConnector1">
            <a:avLst/>
          </a:prstGeom>
          <a:ln w="6350"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7" name="LineBasicVerticalDefault 17">
            <a:extLst>
              <a:ext uri="{FF2B5EF4-FFF2-40B4-BE49-F238E27FC236}">
                <a16:creationId xmlns:a16="http://schemas.microsoft.com/office/drawing/2014/main" id="{E7732D6F-DA17-4C68-A898-939A52527B3B}"/>
              </a:ext>
            </a:extLst>
          </p:cNvPr>
          <p:cNvCxnSpPr>
            <a:cxnSpLocks/>
          </p:cNvCxnSpPr>
          <p:nvPr>
            <p:custDataLst>
              <p:tags r:id="rId68"/>
            </p:custDataLst>
          </p:nvPr>
        </p:nvCxnSpPr>
        <p:spPr>
          <a:xfrm>
            <a:off x="702733" y="5960533"/>
            <a:ext cx="0" cy="249767"/>
          </a:xfrm>
          <a:prstGeom prst="straightConnector1">
            <a:avLst/>
          </a:prstGeom>
          <a:ln w="6350"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91" name="LineBasicVerticalDefault 17">
            <a:extLst>
              <a:ext uri="{FF2B5EF4-FFF2-40B4-BE49-F238E27FC236}">
                <a16:creationId xmlns:a16="http://schemas.microsoft.com/office/drawing/2014/main" id="{EBB952B2-D44A-4FBA-BE74-96F7121275D8}"/>
              </a:ext>
            </a:extLst>
          </p:cNvPr>
          <p:cNvCxnSpPr>
            <a:cxnSpLocks/>
          </p:cNvCxnSpPr>
          <p:nvPr>
            <p:custDataLst>
              <p:tags r:id="rId69"/>
            </p:custDataLst>
          </p:nvPr>
        </p:nvCxnSpPr>
        <p:spPr>
          <a:xfrm flipH="1" flipV="1">
            <a:off x="3940175" y="1820708"/>
            <a:ext cx="1" cy="4389592"/>
          </a:xfrm>
          <a:prstGeom prst="straightConnector1">
            <a:avLst/>
          </a:prstGeom>
          <a:ln w="6350"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94" name="LineBasicVerticalDefault 17">
            <a:extLst>
              <a:ext uri="{FF2B5EF4-FFF2-40B4-BE49-F238E27FC236}">
                <a16:creationId xmlns:a16="http://schemas.microsoft.com/office/drawing/2014/main" id="{73994743-50FA-409B-B4E4-610612111C20}"/>
              </a:ext>
            </a:extLst>
          </p:cNvPr>
          <p:cNvCxnSpPr>
            <a:cxnSpLocks/>
          </p:cNvCxnSpPr>
          <p:nvPr>
            <p:custDataLst>
              <p:tags r:id="rId70"/>
            </p:custDataLst>
          </p:nvPr>
        </p:nvCxnSpPr>
        <p:spPr>
          <a:xfrm>
            <a:off x="4525728" y="1820708"/>
            <a:ext cx="0" cy="304955"/>
          </a:xfrm>
          <a:prstGeom prst="straightConnector1">
            <a:avLst/>
          </a:prstGeom>
          <a:ln w="6350"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96" name="LineBasicVerticalDefault 17">
            <a:extLst>
              <a:ext uri="{FF2B5EF4-FFF2-40B4-BE49-F238E27FC236}">
                <a16:creationId xmlns:a16="http://schemas.microsoft.com/office/drawing/2014/main" id="{9ADC4E1F-63BC-4BAE-A38B-8FCFF7CA43E3}"/>
              </a:ext>
            </a:extLst>
          </p:cNvPr>
          <p:cNvCxnSpPr>
            <a:cxnSpLocks/>
          </p:cNvCxnSpPr>
          <p:nvPr>
            <p:custDataLst>
              <p:tags r:id="rId71"/>
            </p:custDataLst>
          </p:nvPr>
        </p:nvCxnSpPr>
        <p:spPr>
          <a:xfrm flipH="1" flipV="1">
            <a:off x="3940176" y="1820709"/>
            <a:ext cx="585552" cy="2"/>
          </a:xfrm>
          <a:prstGeom prst="straightConnector1">
            <a:avLst/>
          </a:prstGeom>
          <a:ln w="6350"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6118847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2" hidden="1">
            <a:extLst>
              <a:ext uri="{FF2B5EF4-FFF2-40B4-BE49-F238E27FC236}">
                <a16:creationId xmlns:a16="http://schemas.microsoft.com/office/drawing/2014/main" id="{5B485DF3-439B-4963-BDFE-AC5558171C93}"/>
              </a:ext>
            </a:extLst>
          </p:cNvPr>
          <p:cNvGraphicFramePr>
            <a:graphicFrameLocks noChangeAspect="1"/>
          </p:cNvGraphicFramePr>
          <p:nvPr>
            <p:custDataLst>
              <p:tags r:id="rId2"/>
            </p:custDataLst>
            <p:extLst>
              <p:ext uri="{D42A27DB-BD31-4B8C-83A1-F6EECF244321}">
                <p14:modId xmlns:p14="http://schemas.microsoft.com/office/powerpoint/2010/main" val="10439361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3" name="think-cell Slide" r:id="rId10" imgW="395" imgH="394" progId="TCLayout.ActiveDocument.1">
                  <p:embed/>
                </p:oleObj>
              </mc:Choice>
              <mc:Fallback>
                <p:oleObj name="think-cell Slide" r:id="rId10" imgW="395" imgH="394" progId="TCLayout.ActiveDocument.1">
                  <p:embed/>
                  <p:pic>
                    <p:nvPicPr>
                      <p:cNvPr id="6" name="Object 2" hidden="1">
                        <a:extLst>
                          <a:ext uri="{FF2B5EF4-FFF2-40B4-BE49-F238E27FC236}">
                            <a16:creationId xmlns:a16="http://schemas.microsoft.com/office/drawing/2014/main" id="{5B485DF3-439B-4963-BDFE-AC5558171C9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7" name="Rectangle 1" hidden="1">
            <a:extLst>
              <a:ext uri="{FF2B5EF4-FFF2-40B4-BE49-F238E27FC236}">
                <a16:creationId xmlns:a16="http://schemas.microsoft.com/office/drawing/2014/main" id="{1A14C10C-48E3-4FBF-89B6-5DDA2F098BB7}"/>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err="1">
              <a:solidFill>
                <a:schemeClr val="bg1"/>
              </a:solidFill>
              <a:latin typeface="Calibri" panose="020F0502020204030204" pitchFamily="34" charset="0"/>
              <a:ea typeface="+mj-ea"/>
              <a:cs typeface="+mj-cs"/>
              <a:sym typeface="Calibri" panose="020F0502020204030204" pitchFamily="34" charset="0"/>
            </a:endParaRPr>
          </a:p>
        </p:txBody>
      </p:sp>
      <p:sp>
        <p:nvSpPr>
          <p:cNvPr id="2" name="2. Slide Title">
            <a:extLst>
              <a:ext uri="{FF2B5EF4-FFF2-40B4-BE49-F238E27FC236}">
                <a16:creationId xmlns:a16="http://schemas.microsoft.com/office/drawing/2014/main" id="{779F8892-6158-4B73-B6C6-9C646BEAC748}"/>
              </a:ext>
            </a:extLst>
          </p:cNvPr>
          <p:cNvSpPr>
            <a:spLocks noGrp="1"/>
          </p:cNvSpPr>
          <p:nvPr>
            <p:ph type="title"/>
            <p:custDataLst>
              <p:tags r:id="rId4"/>
            </p:custDataLst>
          </p:nvPr>
        </p:nvSpPr>
        <p:spPr>
          <a:xfrm>
            <a:off x="554737" y="529171"/>
            <a:ext cx="11082528" cy="384721"/>
          </a:xfrm>
          <a:noFill/>
          <a:ln/>
          <a:extLst>
            <a:ext uri="{909E8E84-426E-40DD-AFC4-6F175D3DCCD1}">
              <a14:hiddenFill xmlns:a14="http://schemas.microsoft.com/office/drawing/2010/main">
                <a:solidFill>
                  <a:srgbClr val="FFFFFF"/>
                </a:solidFill>
              </a14:hiddenFill>
            </a:ext>
          </a:extLst>
        </p:spPr>
        <p:txBody>
          <a:bodyPr wrap="square" anchor="b" anchorCtr="0">
            <a:noAutofit/>
          </a:bodyPr>
          <a:lstStyle/>
          <a:p>
            <a:r>
              <a:rPr lang="en-US" dirty="0"/>
              <a:t>‘Elke </a:t>
            </a:r>
            <a:r>
              <a:rPr lang="en-US" dirty="0" err="1"/>
              <a:t>dag</a:t>
            </a:r>
            <a:r>
              <a:rPr lang="en-US" dirty="0"/>
              <a:t> </a:t>
            </a:r>
            <a:r>
              <a:rPr lang="en-US" dirty="0" err="1"/>
              <a:t>samen</a:t>
            </a:r>
            <a:r>
              <a:rPr lang="en-US" dirty="0"/>
              <a:t> een </a:t>
            </a:r>
            <a:r>
              <a:rPr lang="en-US" dirty="0" err="1"/>
              <a:t>beetje</a:t>
            </a:r>
            <a:r>
              <a:rPr lang="en-US" dirty="0"/>
              <a:t> </a:t>
            </a:r>
            <a:r>
              <a:rPr lang="en-US" dirty="0" err="1"/>
              <a:t>beter</a:t>
            </a:r>
            <a:r>
              <a:rPr lang="en-US" dirty="0"/>
              <a:t>’ op school? </a:t>
            </a:r>
            <a:r>
              <a:rPr lang="en-US" dirty="0" err="1"/>
              <a:t>Waarom</a:t>
            </a:r>
            <a:r>
              <a:rPr lang="en-US" dirty="0"/>
              <a:t>?</a:t>
            </a:r>
          </a:p>
        </p:txBody>
      </p:sp>
      <p:cxnSp>
        <p:nvCxnSpPr>
          <p:cNvPr id="4" name="Straight Connector 3">
            <a:extLst>
              <a:ext uri="{FF2B5EF4-FFF2-40B4-BE49-F238E27FC236}">
                <a16:creationId xmlns:a16="http://schemas.microsoft.com/office/drawing/2014/main" id="{3C1EA349-96FB-498C-BECB-64F9CBB00990}"/>
              </a:ext>
            </a:extLst>
          </p:cNvPr>
          <p:cNvCxnSpPr>
            <a:cxnSpLocks/>
          </p:cNvCxnSpPr>
          <p:nvPr/>
        </p:nvCxnSpPr>
        <p:spPr>
          <a:xfrm>
            <a:off x="554737" y="2755663"/>
            <a:ext cx="1108252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F5C61F0-E3A5-4238-85C5-66C2FDF24C2E}"/>
              </a:ext>
            </a:extLst>
          </p:cNvPr>
          <p:cNvCxnSpPr>
            <a:cxnSpLocks/>
          </p:cNvCxnSpPr>
          <p:nvPr/>
        </p:nvCxnSpPr>
        <p:spPr>
          <a:xfrm>
            <a:off x="554737" y="3964545"/>
            <a:ext cx="1108252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1E052384-AD71-4BB7-B6B9-A6BB1BE0337F}"/>
              </a:ext>
            </a:extLst>
          </p:cNvPr>
          <p:cNvCxnSpPr>
            <a:cxnSpLocks/>
          </p:cNvCxnSpPr>
          <p:nvPr/>
        </p:nvCxnSpPr>
        <p:spPr>
          <a:xfrm>
            <a:off x="554737" y="5173427"/>
            <a:ext cx="1108252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2. Slide Title">
            <a:extLst>
              <a:ext uri="{FF2B5EF4-FFF2-40B4-BE49-F238E27FC236}">
                <a16:creationId xmlns:a16="http://schemas.microsoft.com/office/drawing/2014/main" id="{D59F005D-2B13-4148-9C2D-581DEB111FD6}"/>
              </a:ext>
            </a:extLst>
          </p:cNvPr>
          <p:cNvSpPr txBox="1">
            <a:spLocks/>
          </p:cNvSpPr>
          <p:nvPr>
            <p:custDataLst>
              <p:tags r:id="rId5"/>
            </p:custDataLst>
          </p:nvPr>
        </p:nvSpPr>
        <p:spPr>
          <a:xfrm>
            <a:off x="554737" y="1689557"/>
            <a:ext cx="1482501"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2"/>
                </a:solidFill>
                <a:latin typeface="+mj-lt"/>
                <a:ea typeface="+mj-ea"/>
                <a:cs typeface="+mj-cs"/>
              </a:defRPr>
            </a:lvl1pPr>
          </a:lstStyle>
          <a:p>
            <a:pPr>
              <a:buClr>
                <a:srgbClr val="000000"/>
              </a:buClr>
            </a:pPr>
            <a:r>
              <a:rPr lang="nl-NL" sz="2400">
                <a:solidFill>
                  <a:srgbClr val="000000"/>
                </a:solidFill>
              </a:rPr>
              <a:t>Elke dag</a:t>
            </a:r>
          </a:p>
        </p:txBody>
      </p:sp>
      <p:sp>
        <p:nvSpPr>
          <p:cNvPr id="17" name="TextBox 16">
            <a:extLst>
              <a:ext uri="{FF2B5EF4-FFF2-40B4-BE49-F238E27FC236}">
                <a16:creationId xmlns:a16="http://schemas.microsoft.com/office/drawing/2014/main" id="{FAA91FDF-593E-4AF3-9BF9-564A05B2702F}"/>
              </a:ext>
            </a:extLst>
          </p:cNvPr>
          <p:cNvSpPr txBox="1">
            <a:spLocks/>
          </p:cNvSpPr>
          <p:nvPr/>
        </p:nvSpPr>
        <p:spPr>
          <a:xfrm>
            <a:off x="2394652" y="1689557"/>
            <a:ext cx="9242613" cy="923330"/>
          </a:xfrm>
          <a:prstGeom prst="rect">
            <a:avLst/>
          </a:prstGeom>
        </p:spPr>
        <p:txBody>
          <a:bodyPr vert="horz" wrap="square" lIns="0" tIns="0" rIns="0" bIns="0" rtlCol="0" anchor="t" anchorCtr="0">
            <a:no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2000"/>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sz="160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sz="160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sz="160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42900" indent="-342900"/>
            <a:r>
              <a:rPr lang="nl-NL" i="1"/>
              <a:t>..</a:t>
            </a:r>
            <a:endParaRPr lang="en-US" i="1"/>
          </a:p>
        </p:txBody>
      </p:sp>
      <p:sp>
        <p:nvSpPr>
          <p:cNvPr id="14" name="2. Slide Title">
            <a:extLst>
              <a:ext uri="{FF2B5EF4-FFF2-40B4-BE49-F238E27FC236}">
                <a16:creationId xmlns:a16="http://schemas.microsoft.com/office/drawing/2014/main" id="{CED4A939-12BA-4432-AF4B-DE4FB7883341}"/>
              </a:ext>
            </a:extLst>
          </p:cNvPr>
          <p:cNvSpPr txBox="1">
            <a:spLocks/>
          </p:cNvSpPr>
          <p:nvPr>
            <p:custDataLst>
              <p:tags r:id="rId6"/>
            </p:custDataLst>
          </p:nvPr>
        </p:nvSpPr>
        <p:spPr>
          <a:xfrm>
            <a:off x="554737" y="2898439"/>
            <a:ext cx="1482501"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2"/>
                </a:solidFill>
                <a:latin typeface="+mj-lt"/>
                <a:ea typeface="+mj-ea"/>
                <a:cs typeface="+mj-cs"/>
              </a:defRPr>
            </a:lvl1pPr>
          </a:lstStyle>
          <a:p>
            <a:pPr>
              <a:buClr>
                <a:srgbClr val="000000"/>
              </a:buClr>
            </a:pPr>
            <a:r>
              <a:rPr lang="nl-NL" sz="2400">
                <a:solidFill>
                  <a:srgbClr val="000000"/>
                </a:solidFill>
              </a:rPr>
              <a:t>Samen</a:t>
            </a:r>
          </a:p>
        </p:txBody>
      </p:sp>
      <p:sp>
        <p:nvSpPr>
          <p:cNvPr id="18" name="TextBox 17">
            <a:extLst>
              <a:ext uri="{FF2B5EF4-FFF2-40B4-BE49-F238E27FC236}">
                <a16:creationId xmlns:a16="http://schemas.microsoft.com/office/drawing/2014/main" id="{70CFBEF5-B43D-4107-9BAF-498F23381339}"/>
              </a:ext>
            </a:extLst>
          </p:cNvPr>
          <p:cNvSpPr txBox="1">
            <a:spLocks/>
          </p:cNvSpPr>
          <p:nvPr/>
        </p:nvSpPr>
        <p:spPr>
          <a:xfrm>
            <a:off x="2394652" y="2898439"/>
            <a:ext cx="9242613" cy="923330"/>
          </a:xfrm>
          <a:prstGeom prst="rect">
            <a:avLst/>
          </a:prstGeom>
        </p:spPr>
        <p:txBody>
          <a:bodyPr vert="horz" wrap="square" lIns="0" tIns="0" rIns="0" bIns="0" rtlCol="0" anchor="t" anchorCtr="0">
            <a:no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2000"/>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sz="160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sz="160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sz="160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42900" indent="-342900"/>
            <a:r>
              <a:rPr lang="nl-NL" i="1"/>
              <a:t>..</a:t>
            </a:r>
            <a:endParaRPr lang="en-US" i="1"/>
          </a:p>
        </p:txBody>
      </p:sp>
      <p:sp>
        <p:nvSpPr>
          <p:cNvPr id="15" name="2. Slide Title">
            <a:extLst>
              <a:ext uri="{FF2B5EF4-FFF2-40B4-BE49-F238E27FC236}">
                <a16:creationId xmlns:a16="http://schemas.microsoft.com/office/drawing/2014/main" id="{803F3122-D54D-4147-8B8D-22CEE107E47A}"/>
              </a:ext>
            </a:extLst>
          </p:cNvPr>
          <p:cNvSpPr txBox="1">
            <a:spLocks/>
          </p:cNvSpPr>
          <p:nvPr>
            <p:custDataLst>
              <p:tags r:id="rId7"/>
            </p:custDataLst>
          </p:nvPr>
        </p:nvSpPr>
        <p:spPr>
          <a:xfrm>
            <a:off x="554737" y="4107321"/>
            <a:ext cx="1482501"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2"/>
                </a:solidFill>
                <a:latin typeface="+mj-lt"/>
                <a:ea typeface="+mj-ea"/>
                <a:cs typeface="+mj-cs"/>
              </a:defRPr>
            </a:lvl1pPr>
          </a:lstStyle>
          <a:p>
            <a:pPr>
              <a:buClr>
                <a:srgbClr val="000000"/>
              </a:buClr>
            </a:pPr>
            <a:r>
              <a:rPr lang="nl-NL" sz="2400">
                <a:solidFill>
                  <a:srgbClr val="000000"/>
                </a:solidFill>
              </a:rPr>
              <a:t>Een beetje</a:t>
            </a:r>
          </a:p>
        </p:txBody>
      </p:sp>
      <p:sp>
        <p:nvSpPr>
          <p:cNvPr id="19" name="TextBox 18">
            <a:extLst>
              <a:ext uri="{FF2B5EF4-FFF2-40B4-BE49-F238E27FC236}">
                <a16:creationId xmlns:a16="http://schemas.microsoft.com/office/drawing/2014/main" id="{6062E054-A803-4ECF-94F7-9A69F224ACF0}"/>
              </a:ext>
            </a:extLst>
          </p:cNvPr>
          <p:cNvSpPr txBox="1">
            <a:spLocks/>
          </p:cNvSpPr>
          <p:nvPr/>
        </p:nvSpPr>
        <p:spPr>
          <a:xfrm>
            <a:off x="2394652" y="4107321"/>
            <a:ext cx="9242613" cy="923330"/>
          </a:xfrm>
          <a:prstGeom prst="rect">
            <a:avLst/>
          </a:prstGeom>
        </p:spPr>
        <p:txBody>
          <a:bodyPr vert="horz" wrap="square" lIns="0" tIns="0" rIns="0" bIns="0" rtlCol="0" anchor="t" anchorCtr="0">
            <a:no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2000"/>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sz="160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sz="160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sz="160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42900" indent="-342900"/>
            <a:r>
              <a:rPr lang="nl-NL" i="1"/>
              <a:t>..</a:t>
            </a:r>
            <a:endParaRPr lang="en-US" i="1"/>
          </a:p>
        </p:txBody>
      </p:sp>
      <p:sp>
        <p:nvSpPr>
          <p:cNvPr id="16" name="2. Slide Title">
            <a:extLst>
              <a:ext uri="{FF2B5EF4-FFF2-40B4-BE49-F238E27FC236}">
                <a16:creationId xmlns:a16="http://schemas.microsoft.com/office/drawing/2014/main" id="{2D780CCE-3756-4578-AE2A-80B19CB2031B}"/>
              </a:ext>
            </a:extLst>
          </p:cNvPr>
          <p:cNvSpPr txBox="1">
            <a:spLocks/>
          </p:cNvSpPr>
          <p:nvPr>
            <p:custDataLst>
              <p:tags r:id="rId8"/>
            </p:custDataLst>
          </p:nvPr>
        </p:nvSpPr>
        <p:spPr>
          <a:xfrm>
            <a:off x="554737" y="5316205"/>
            <a:ext cx="1482501"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2"/>
                </a:solidFill>
                <a:latin typeface="+mj-lt"/>
                <a:ea typeface="+mj-ea"/>
                <a:cs typeface="+mj-cs"/>
              </a:defRPr>
            </a:lvl1pPr>
          </a:lstStyle>
          <a:p>
            <a:pPr>
              <a:buClr>
                <a:srgbClr val="000000"/>
              </a:buClr>
            </a:pPr>
            <a:r>
              <a:rPr lang="nl-NL" sz="2400">
                <a:solidFill>
                  <a:srgbClr val="000000"/>
                </a:solidFill>
              </a:rPr>
              <a:t>Beter</a:t>
            </a:r>
          </a:p>
        </p:txBody>
      </p:sp>
      <p:sp>
        <p:nvSpPr>
          <p:cNvPr id="20" name="TextBox 19">
            <a:extLst>
              <a:ext uri="{FF2B5EF4-FFF2-40B4-BE49-F238E27FC236}">
                <a16:creationId xmlns:a16="http://schemas.microsoft.com/office/drawing/2014/main" id="{42E62F8A-BD47-4A7A-903B-842827A8A159}"/>
              </a:ext>
            </a:extLst>
          </p:cNvPr>
          <p:cNvSpPr txBox="1">
            <a:spLocks/>
          </p:cNvSpPr>
          <p:nvPr/>
        </p:nvSpPr>
        <p:spPr>
          <a:xfrm>
            <a:off x="2394652" y="5316205"/>
            <a:ext cx="9242613" cy="923330"/>
          </a:xfrm>
          <a:prstGeom prst="rect">
            <a:avLst/>
          </a:prstGeom>
        </p:spPr>
        <p:txBody>
          <a:bodyPr vert="horz" wrap="square" lIns="0" tIns="0" rIns="0" bIns="0" rtlCol="0" anchor="t" anchorCtr="0">
            <a:no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2000"/>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sz="160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sz="160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sz="160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42900" indent="-342900"/>
            <a:r>
              <a:rPr lang="nl-NL" i="1"/>
              <a:t>.. </a:t>
            </a:r>
            <a:endParaRPr lang="en-US" i="1"/>
          </a:p>
        </p:txBody>
      </p:sp>
    </p:spTree>
    <p:extLst>
      <p:ext uri="{BB962C8B-B14F-4D97-AF65-F5344CB8AC3E}">
        <p14:creationId xmlns:p14="http://schemas.microsoft.com/office/powerpoint/2010/main" val="184527314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2" hidden="1">
            <a:extLst>
              <a:ext uri="{FF2B5EF4-FFF2-40B4-BE49-F238E27FC236}">
                <a16:creationId xmlns:a16="http://schemas.microsoft.com/office/drawing/2014/main" id="{5B485DF3-439B-4963-BDFE-AC5558171C93}"/>
              </a:ext>
            </a:extLst>
          </p:cNvPr>
          <p:cNvGraphicFramePr>
            <a:graphicFrameLocks noChangeAspect="1"/>
          </p:cNvGraphicFramePr>
          <p:nvPr>
            <p:custDataLst>
              <p:tags r:id="rId2"/>
            </p:custDataLst>
            <p:extLst>
              <p:ext uri="{D42A27DB-BD31-4B8C-83A1-F6EECF244321}">
                <p14:modId xmlns:p14="http://schemas.microsoft.com/office/powerpoint/2010/main" val="24586280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27" name="think-cell Slide" r:id="rId6" imgW="395" imgH="394" progId="TCLayout.ActiveDocument.1">
                  <p:embed/>
                </p:oleObj>
              </mc:Choice>
              <mc:Fallback>
                <p:oleObj name="think-cell Slide" r:id="rId6" imgW="395" imgH="394" progId="TCLayout.ActiveDocument.1">
                  <p:embed/>
                  <p:pic>
                    <p:nvPicPr>
                      <p:cNvPr id="6" name="Object 2" hidden="1">
                        <a:extLst>
                          <a:ext uri="{FF2B5EF4-FFF2-40B4-BE49-F238E27FC236}">
                            <a16:creationId xmlns:a16="http://schemas.microsoft.com/office/drawing/2014/main" id="{5B485DF3-439B-4963-BDFE-AC5558171C9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1" hidden="1">
            <a:extLst>
              <a:ext uri="{FF2B5EF4-FFF2-40B4-BE49-F238E27FC236}">
                <a16:creationId xmlns:a16="http://schemas.microsoft.com/office/drawing/2014/main" id="{1A14C10C-48E3-4FBF-89B6-5DDA2F098BB7}"/>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latin typeface="Calibri" panose="020F0502020204030204" pitchFamily="34" charset="0"/>
              <a:cs typeface="Arial" panose="020B0604020202020204" pitchFamily="34" charset="0"/>
              <a:sym typeface="Calibri" panose="020F0502020204030204" pitchFamily="34" charset="0"/>
            </a:endParaRPr>
          </a:p>
        </p:txBody>
      </p:sp>
      <p:sp>
        <p:nvSpPr>
          <p:cNvPr id="2" name="2. Slide Title">
            <a:extLst>
              <a:ext uri="{FF2B5EF4-FFF2-40B4-BE49-F238E27FC236}">
                <a16:creationId xmlns:a16="http://schemas.microsoft.com/office/drawing/2014/main" id="{779F8892-6158-4B73-B6C6-9C646BEAC748}"/>
              </a:ext>
            </a:extLst>
          </p:cNvPr>
          <p:cNvSpPr>
            <a:spLocks noGrp="1"/>
          </p:cNvSpPr>
          <p:nvPr>
            <p:ph type="title"/>
            <p:custDataLst>
              <p:tags r:id="rId4"/>
            </p:custDataLst>
          </p:nvPr>
        </p:nvSpPr>
        <p:spPr>
          <a:xfrm>
            <a:off x="554736" y="529171"/>
            <a:ext cx="11082528" cy="384721"/>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dirty="0"/>
              <a:t>Een </a:t>
            </a:r>
            <a:r>
              <a:rPr lang="en-US" dirty="0" err="1"/>
              <a:t>verbetercultuur</a:t>
            </a:r>
            <a:r>
              <a:rPr lang="en-US" dirty="0"/>
              <a:t>, hoe </a:t>
            </a:r>
            <a:r>
              <a:rPr lang="en-US" dirty="0" err="1"/>
              <a:t>werkt</a:t>
            </a:r>
            <a:r>
              <a:rPr lang="en-US" dirty="0"/>
              <a:t> dat in de </a:t>
            </a:r>
            <a:r>
              <a:rPr lang="en-US" dirty="0" err="1"/>
              <a:t>schoolpraktijk</a:t>
            </a:r>
            <a:r>
              <a:rPr lang="en-US" dirty="0"/>
              <a:t>? </a:t>
            </a:r>
          </a:p>
        </p:txBody>
      </p:sp>
      <p:pic>
        <p:nvPicPr>
          <p:cNvPr id="77" name="Picture 51">
            <a:extLst>
              <a:ext uri="{FF2B5EF4-FFF2-40B4-BE49-F238E27FC236}">
                <a16:creationId xmlns:a16="http://schemas.microsoft.com/office/drawing/2014/main" id="{BCDADD7C-5180-4957-A9F8-F925318D3A60}"/>
              </a:ext>
            </a:extLst>
          </p:cNvPr>
          <p:cNvPicPr>
            <a:picLocks noChangeAspect="1"/>
          </p:cNvPicPr>
          <p:nvPr/>
        </p:nvPicPr>
        <p:blipFill>
          <a:blip r:embed="rId8"/>
          <a:stretch>
            <a:fillRect/>
          </a:stretch>
        </p:blipFill>
        <p:spPr>
          <a:xfrm>
            <a:off x="3760613" y="2048811"/>
            <a:ext cx="4012672" cy="4011817"/>
          </a:xfrm>
          <a:prstGeom prst="rect">
            <a:avLst/>
          </a:prstGeom>
          <a:ln>
            <a:solidFill>
              <a:schemeClr val="bg2"/>
            </a:solidFill>
          </a:ln>
        </p:spPr>
      </p:pic>
      <p:sp>
        <p:nvSpPr>
          <p:cNvPr id="78" name="TextBox 53">
            <a:extLst>
              <a:ext uri="{FF2B5EF4-FFF2-40B4-BE49-F238E27FC236}">
                <a16:creationId xmlns:a16="http://schemas.microsoft.com/office/drawing/2014/main" id="{1D1C4ED5-DA05-4626-A332-E48648A17852}"/>
              </a:ext>
            </a:extLst>
          </p:cNvPr>
          <p:cNvSpPr txBox="1"/>
          <p:nvPr/>
        </p:nvSpPr>
        <p:spPr>
          <a:xfrm>
            <a:off x="4678547" y="2469796"/>
            <a:ext cx="2218161" cy="246221"/>
          </a:xfrm>
          <a:prstGeom prst="rect">
            <a:avLst/>
          </a:prstGeom>
        </p:spPr>
        <p:txBody>
          <a:bodyPr spcFirstLastPara="1" vert="horz" wrap="none" lIns="0" tIns="0" rIns="0" bIns="0" numCol="1" rtlCol="0">
            <a:prstTxWarp prst="textArchUp">
              <a:avLst>
                <a:gd name="adj" fmla="val 12746468"/>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buClr>
                <a:srgbClr val="FFFFFF"/>
              </a:buClr>
            </a:pPr>
            <a:r>
              <a:rPr lang="en-US" b="1" err="1">
                <a:solidFill>
                  <a:srgbClr val="FFFFFF"/>
                </a:solidFill>
              </a:rPr>
              <a:t>Ambitie</a:t>
            </a:r>
            <a:endParaRPr lang="en-US" b="1">
              <a:solidFill>
                <a:srgbClr val="FFFFFF"/>
              </a:solidFill>
            </a:endParaRPr>
          </a:p>
        </p:txBody>
      </p:sp>
      <p:sp>
        <p:nvSpPr>
          <p:cNvPr id="85" name="TextBox 115">
            <a:extLst>
              <a:ext uri="{FF2B5EF4-FFF2-40B4-BE49-F238E27FC236}">
                <a16:creationId xmlns:a16="http://schemas.microsoft.com/office/drawing/2014/main" id="{95EBC678-49E5-4D29-8695-D4C1025613FA}"/>
              </a:ext>
            </a:extLst>
          </p:cNvPr>
          <p:cNvSpPr txBox="1"/>
          <p:nvPr/>
        </p:nvSpPr>
        <p:spPr>
          <a:xfrm rot="18488328">
            <a:off x="5863009" y="4909731"/>
            <a:ext cx="2218161" cy="246221"/>
          </a:xfrm>
          <a:prstGeom prst="rect">
            <a:avLst/>
          </a:prstGeom>
        </p:spPr>
        <p:txBody>
          <a:bodyPr spcFirstLastPara="1" vert="horz" wrap="none" lIns="0" tIns="0" rIns="0" bIns="0" numCol="1" rtlCol="0">
            <a:prstTxWarp prst="textArchDown">
              <a:avLst>
                <a:gd name="adj" fmla="val 4326"/>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buClr>
                <a:srgbClr val="FFFFFF"/>
              </a:buClr>
            </a:pPr>
            <a:r>
              <a:rPr lang="en-US" b="1" err="1">
                <a:solidFill>
                  <a:srgbClr val="FFFFFF"/>
                </a:solidFill>
              </a:rPr>
              <a:t>Ritmiek</a:t>
            </a:r>
            <a:endParaRPr lang="en-US" b="1">
              <a:solidFill>
                <a:srgbClr val="FFFFFF"/>
              </a:solidFill>
            </a:endParaRPr>
          </a:p>
        </p:txBody>
      </p:sp>
      <p:sp>
        <p:nvSpPr>
          <p:cNvPr id="86" name="TextBox 116">
            <a:extLst>
              <a:ext uri="{FF2B5EF4-FFF2-40B4-BE49-F238E27FC236}">
                <a16:creationId xmlns:a16="http://schemas.microsoft.com/office/drawing/2014/main" id="{B91EB740-91BC-4EBB-B1C1-2373359228C6}"/>
              </a:ext>
            </a:extLst>
          </p:cNvPr>
          <p:cNvSpPr txBox="1"/>
          <p:nvPr/>
        </p:nvSpPr>
        <p:spPr>
          <a:xfrm rot="14065141">
            <a:off x="3371072" y="4767192"/>
            <a:ext cx="2218161" cy="246221"/>
          </a:xfrm>
          <a:prstGeom prst="rect">
            <a:avLst/>
          </a:prstGeom>
        </p:spPr>
        <p:txBody>
          <a:bodyPr spcFirstLastPara="1" vert="horz" wrap="none" lIns="0" tIns="0" rIns="0" bIns="0" numCol="1" rtlCol="0">
            <a:prstTxWarp prst="textArchDown">
              <a:avLst>
                <a:gd name="adj" fmla="val 11689080"/>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buClr>
                <a:srgbClr val="FFFFFF"/>
              </a:buClr>
            </a:pPr>
            <a:r>
              <a:rPr lang="en-US" b="1">
                <a:solidFill>
                  <a:srgbClr val="FFFFFF"/>
                </a:solidFill>
              </a:rPr>
              <a:t>Retrospective</a:t>
            </a:r>
          </a:p>
        </p:txBody>
      </p:sp>
      <p:pic>
        <p:nvPicPr>
          <p:cNvPr id="89" name="Graphic 8" descr="Single gear">
            <a:extLst>
              <a:ext uri="{FF2B5EF4-FFF2-40B4-BE49-F238E27FC236}">
                <a16:creationId xmlns:a16="http://schemas.microsoft.com/office/drawing/2014/main" id="{F254C588-FA9A-422E-AB1E-F052FE40687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624774" y="2441165"/>
            <a:ext cx="1656839" cy="1656839"/>
          </a:xfrm>
          <a:prstGeom prst="rect">
            <a:avLst/>
          </a:prstGeom>
        </p:spPr>
      </p:pic>
      <p:sp>
        <p:nvSpPr>
          <p:cNvPr id="97" name="Oval 75">
            <a:extLst>
              <a:ext uri="{FF2B5EF4-FFF2-40B4-BE49-F238E27FC236}">
                <a16:creationId xmlns:a16="http://schemas.microsoft.com/office/drawing/2014/main" id="{DF866919-00CC-4111-B740-BB0B224E2593}"/>
              </a:ext>
            </a:extLst>
          </p:cNvPr>
          <p:cNvSpPr>
            <a:spLocks/>
          </p:cNvSpPr>
          <p:nvPr/>
        </p:nvSpPr>
        <p:spPr>
          <a:xfrm>
            <a:off x="5027418" y="2848709"/>
            <a:ext cx="855115" cy="855115"/>
          </a:xfrm>
          <a:prstGeom prst="ellipse">
            <a:avLst/>
          </a:prstGeom>
          <a:solidFill>
            <a:srgbClr val="2E6CA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a:solidFill>
                  <a:schemeClr val="bg1"/>
                </a:solidFill>
              </a:rPr>
              <a:t>Bord-</a:t>
            </a:r>
          </a:p>
          <a:p>
            <a:pPr algn="ctr"/>
            <a:r>
              <a:rPr lang="en-US" sz="1200" b="1">
                <a:solidFill>
                  <a:schemeClr val="bg1"/>
                </a:solidFill>
              </a:rPr>
              <a:t>sessie</a:t>
            </a:r>
          </a:p>
        </p:txBody>
      </p:sp>
      <p:pic>
        <p:nvPicPr>
          <p:cNvPr id="105" name="Graphic 79" descr="Single gear">
            <a:extLst>
              <a:ext uri="{FF2B5EF4-FFF2-40B4-BE49-F238E27FC236}">
                <a16:creationId xmlns:a16="http://schemas.microsoft.com/office/drawing/2014/main" id="{FBB0123B-BB79-4D97-9EE9-7141FB74907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824535">
            <a:off x="5665667" y="2941471"/>
            <a:ext cx="1656839" cy="1656839"/>
          </a:xfrm>
          <a:prstGeom prst="rect">
            <a:avLst/>
          </a:prstGeom>
        </p:spPr>
      </p:pic>
      <p:sp>
        <p:nvSpPr>
          <p:cNvPr id="106" name="Oval 82">
            <a:extLst>
              <a:ext uri="{FF2B5EF4-FFF2-40B4-BE49-F238E27FC236}">
                <a16:creationId xmlns:a16="http://schemas.microsoft.com/office/drawing/2014/main" id="{6ACC1381-0C81-4C5F-A76B-AFECC3B216B4}"/>
              </a:ext>
            </a:extLst>
          </p:cNvPr>
          <p:cNvSpPr>
            <a:spLocks/>
          </p:cNvSpPr>
          <p:nvPr/>
        </p:nvSpPr>
        <p:spPr>
          <a:xfrm>
            <a:off x="6068311" y="3349015"/>
            <a:ext cx="855115" cy="855115"/>
          </a:xfrm>
          <a:prstGeom prst="ellipse">
            <a:avLst/>
          </a:prstGeom>
          <a:solidFill>
            <a:srgbClr val="008097"/>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spcBef>
                <a:spcPts val="300"/>
              </a:spcBef>
              <a:spcAft>
                <a:spcPts val="300"/>
              </a:spcAft>
            </a:pPr>
            <a:r>
              <a:rPr lang="en-US" sz="1200" b="1" err="1">
                <a:solidFill>
                  <a:schemeClr val="bg1"/>
                </a:solidFill>
              </a:rPr>
              <a:t>Gezamenlijk</a:t>
            </a:r>
            <a:br>
              <a:rPr lang="en-US" sz="1200" b="1">
                <a:solidFill>
                  <a:schemeClr val="bg1"/>
                </a:solidFill>
              </a:rPr>
            </a:br>
            <a:r>
              <a:rPr lang="en-US" sz="1200" b="1" err="1">
                <a:solidFill>
                  <a:schemeClr val="bg1"/>
                </a:solidFill>
              </a:rPr>
              <a:t>lesontwerp</a:t>
            </a:r>
            <a:endParaRPr lang="en-US" sz="1200" b="1">
              <a:solidFill>
                <a:schemeClr val="bg1"/>
              </a:solidFill>
            </a:endParaRPr>
          </a:p>
        </p:txBody>
      </p:sp>
      <p:pic>
        <p:nvPicPr>
          <p:cNvPr id="109" name="Graphic 106" descr="Single gear">
            <a:extLst>
              <a:ext uri="{FF2B5EF4-FFF2-40B4-BE49-F238E27FC236}">
                <a16:creationId xmlns:a16="http://schemas.microsoft.com/office/drawing/2014/main" id="{8822BB40-CC44-4C28-A573-452FAC1B657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824535">
            <a:off x="4151333" y="3434291"/>
            <a:ext cx="1656839" cy="1656839"/>
          </a:xfrm>
          <a:prstGeom prst="rect">
            <a:avLst/>
          </a:prstGeom>
        </p:spPr>
      </p:pic>
      <p:sp>
        <p:nvSpPr>
          <p:cNvPr id="112" name="Oval 107">
            <a:extLst>
              <a:ext uri="{FF2B5EF4-FFF2-40B4-BE49-F238E27FC236}">
                <a16:creationId xmlns:a16="http://schemas.microsoft.com/office/drawing/2014/main" id="{46A48314-00DD-4425-B6A5-EF155C0ADAE5}"/>
              </a:ext>
            </a:extLst>
          </p:cNvPr>
          <p:cNvSpPr>
            <a:spLocks/>
          </p:cNvSpPr>
          <p:nvPr/>
        </p:nvSpPr>
        <p:spPr>
          <a:xfrm>
            <a:off x="4553977" y="3841835"/>
            <a:ext cx="855115" cy="855115"/>
          </a:xfrm>
          <a:prstGeom prst="ellipse">
            <a:avLst/>
          </a:prstGeom>
          <a:solidFill>
            <a:srgbClr val="00808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spcBef>
                <a:spcPts val="300"/>
              </a:spcBef>
              <a:spcAft>
                <a:spcPts val="300"/>
              </a:spcAft>
            </a:pPr>
            <a:r>
              <a:rPr lang="en-US" sz="1200" b="1">
                <a:solidFill>
                  <a:schemeClr val="bg1"/>
                </a:solidFill>
              </a:rPr>
              <a:t>Stem </a:t>
            </a:r>
            <a:br>
              <a:rPr lang="en-US" sz="1200" b="1">
                <a:solidFill>
                  <a:schemeClr val="bg1"/>
                </a:solidFill>
              </a:rPr>
            </a:br>
            <a:r>
              <a:rPr lang="en-US" sz="1200" b="1">
                <a:solidFill>
                  <a:schemeClr val="bg1"/>
                </a:solidFill>
              </a:rPr>
              <a:t>van de </a:t>
            </a:r>
            <a:br>
              <a:rPr lang="en-US" sz="1200" b="1">
                <a:solidFill>
                  <a:schemeClr val="bg1"/>
                </a:solidFill>
              </a:rPr>
            </a:br>
            <a:r>
              <a:rPr lang="en-US" sz="1200" b="1" err="1">
                <a:solidFill>
                  <a:schemeClr val="bg1"/>
                </a:solidFill>
              </a:rPr>
              <a:t>leerling</a:t>
            </a:r>
            <a:endParaRPr lang="en-US" sz="1200" b="1">
              <a:solidFill>
                <a:schemeClr val="bg1"/>
              </a:solidFill>
            </a:endParaRPr>
          </a:p>
        </p:txBody>
      </p:sp>
      <p:pic>
        <p:nvPicPr>
          <p:cNvPr id="113" name="Graphic 109" descr="Single gear">
            <a:extLst>
              <a:ext uri="{FF2B5EF4-FFF2-40B4-BE49-F238E27FC236}">
                <a16:creationId xmlns:a16="http://schemas.microsoft.com/office/drawing/2014/main" id="{9357880A-06AF-49F3-A5BA-8C1E058344C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167045" y="4000919"/>
            <a:ext cx="1656839" cy="1656839"/>
          </a:xfrm>
          <a:prstGeom prst="rect">
            <a:avLst/>
          </a:prstGeom>
        </p:spPr>
      </p:pic>
      <p:sp>
        <p:nvSpPr>
          <p:cNvPr id="114" name="Oval 110">
            <a:extLst>
              <a:ext uri="{FF2B5EF4-FFF2-40B4-BE49-F238E27FC236}">
                <a16:creationId xmlns:a16="http://schemas.microsoft.com/office/drawing/2014/main" id="{6C7ED5FD-EF44-4D9D-85EF-FB86F8FFC83B}"/>
              </a:ext>
            </a:extLst>
          </p:cNvPr>
          <p:cNvSpPr>
            <a:spLocks/>
          </p:cNvSpPr>
          <p:nvPr/>
        </p:nvSpPr>
        <p:spPr>
          <a:xfrm>
            <a:off x="5569689" y="4408463"/>
            <a:ext cx="855115" cy="855115"/>
          </a:xfrm>
          <a:prstGeom prst="ellipse">
            <a:avLst/>
          </a:prstGeom>
          <a:solidFill>
            <a:srgbClr val="9DC3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err="1">
                <a:solidFill>
                  <a:schemeClr val="tx1"/>
                </a:solidFill>
              </a:rPr>
              <a:t>Lesbezoek</a:t>
            </a:r>
            <a:r>
              <a:rPr lang="en-US" sz="1200" b="1">
                <a:solidFill>
                  <a:schemeClr val="tx1"/>
                </a:solidFill>
              </a:rPr>
              <a:t> </a:t>
            </a:r>
          </a:p>
          <a:p>
            <a:pPr algn="ctr"/>
            <a:r>
              <a:rPr lang="en-US" sz="1200" b="1" err="1">
                <a:solidFill>
                  <a:schemeClr val="tx1"/>
                </a:solidFill>
              </a:rPr>
              <a:t>en</a:t>
            </a:r>
            <a:r>
              <a:rPr lang="en-US" sz="1200" b="1">
                <a:solidFill>
                  <a:schemeClr val="tx1"/>
                </a:solidFill>
              </a:rPr>
              <a:t> </a:t>
            </a:r>
          </a:p>
          <a:p>
            <a:pPr algn="ctr"/>
            <a:r>
              <a:rPr lang="en-US" sz="1200" b="1">
                <a:solidFill>
                  <a:schemeClr val="tx1"/>
                </a:solidFill>
              </a:rPr>
              <a:t>feedback</a:t>
            </a:r>
          </a:p>
        </p:txBody>
      </p:sp>
      <p:grpSp>
        <p:nvGrpSpPr>
          <p:cNvPr id="115" name="Group 4">
            <a:extLst>
              <a:ext uri="{FF2B5EF4-FFF2-40B4-BE49-F238E27FC236}">
                <a16:creationId xmlns:a16="http://schemas.microsoft.com/office/drawing/2014/main" id="{4F1FA87C-04E6-4510-855F-9C40C36751B9}"/>
              </a:ext>
            </a:extLst>
          </p:cNvPr>
          <p:cNvGrpSpPr/>
          <p:nvPr/>
        </p:nvGrpSpPr>
        <p:grpSpPr>
          <a:xfrm>
            <a:off x="571499" y="1552816"/>
            <a:ext cx="4110686" cy="876579"/>
            <a:chOff x="2350639" y="2430022"/>
            <a:chExt cx="4017781" cy="1254735"/>
          </a:xfrm>
        </p:grpSpPr>
        <p:cxnSp>
          <p:nvCxnSpPr>
            <p:cNvPr id="116" name="Straight Arrow Connector 12">
              <a:extLst>
                <a:ext uri="{FF2B5EF4-FFF2-40B4-BE49-F238E27FC236}">
                  <a16:creationId xmlns:a16="http://schemas.microsoft.com/office/drawing/2014/main" id="{0116C7D7-3B00-4FD7-A714-C9049BEF5F08}"/>
                </a:ext>
              </a:extLst>
            </p:cNvPr>
            <p:cNvCxnSpPr>
              <a:cxnSpLocks/>
            </p:cNvCxnSpPr>
            <p:nvPr/>
          </p:nvCxnSpPr>
          <p:spPr>
            <a:xfrm>
              <a:off x="2482230" y="2805331"/>
              <a:ext cx="3715370" cy="0"/>
            </a:xfrm>
            <a:prstGeom prst="straightConnector1">
              <a:avLst/>
            </a:prstGeom>
            <a:ln w="19050" cap="flat">
              <a:solidFill>
                <a:schemeClr val="accent2"/>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117" name="Rectangle 15">
              <a:extLst>
                <a:ext uri="{FF2B5EF4-FFF2-40B4-BE49-F238E27FC236}">
                  <a16:creationId xmlns:a16="http://schemas.microsoft.com/office/drawing/2014/main" id="{C0505411-46D3-4950-ABD8-1AA4FCDCE832}"/>
                </a:ext>
              </a:extLst>
            </p:cNvPr>
            <p:cNvSpPr/>
            <p:nvPr/>
          </p:nvSpPr>
          <p:spPr>
            <a:xfrm>
              <a:off x="2350639" y="2430022"/>
              <a:ext cx="4017781" cy="1254735"/>
            </a:xfrm>
            <a:prstGeom prst="rect">
              <a:avLst/>
            </a:prstGeom>
            <a:no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18" name="TextBox 16">
              <a:extLst>
                <a:ext uri="{FF2B5EF4-FFF2-40B4-BE49-F238E27FC236}">
                  <a16:creationId xmlns:a16="http://schemas.microsoft.com/office/drawing/2014/main" id="{3588461C-674A-4769-80D1-7AF4FA472B40}"/>
                </a:ext>
              </a:extLst>
            </p:cNvPr>
            <p:cNvSpPr txBox="1">
              <a:spLocks/>
            </p:cNvSpPr>
            <p:nvPr/>
          </p:nvSpPr>
          <p:spPr>
            <a:xfrm>
              <a:off x="2557242" y="2525892"/>
              <a:ext cx="383950"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nl-NL" sz="1400" b="1">
                  <a:cs typeface="+mn-cs"/>
                </a:rPr>
                <a:t>aug</a:t>
              </a:r>
            </a:p>
          </p:txBody>
        </p:sp>
        <p:sp>
          <p:nvSpPr>
            <p:cNvPr id="119" name="TextBox 17">
              <a:extLst>
                <a:ext uri="{FF2B5EF4-FFF2-40B4-BE49-F238E27FC236}">
                  <a16:creationId xmlns:a16="http://schemas.microsoft.com/office/drawing/2014/main" id="{99EB5890-2569-410B-8E54-29D18A529BA1}"/>
                </a:ext>
              </a:extLst>
            </p:cNvPr>
            <p:cNvSpPr txBox="1">
              <a:spLocks/>
            </p:cNvSpPr>
            <p:nvPr/>
          </p:nvSpPr>
          <p:spPr>
            <a:xfrm>
              <a:off x="5854557" y="2525892"/>
              <a:ext cx="383950"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nl-NL" sz="1400" b="1">
                  <a:cs typeface="+mn-cs"/>
                </a:rPr>
                <a:t>jun</a:t>
              </a:r>
            </a:p>
          </p:txBody>
        </p:sp>
        <p:sp>
          <p:nvSpPr>
            <p:cNvPr id="120" name="TextBox 18">
              <a:extLst>
                <a:ext uri="{FF2B5EF4-FFF2-40B4-BE49-F238E27FC236}">
                  <a16:creationId xmlns:a16="http://schemas.microsoft.com/office/drawing/2014/main" id="{3063ED12-7CD2-4D22-81C4-5C69F832580D}"/>
                </a:ext>
              </a:extLst>
            </p:cNvPr>
            <p:cNvSpPr txBox="1">
              <a:spLocks/>
            </p:cNvSpPr>
            <p:nvPr/>
          </p:nvSpPr>
          <p:spPr>
            <a:xfrm>
              <a:off x="3216705" y="2525892"/>
              <a:ext cx="383950"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nl-NL" sz="1400" b="1">
                  <a:cs typeface="+mn-cs"/>
                </a:rPr>
                <a:t>okt</a:t>
              </a:r>
            </a:p>
          </p:txBody>
        </p:sp>
        <p:sp>
          <p:nvSpPr>
            <p:cNvPr id="121" name="TextBox 19">
              <a:extLst>
                <a:ext uri="{FF2B5EF4-FFF2-40B4-BE49-F238E27FC236}">
                  <a16:creationId xmlns:a16="http://schemas.microsoft.com/office/drawing/2014/main" id="{581AACE2-9F3F-45AE-8E2D-2882E9E555AE}"/>
                </a:ext>
              </a:extLst>
            </p:cNvPr>
            <p:cNvSpPr txBox="1">
              <a:spLocks/>
            </p:cNvSpPr>
            <p:nvPr/>
          </p:nvSpPr>
          <p:spPr>
            <a:xfrm>
              <a:off x="3876168" y="2525892"/>
              <a:ext cx="383950"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nl-NL" sz="1400" b="1">
                  <a:cs typeface="+mn-cs"/>
                </a:rPr>
                <a:t>dec</a:t>
              </a:r>
            </a:p>
          </p:txBody>
        </p:sp>
        <p:sp>
          <p:nvSpPr>
            <p:cNvPr id="122" name="TextBox 20">
              <a:extLst>
                <a:ext uri="{FF2B5EF4-FFF2-40B4-BE49-F238E27FC236}">
                  <a16:creationId xmlns:a16="http://schemas.microsoft.com/office/drawing/2014/main" id="{F6E916D2-9342-47DE-ADD9-2556C05B9182}"/>
                </a:ext>
              </a:extLst>
            </p:cNvPr>
            <p:cNvSpPr txBox="1">
              <a:spLocks/>
            </p:cNvSpPr>
            <p:nvPr/>
          </p:nvSpPr>
          <p:spPr>
            <a:xfrm>
              <a:off x="4535631" y="2525892"/>
              <a:ext cx="383950"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nl-NL" sz="1400" b="1">
                  <a:cs typeface="+mn-cs"/>
                </a:rPr>
                <a:t>feb</a:t>
              </a:r>
            </a:p>
          </p:txBody>
        </p:sp>
        <p:sp>
          <p:nvSpPr>
            <p:cNvPr id="123" name="TextBox 21">
              <a:extLst>
                <a:ext uri="{FF2B5EF4-FFF2-40B4-BE49-F238E27FC236}">
                  <a16:creationId xmlns:a16="http://schemas.microsoft.com/office/drawing/2014/main" id="{FAAA7BF6-251E-420A-BF6A-AACA2C389A33}"/>
                </a:ext>
              </a:extLst>
            </p:cNvPr>
            <p:cNvSpPr txBox="1">
              <a:spLocks/>
            </p:cNvSpPr>
            <p:nvPr/>
          </p:nvSpPr>
          <p:spPr>
            <a:xfrm>
              <a:off x="5195094" y="2525892"/>
              <a:ext cx="383950"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nl-NL" sz="1400" b="1">
                  <a:cs typeface="+mn-cs"/>
                </a:rPr>
                <a:t>apr</a:t>
              </a:r>
            </a:p>
          </p:txBody>
        </p:sp>
        <p:cxnSp>
          <p:nvCxnSpPr>
            <p:cNvPr id="124" name="Straight Connector 23">
              <a:extLst>
                <a:ext uri="{FF2B5EF4-FFF2-40B4-BE49-F238E27FC236}">
                  <a16:creationId xmlns:a16="http://schemas.microsoft.com/office/drawing/2014/main" id="{0F739829-863C-4E00-A461-B3513CAF8DB6}"/>
                </a:ext>
              </a:extLst>
            </p:cNvPr>
            <p:cNvCxnSpPr>
              <a:cxnSpLocks/>
            </p:cNvCxnSpPr>
            <p:nvPr/>
          </p:nvCxnSpPr>
          <p:spPr>
            <a:xfrm>
              <a:off x="2350639" y="2894830"/>
              <a:ext cx="4017781"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5" name="Straight Connector 24">
              <a:extLst>
                <a:ext uri="{FF2B5EF4-FFF2-40B4-BE49-F238E27FC236}">
                  <a16:creationId xmlns:a16="http://schemas.microsoft.com/office/drawing/2014/main" id="{859220D7-177B-447E-ADFA-2F94FE697102}"/>
                </a:ext>
              </a:extLst>
            </p:cNvPr>
            <p:cNvCxnSpPr>
              <a:cxnSpLocks/>
            </p:cNvCxnSpPr>
            <p:nvPr/>
          </p:nvCxnSpPr>
          <p:spPr>
            <a:xfrm>
              <a:off x="2350639" y="3270750"/>
              <a:ext cx="4017781"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6" name="Straight Connector 25">
              <a:extLst>
                <a:ext uri="{FF2B5EF4-FFF2-40B4-BE49-F238E27FC236}">
                  <a16:creationId xmlns:a16="http://schemas.microsoft.com/office/drawing/2014/main" id="{0634206C-8127-4F8E-9523-68E4CAEF510D}"/>
                </a:ext>
              </a:extLst>
            </p:cNvPr>
            <p:cNvCxnSpPr>
              <a:cxnSpLocks/>
            </p:cNvCxnSpPr>
            <p:nvPr/>
          </p:nvCxnSpPr>
          <p:spPr>
            <a:xfrm>
              <a:off x="3268367" y="2894830"/>
              <a:ext cx="0" cy="789927"/>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7" name="Straight Connector 28">
              <a:extLst>
                <a:ext uri="{FF2B5EF4-FFF2-40B4-BE49-F238E27FC236}">
                  <a16:creationId xmlns:a16="http://schemas.microsoft.com/office/drawing/2014/main" id="{B1FB1FE2-69CB-4DB3-9A2C-9F62C3FB24C3}"/>
                </a:ext>
              </a:extLst>
            </p:cNvPr>
            <p:cNvCxnSpPr>
              <a:cxnSpLocks/>
            </p:cNvCxnSpPr>
            <p:nvPr/>
          </p:nvCxnSpPr>
          <p:spPr>
            <a:xfrm>
              <a:off x="2548759" y="2894830"/>
              <a:ext cx="0" cy="789927"/>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8" name="Straight Connector 29">
              <a:extLst>
                <a:ext uri="{FF2B5EF4-FFF2-40B4-BE49-F238E27FC236}">
                  <a16:creationId xmlns:a16="http://schemas.microsoft.com/office/drawing/2014/main" id="{CD84E3D4-3A6F-424B-8645-6197EB69695D}"/>
                </a:ext>
              </a:extLst>
            </p:cNvPr>
            <p:cNvCxnSpPr>
              <a:cxnSpLocks/>
            </p:cNvCxnSpPr>
            <p:nvPr/>
          </p:nvCxnSpPr>
          <p:spPr>
            <a:xfrm>
              <a:off x="3987975" y="2894830"/>
              <a:ext cx="0" cy="789927"/>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9" name="Straight Connector 30">
              <a:extLst>
                <a:ext uri="{FF2B5EF4-FFF2-40B4-BE49-F238E27FC236}">
                  <a16:creationId xmlns:a16="http://schemas.microsoft.com/office/drawing/2014/main" id="{745EFAF6-F07F-4C81-91E8-D765FD7A407E}"/>
                </a:ext>
              </a:extLst>
            </p:cNvPr>
            <p:cNvCxnSpPr>
              <a:cxnSpLocks/>
            </p:cNvCxnSpPr>
            <p:nvPr/>
          </p:nvCxnSpPr>
          <p:spPr>
            <a:xfrm>
              <a:off x="4707583" y="2894830"/>
              <a:ext cx="0" cy="789927"/>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0" name="Straight Connector 31">
              <a:extLst>
                <a:ext uri="{FF2B5EF4-FFF2-40B4-BE49-F238E27FC236}">
                  <a16:creationId xmlns:a16="http://schemas.microsoft.com/office/drawing/2014/main" id="{209F3707-495D-46AF-89C8-5770E838B087}"/>
                </a:ext>
              </a:extLst>
            </p:cNvPr>
            <p:cNvCxnSpPr>
              <a:cxnSpLocks/>
            </p:cNvCxnSpPr>
            <p:nvPr/>
          </p:nvCxnSpPr>
          <p:spPr>
            <a:xfrm>
              <a:off x="5427191" y="2894830"/>
              <a:ext cx="0" cy="789927"/>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1" name="Straight Connector 32">
              <a:extLst>
                <a:ext uri="{FF2B5EF4-FFF2-40B4-BE49-F238E27FC236}">
                  <a16:creationId xmlns:a16="http://schemas.microsoft.com/office/drawing/2014/main" id="{C98AEFBC-1F55-4055-ACF6-C10B611A7BA1}"/>
                </a:ext>
              </a:extLst>
            </p:cNvPr>
            <p:cNvCxnSpPr>
              <a:cxnSpLocks/>
            </p:cNvCxnSpPr>
            <p:nvPr/>
          </p:nvCxnSpPr>
          <p:spPr>
            <a:xfrm>
              <a:off x="6146800" y="2894830"/>
              <a:ext cx="0" cy="789927"/>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2" name="TextBox 33">
              <a:extLst>
                <a:ext uri="{FF2B5EF4-FFF2-40B4-BE49-F238E27FC236}">
                  <a16:creationId xmlns:a16="http://schemas.microsoft.com/office/drawing/2014/main" id="{5B05D1B0-A17A-4A0B-BBDC-0311561E3BE4}"/>
                </a:ext>
              </a:extLst>
            </p:cNvPr>
            <p:cNvSpPr txBox="1">
              <a:spLocks/>
            </p:cNvSpPr>
            <p:nvPr/>
          </p:nvSpPr>
          <p:spPr>
            <a:xfrm>
              <a:off x="2671466" y="3000007"/>
              <a:ext cx="507063"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nl-NL" sz="1000" b="1">
                  <a:cs typeface="+mn-cs"/>
                </a:rPr>
                <a:t>Periode 1</a:t>
              </a:r>
            </a:p>
          </p:txBody>
        </p:sp>
        <p:sp>
          <p:nvSpPr>
            <p:cNvPr id="133" name="TextBox 36">
              <a:extLst>
                <a:ext uri="{FF2B5EF4-FFF2-40B4-BE49-F238E27FC236}">
                  <a16:creationId xmlns:a16="http://schemas.microsoft.com/office/drawing/2014/main" id="{4688FF2E-6E97-4257-8F39-14B1706D9D81}"/>
                </a:ext>
              </a:extLst>
            </p:cNvPr>
            <p:cNvSpPr txBox="1">
              <a:spLocks/>
            </p:cNvSpPr>
            <p:nvPr/>
          </p:nvSpPr>
          <p:spPr>
            <a:xfrm>
              <a:off x="3392639" y="3000007"/>
              <a:ext cx="507063"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nl-NL" sz="1000" b="1">
                  <a:cs typeface="+mn-cs"/>
                </a:rPr>
                <a:t>Periode 2</a:t>
              </a:r>
            </a:p>
          </p:txBody>
        </p:sp>
        <p:sp>
          <p:nvSpPr>
            <p:cNvPr id="134" name="TextBox 37">
              <a:extLst>
                <a:ext uri="{FF2B5EF4-FFF2-40B4-BE49-F238E27FC236}">
                  <a16:creationId xmlns:a16="http://schemas.microsoft.com/office/drawing/2014/main" id="{713E313B-AEE5-44EC-84E7-09F7CAD75842}"/>
                </a:ext>
              </a:extLst>
            </p:cNvPr>
            <p:cNvSpPr txBox="1">
              <a:spLocks/>
            </p:cNvSpPr>
            <p:nvPr/>
          </p:nvSpPr>
          <p:spPr>
            <a:xfrm>
              <a:off x="5556157" y="3000007"/>
              <a:ext cx="507063"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nl-NL" sz="1000" b="1">
                  <a:cs typeface="+mn-cs"/>
                </a:rPr>
                <a:t>Periode 5</a:t>
              </a:r>
            </a:p>
          </p:txBody>
        </p:sp>
        <p:sp>
          <p:nvSpPr>
            <p:cNvPr id="135" name="TextBox 38">
              <a:extLst>
                <a:ext uri="{FF2B5EF4-FFF2-40B4-BE49-F238E27FC236}">
                  <a16:creationId xmlns:a16="http://schemas.microsoft.com/office/drawing/2014/main" id="{756114C2-1525-41E9-B617-12F66B072730}"/>
                </a:ext>
              </a:extLst>
            </p:cNvPr>
            <p:cNvSpPr txBox="1">
              <a:spLocks/>
            </p:cNvSpPr>
            <p:nvPr/>
          </p:nvSpPr>
          <p:spPr>
            <a:xfrm>
              <a:off x="4834985" y="3000007"/>
              <a:ext cx="507063"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nl-NL" sz="1000" b="1">
                  <a:cs typeface="+mn-cs"/>
                </a:rPr>
                <a:t>Periode 4</a:t>
              </a:r>
            </a:p>
          </p:txBody>
        </p:sp>
        <p:sp>
          <p:nvSpPr>
            <p:cNvPr id="136" name="TextBox 39">
              <a:extLst>
                <a:ext uri="{FF2B5EF4-FFF2-40B4-BE49-F238E27FC236}">
                  <a16:creationId xmlns:a16="http://schemas.microsoft.com/office/drawing/2014/main" id="{DDE80BAD-9273-4503-AD90-154F3AC4E092}"/>
                </a:ext>
              </a:extLst>
            </p:cNvPr>
            <p:cNvSpPr txBox="1">
              <a:spLocks/>
            </p:cNvSpPr>
            <p:nvPr/>
          </p:nvSpPr>
          <p:spPr>
            <a:xfrm>
              <a:off x="4113812" y="3000007"/>
              <a:ext cx="507063"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nl-NL" sz="1000" b="1">
                  <a:cs typeface="+mn-cs"/>
                </a:rPr>
                <a:t>Periode 3</a:t>
              </a:r>
            </a:p>
          </p:txBody>
        </p:sp>
        <p:sp>
          <p:nvSpPr>
            <p:cNvPr id="137" name="TextBox 45">
              <a:extLst>
                <a:ext uri="{FF2B5EF4-FFF2-40B4-BE49-F238E27FC236}">
                  <a16:creationId xmlns:a16="http://schemas.microsoft.com/office/drawing/2014/main" id="{A30B6118-9480-479E-AFBD-386DF19A84D1}"/>
                </a:ext>
              </a:extLst>
            </p:cNvPr>
            <p:cNvSpPr txBox="1">
              <a:spLocks/>
            </p:cNvSpPr>
            <p:nvPr/>
          </p:nvSpPr>
          <p:spPr>
            <a:xfrm>
              <a:off x="2678002" y="3382700"/>
              <a:ext cx="507063"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nl-NL" sz="1000">
                  <a:cs typeface="+mn-cs"/>
                </a:rPr>
                <a:t>Thema A</a:t>
              </a:r>
            </a:p>
          </p:txBody>
        </p:sp>
        <p:sp>
          <p:nvSpPr>
            <p:cNvPr id="138" name="TextBox 46">
              <a:extLst>
                <a:ext uri="{FF2B5EF4-FFF2-40B4-BE49-F238E27FC236}">
                  <a16:creationId xmlns:a16="http://schemas.microsoft.com/office/drawing/2014/main" id="{4672FB1A-5577-4766-891D-8D4F02D4BA2C}"/>
                </a:ext>
              </a:extLst>
            </p:cNvPr>
            <p:cNvSpPr txBox="1">
              <a:spLocks/>
            </p:cNvSpPr>
            <p:nvPr/>
          </p:nvSpPr>
          <p:spPr>
            <a:xfrm>
              <a:off x="3402082" y="3382700"/>
              <a:ext cx="507063"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nl-NL" sz="1000" b="1">
                  <a:cs typeface="+mn-cs"/>
                </a:rPr>
                <a:t>Thema B</a:t>
              </a:r>
            </a:p>
          </p:txBody>
        </p:sp>
        <p:sp>
          <p:nvSpPr>
            <p:cNvPr id="139" name="TextBox 47">
              <a:extLst>
                <a:ext uri="{FF2B5EF4-FFF2-40B4-BE49-F238E27FC236}">
                  <a16:creationId xmlns:a16="http://schemas.microsoft.com/office/drawing/2014/main" id="{13E2FFEE-B163-483C-8F6B-35B3D86C4743}"/>
                </a:ext>
              </a:extLst>
            </p:cNvPr>
            <p:cNvSpPr txBox="1">
              <a:spLocks/>
            </p:cNvSpPr>
            <p:nvPr/>
          </p:nvSpPr>
          <p:spPr>
            <a:xfrm>
              <a:off x="4126162" y="3382700"/>
              <a:ext cx="507063"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nl-NL" sz="1000">
                  <a:cs typeface="+mn-cs"/>
                </a:rPr>
                <a:t>Thema C</a:t>
              </a:r>
            </a:p>
          </p:txBody>
        </p:sp>
        <p:sp>
          <p:nvSpPr>
            <p:cNvPr id="140" name="TextBox 48">
              <a:extLst>
                <a:ext uri="{FF2B5EF4-FFF2-40B4-BE49-F238E27FC236}">
                  <a16:creationId xmlns:a16="http://schemas.microsoft.com/office/drawing/2014/main" id="{65992111-2FF9-4816-91DD-FBC8DD2C3D0D}"/>
                </a:ext>
              </a:extLst>
            </p:cNvPr>
            <p:cNvSpPr txBox="1">
              <a:spLocks/>
            </p:cNvSpPr>
            <p:nvPr/>
          </p:nvSpPr>
          <p:spPr>
            <a:xfrm>
              <a:off x="4850242" y="3382700"/>
              <a:ext cx="507063"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nl-NL" sz="1000">
                  <a:cs typeface="+mn-cs"/>
                </a:rPr>
                <a:t>Thema D</a:t>
              </a:r>
            </a:p>
          </p:txBody>
        </p:sp>
        <p:sp>
          <p:nvSpPr>
            <p:cNvPr id="141" name="TextBox 49">
              <a:extLst>
                <a:ext uri="{FF2B5EF4-FFF2-40B4-BE49-F238E27FC236}">
                  <a16:creationId xmlns:a16="http://schemas.microsoft.com/office/drawing/2014/main" id="{B8456F0E-7168-436E-8FC9-B2D8263D555A}"/>
                </a:ext>
              </a:extLst>
            </p:cNvPr>
            <p:cNvSpPr txBox="1">
              <a:spLocks/>
            </p:cNvSpPr>
            <p:nvPr/>
          </p:nvSpPr>
          <p:spPr>
            <a:xfrm>
              <a:off x="5574321" y="3382700"/>
              <a:ext cx="507063"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nl-NL" sz="1000">
                  <a:cs typeface="+mn-cs"/>
                </a:rPr>
                <a:t>Thema E</a:t>
              </a:r>
            </a:p>
          </p:txBody>
        </p:sp>
        <p:sp>
          <p:nvSpPr>
            <p:cNvPr id="142" name="Rectangle 50">
              <a:extLst>
                <a:ext uri="{FF2B5EF4-FFF2-40B4-BE49-F238E27FC236}">
                  <a16:creationId xmlns:a16="http://schemas.microsoft.com/office/drawing/2014/main" id="{B3DCB951-5B87-4447-836D-B61187D9D6F9}"/>
                </a:ext>
              </a:extLst>
            </p:cNvPr>
            <p:cNvSpPr/>
            <p:nvPr/>
          </p:nvSpPr>
          <p:spPr>
            <a:xfrm>
              <a:off x="3268368" y="3265145"/>
              <a:ext cx="719608" cy="419607"/>
            </a:xfrm>
            <a:prstGeom prst="rect">
              <a:avLst/>
            </a:prstGeom>
            <a:noFill/>
            <a:ln w="19050"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grpSp>
      <p:sp>
        <p:nvSpPr>
          <p:cNvPr id="143" name="TextBox 14">
            <a:extLst>
              <a:ext uri="{FF2B5EF4-FFF2-40B4-BE49-F238E27FC236}">
                <a16:creationId xmlns:a16="http://schemas.microsoft.com/office/drawing/2014/main" id="{6A1ABB49-64FC-4ED5-80F3-F74397C3C698}"/>
              </a:ext>
            </a:extLst>
          </p:cNvPr>
          <p:cNvSpPr txBox="1">
            <a:spLocks/>
          </p:cNvSpPr>
          <p:nvPr/>
        </p:nvSpPr>
        <p:spPr>
          <a:xfrm>
            <a:off x="571498" y="2511090"/>
            <a:ext cx="3362727" cy="64633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nl-NL" sz="1400">
                <a:cs typeface="+mn-cs"/>
              </a:rPr>
              <a:t>De ambitie wordt door het schoolteam vertaald in een </a:t>
            </a:r>
            <a:r>
              <a:rPr lang="nl-NL" sz="1400" b="1">
                <a:cs typeface="+mn-cs"/>
              </a:rPr>
              <a:t>jaarbord</a:t>
            </a:r>
            <a:r>
              <a:rPr lang="nl-NL" sz="1400">
                <a:cs typeface="+mn-cs"/>
              </a:rPr>
              <a:t> met per periode telkens een onderwijs-</a:t>
            </a:r>
            <a:r>
              <a:rPr lang="nl-NL" sz="1400" b="1">
                <a:cs typeface="+mn-cs"/>
              </a:rPr>
              <a:t>thema</a:t>
            </a:r>
          </a:p>
        </p:txBody>
      </p:sp>
      <p:grpSp>
        <p:nvGrpSpPr>
          <p:cNvPr id="144" name="Group 2">
            <a:extLst>
              <a:ext uri="{FF2B5EF4-FFF2-40B4-BE49-F238E27FC236}">
                <a16:creationId xmlns:a16="http://schemas.microsoft.com/office/drawing/2014/main" id="{8B6EE10F-E762-4A7B-A4B0-AB62CE909E47}"/>
              </a:ext>
            </a:extLst>
          </p:cNvPr>
          <p:cNvGrpSpPr/>
          <p:nvPr/>
        </p:nvGrpSpPr>
        <p:grpSpPr>
          <a:xfrm>
            <a:off x="7802880" y="4500004"/>
            <a:ext cx="3834384" cy="1938989"/>
            <a:chOff x="262151" y="4334060"/>
            <a:chExt cx="4092781" cy="1938989"/>
          </a:xfrm>
        </p:grpSpPr>
        <p:sp>
          <p:nvSpPr>
            <p:cNvPr id="145" name="TextBox 63">
              <a:extLst>
                <a:ext uri="{FF2B5EF4-FFF2-40B4-BE49-F238E27FC236}">
                  <a16:creationId xmlns:a16="http://schemas.microsoft.com/office/drawing/2014/main" id="{96799631-26C9-45BF-BD38-DF7C1BE0605E}"/>
                </a:ext>
              </a:extLst>
            </p:cNvPr>
            <p:cNvSpPr txBox="1">
              <a:spLocks/>
            </p:cNvSpPr>
            <p:nvPr/>
          </p:nvSpPr>
          <p:spPr>
            <a:xfrm>
              <a:off x="1971033" y="4343734"/>
              <a:ext cx="928617"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nl-NL" sz="1400">
                  <a:cs typeface="+mn-cs"/>
                </a:rPr>
                <a:t>6 – 8 weken</a:t>
              </a:r>
            </a:p>
          </p:txBody>
        </p:sp>
        <p:pic>
          <p:nvPicPr>
            <p:cNvPr id="146" name="Graphic 145" descr="Meeting">
              <a:extLst>
                <a:ext uri="{FF2B5EF4-FFF2-40B4-BE49-F238E27FC236}">
                  <a16:creationId xmlns:a16="http://schemas.microsoft.com/office/drawing/2014/main" id="{AAF955E3-50B0-49B1-B4BF-DB5E774BA6C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03068" y="5350122"/>
              <a:ext cx="584331" cy="584331"/>
            </a:xfrm>
            <a:prstGeom prst="rect">
              <a:avLst/>
            </a:prstGeom>
          </p:spPr>
        </p:pic>
        <p:sp>
          <p:nvSpPr>
            <p:cNvPr id="147" name="Speech Bubble: Rectangle with Corners Rounded 69">
              <a:extLst>
                <a:ext uri="{FF2B5EF4-FFF2-40B4-BE49-F238E27FC236}">
                  <a16:creationId xmlns:a16="http://schemas.microsoft.com/office/drawing/2014/main" id="{D6996E03-52B9-4A5D-B0C7-9F3C410C3A89}"/>
                </a:ext>
              </a:extLst>
            </p:cNvPr>
            <p:cNvSpPr/>
            <p:nvPr/>
          </p:nvSpPr>
          <p:spPr>
            <a:xfrm>
              <a:off x="343163" y="4943052"/>
              <a:ext cx="677799" cy="380491"/>
            </a:xfrm>
            <a:prstGeom prst="wedgeRoundRectCallout">
              <a:avLst>
                <a:gd name="adj1" fmla="val 33772"/>
                <a:gd name="adj2" fmla="val 76805"/>
                <a:gd name="adj3" fmla="val 16667"/>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000">
                  <a:solidFill>
                    <a:schemeClr val="bg1"/>
                  </a:solidFill>
                </a:rPr>
                <a:t>Doel &amp; </a:t>
              </a:r>
              <a:r>
                <a:rPr lang="en-US" sz="1000" err="1">
                  <a:solidFill>
                    <a:schemeClr val="bg1"/>
                  </a:solidFill>
                </a:rPr>
                <a:t>actie</a:t>
              </a:r>
              <a:r>
                <a:rPr lang="en-US" sz="1000">
                  <a:solidFill>
                    <a:schemeClr val="bg1"/>
                  </a:solidFill>
                </a:rPr>
                <a:t>?</a:t>
              </a:r>
            </a:p>
          </p:txBody>
        </p:sp>
        <p:pic>
          <p:nvPicPr>
            <p:cNvPr id="148" name="Graphic 147" descr="Gears">
              <a:extLst>
                <a:ext uri="{FF2B5EF4-FFF2-40B4-BE49-F238E27FC236}">
                  <a16:creationId xmlns:a16="http://schemas.microsoft.com/office/drawing/2014/main" id="{97CBC526-159B-4BB2-AB56-E0E786AF2174}"/>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552967" y="4864611"/>
              <a:ext cx="545503" cy="545503"/>
            </a:xfrm>
            <a:prstGeom prst="rect">
              <a:avLst/>
            </a:prstGeom>
          </p:spPr>
        </p:pic>
        <p:sp>
          <p:nvSpPr>
            <p:cNvPr id="149" name="TextBox 73">
              <a:extLst>
                <a:ext uri="{FF2B5EF4-FFF2-40B4-BE49-F238E27FC236}">
                  <a16:creationId xmlns:a16="http://schemas.microsoft.com/office/drawing/2014/main" id="{126297EF-3CFF-4F30-8690-716031BA4B12}"/>
                </a:ext>
              </a:extLst>
            </p:cNvPr>
            <p:cNvSpPr txBox="1">
              <a:spLocks/>
            </p:cNvSpPr>
            <p:nvPr/>
          </p:nvSpPr>
          <p:spPr>
            <a:xfrm>
              <a:off x="685999" y="5870182"/>
              <a:ext cx="338234"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nl-NL" sz="1000" b="1">
                  <a:cs typeface="+mn-cs"/>
                </a:rPr>
                <a:t>Aftrap</a:t>
              </a:r>
            </a:p>
          </p:txBody>
        </p:sp>
        <p:sp>
          <p:nvSpPr>
            <p:cNvPr id="150" name="TextBox 74">
              <a:extLst>
                <a:ext uri="{FF2B5EF4-FFF2-40B4-BE49-F238E27FC236}">
                  <a16:creationId xmlns:a16="http://schemas.microsoft.com/office/drawing/2014/main" id="{E5198909-C064-49FB-9DFA-C4735E1F0608}"/>
                </a:ext>
              </a:extLst>
            </p:cNvPr>
            <p:cNvSpPr txBox="1">
              <a:spLocks/>
            </p:cNvSpPr>
            <p:nvPr/>
          </p:nvSpPr>
          <p:spPr>
            <a:xfrm>
              <a:off x="2042159" y="5879170"/>
              <a:ext cx="561051"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nl-NL" sz="1000" b="1">
                  <a:cs typeface="+mn-cs"/>
                </a:rPr>
                <a:t>Uitvoering</a:t>
              </a:r>
            </a:p>
          </p:txBody>
        </p:sp>
        <p:pic>
          <p:nvPicPr>
            <p:cNvPr id="151" name="Graphic 150" descr="Repeat">
              <a:extLst>
                <a:ext uri="{FF2B5EF4-FFF2-40B4-BE49-F238E27FC236}">
                  <a16:creationId xmlns:a16="http://schemas.microsoft.com/office/drawing/2014/main" id="{4A3D6759-E2D9-4B65-9473-2C1C5402F676}"/>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2098470" y="4932988"/>
              <a:ext cx="454119" cy="454119"/>
            </a:xfrm>
            <a:prstGeom prst="rect">
              <a:avLst/>
            </a:prstGeom>
          </p:spPr>
        </p:pic>
        <p:pic>
          <p:nvPicPr>
            <p:cNvPr id="152" name="Graphic 151" descr="Classroom">
              <a:extLst>
                <a:ext uri="{FF2B5EF4-FFF2-40B4-BE49-F238E27FC236}">
                  <a16:creationId xmlns:a16="http://schemas.microsoft.com/office/drawing/2014/main" id="{6A70B3BA-CE8F-48F0-80A6-26B6A59B7419}"/>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2111440" y="5415014"/>
              <a:ext cx="441149" cy="441149"/>
            </a:xfrm>
            <a:prstGeom prst="rect">
              <a:avLst/>
            </a:prstGeom>
          </p:spPr>
        </p:pic>
        <p:cxnSp>
          <p:nvCxnSpPr>
            <p:cNvPr id="153" name="Straight Arrow Connector 81">
              <a:extLst>
                <a:ext uri="{FF2B5EF4-FFF2-40B4-BE49-F238E27FC236}">
                  <a16:creationId xmlns:a16="http://schemas.microsoft.com/office/drawing/2014/main" id="{908E6764-D1AF-47D7-B188-F0F4BEB7876D}"/>
                </a:ext>
              </a:extLst>
            </p:cNvPr>
            <p:cNvCxnSpPr>
              <a:cxnSpLocks/>
            </p:cNvCxnSpPr>
            <p:nvPr/>
          </p:nvCxnSpPr>
          <p:spPr>
            <a:xfrm>
              <a:off x="682062" y="4616221"/>
              <a:ext cx="3496148" cy="0"/>
            </a:xfrm>
            <a:prstGeom prst="straightConnector1">
              <a:avLst/>
            </a:prstGeom>
            <a:ln w="19050" cap="flat">
              <a:solidFill>
                <a:schemeClr val="accent2"/>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4" name="Straight Connector 83">
              <a:extLst>
                <a:ext uri="{FF2B5EF4-FFF2-40B4-BE49-F238E27FC236}">
                  <a16:creationId xmlns:a16="http://schemas.microsoft.com/office/drawing/2014/main" id="{48F69EA8-FF53-4095-A6F4-4A41F63F97F8}"/>
                </a:ext>
              </a:extLst>
            </p:cNvPr>
            <p:cNvCxnSpPr>
              <a:cxnSpLocks/>
            </p:cNvCxnSpPr>
            <p:nvPr/>
          </p:nvCxnSpPr>
          <p:spPr>
            <a:xfrm>
              <a:off x="883295" y="4628639"/>
              <a:ext cx="0" cy="212013"/>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5" name="Straight Connector 86">
              <a:extLst>
                <a:ext uri="{FF2B5EF4-FFF2-40B4-BE49-F238E27FC236}">
                  <a16:creationId xmlns:a16="http://schemas.microsoft.com/office/drawing/2014/main" id="{42F6B393-BA73-4043-960D-7A2F49370840}"/>
                </a:ext>
              </a:extLst>
            </p:cNvPr>
            <p:cNvCxnSpPr>
              <a:cxnSpLocks/>
            </p:cNvCxnSpPr>
            <p:nvPr/>
          </p:nvCxnSpPr>
          <p:spPr>
            <a:xfrm>
              <a:off x="2357078" y="4628639"/>
              <a:ext cx="0" cy="212013"/>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6" name="Straight Connector 87">
              <a:extLst>
                <a:ext uri="{FF2B5EF4-FFF2-40B4-BE49-F238E27FC236}">
                  <a16:creationId xmlns:a16="http://schemas.microsoft.com/office/drawing/2014/main" id="{72B8C118-B694-44DD-9BDC-4159F7F499C3}"/>
                </a:ext>
              </a:extLst>
            </p:cNvPr>
            <p:cNvCxnSpPr>
              <a:cxnSpLocks/>
            </p:cNvCxnSpPr>
            <p:nvPr/>
          </p:nvCxnSpPr>
          <p:spPr>
            <a:xfrm>
              <a:off x="1431362" y="4573041"/>
              <a:ext cx="0" cy="86360"/>
            </a:xfrm>
            <a:prstGeom prst="line">
              <a:avLst/>
            </a:prstGeom>
            <a:ln w="6350" cap="flat">
              <a:solidFill>
                <a:schemeClr val="accent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7" name="Straight Connector 89">
              <a:extLst>
                <a:ext uri="{FF2B5EF4-FFF2-40B4-BE49-F238E27FC236}">
                  <a16:creationId xmlns:a16="http://schemas.microsoft.com/office/drawing/2014/main" id="{9DD86647-1200-4A01-ABC5-AF66F1FEEB33}"/>
                </a:ext>
              </a:extLst>
            </p:cNvPr>
            <p:cNvCxnSpPr>
              <a:cxnSpLocks/>
            </p:cNvCxnSpPr>
            <p:nvPr/>
          </p:nvCxnSpPr>
          <p:spPr>
            <a:xfrm>
              <a:off x="1028011" y="4573041"/>
              <a:ext cx="0" cy="86360"/>
            </a:xfrm>
            <a:prstGeom prst="line">
              <a:avLst/>
            </a:prstGeom>
            <a:ln w="6350" cap="flat">
              <a:solidFill>
                <a:schemeClr val="accent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8" name="Straight Connector 90">
              <a:extLst>
                <a:ext uri="{FF2B5EF4-FFF2-40B4-BE49-F238E27FC236}">
                  <a16:creationId xmlns:a16="http://schemas.microsoft.com/office/drawing/2014/main" id="{07BAB0BB-8CBD-4657-B3E1-07656B2874D6}"/>
                </a:ext>
              </a:extLst>
            </p:cNvPr>
            <p:cNvCxnSpPr>
              <a:cxnSpLocks/>
            </p:cNvCxnSpPr>
            <p:nvPr/>
          </p:nvCxnSpPr>
          <p:spPr>
            <a:xfrm>
              <a:off x="1834713" y="4575705"/>
              <a:ext cx="0" cy="86360"/>
            </a:xfrm>
            <a:prstGeom prst="line">
              <a:avLst/>
            </a:prstGeom>
            <a:ln w="6350" cap="flat">
              <a:solidFill>
                <a:schemeClr val="accent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9" name="Straight Connector 91">
              <a:extLst>
                <a:ext uri="{FF2B5EF4-FFF2-40B4-BE49-F238E27FC236}">
                  <a16:creationId xmlns:a16="http://schemas.microsoft.com/office/drawing/2014/main" id="{6909BD5E-2427-446A-AB5F-5F6C428BACE9}"/>
                </a:ext>
              </a:extLst>
            </p:cNvPr>
            <p:cNvCxnSpPr>
              <a:cxnSpLocks/>
            </p:cNvCxnSpPr>
            <p:nvPr/>
          </p:nvCxnSpPr>
          <p:spPr>
            <a:xfrm>
              <a:off x="2238064" y="4573041"/>
              <a:ext cx="0" cy="86360"/>
            </a:xfrm>
            <a:prstGeom prst="line">
              <a:avLst/>
            </a:prstGeom>
            <a:ln w="6350" cap="flat">
              <a:solidFill>
                <a:schemeClr val="accent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0" name="Straight Connector 92">
              <a:extLst>
                <a:ext uri="{FF2B5EF4-FFF2-40B4-BE49-F238E27FC236}">
                  <a16:creationId xmlns:a16="http://schemas.microsoft.com/office/drawing/2014/main" id="{C948D44E-BC6C-49B7-A74A-29EAAD732FBE}"/>
                </a:ext>
              </a:extLst>
            </p:cNvPr>
            <p:cNvCxnSpPr>
              <a:cxnSpLocks/>
            </p:cNvCxnSpPr>
            <p:nvPr/>
          </p:nvCxnSpPr>
          <p:spPr>
            <a:xfrm>
              <a:off x="2641415" y="4573041"/>
              <a:ext cx="0" cy="86360"/>
            </a:xfrm>
            <a:prstGeom prst="line">
              <a:avLst/>
            </a:prstGeom>
            <a:ln w="6350" cap="flat">
              <a:solidFill>
                <a:schemeClr val="accent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1" name="Straight Connector 93">
              <a:extLst>
                <a:ext uri="{FF2B5EF4-FFF2-40B4-BE49-F238E27FC236}">
                  <a16:creationId xmlns:a16="http://schemas.microsoft.com/office/drawing/2014/main" id="{4DE1F2D8-8F79-4F07-B9DA-C751B6C3C8C6}"/>
                </a:ext>
              </a:extLst>
            </p:cNvPr>
            <p:cNvCxnSpPr>
              <a:cxnSpLocks/>
            </p:cNvCxnSpPr>
            <p:nvPr/>
          </p:nvCxnSpPr>
          <p:spPr>
            <a:xfrm>
              <a:off x="3044766" y="4573041"/>
              <a:ext cx="0" cy="86360"/>
            </a:xfrm>
            <a:prstGeom prst="line">
              <a:avLst/>
            </a:prstGeom>
            <a:ln w="6350" cap="flat">
              <a:solidFill>
                <a:schemeClr val="accent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2" name="Straight Connector 94">
              <a:extLst>
                <a:ext uri="{FF2B5EF4-FFF2-40B4-BE49-F238E27FC236}">
                  <a16:creationId xmlns:a16="http://schemas.microsoft.com/office/drawing/2014/main" id="{0EDB2615-1C6B-4003-9CF7-7E927170F32A}"/>
                </a:ext>
              </a:extLst>
            </p:cNvPr>
            <p:cNvCxnSpPr>
              <a:cxnSpLocks/>
            </p:cNvCxnSpPr>
            <p:nvPr/>
          </p:nvCxnSpPr>
          <p:spPr>
            <a:xfrm>
              <a:off x="3448117" y="4573041"/>
              <a:ext cx="0" cy="86360"/>
            </a:xfrm>
            <a:prstGeom prst="line">
              <a:avLst/>
            </a:prstGeom>
            <a:ln w="6350" cap="flat">
              <a:solidFill>
                <a:schemeClr val="accent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3" name="Straight Connector 95">
              <a:extLst>
                <a:ext uri="{FF2B5EF4-FFF2-40B4-BE49-F238E27FC236}">
                  <a16:creationId xmlns:a16="http://schemas.microsoft.com/office/drawing/2014/main" id="{E5C34A24-1615-4DA7-A368-F14808BEBBD8}"/>
                </a:ext>
              </a:extLst>
            </p:cNvPr>
            <p:cNvCxnSpPr>
              <a:cxnSpLocks/>
            </p:cNvCxnSpPr>
            <p:nvPr/>
          </p:nvCxnSpPr>
          <p:spPr>
            <a:xfrm>
              <a:off x="3851469" y="4579162"/>
              <a:ext cx="0" cy="86360"/>
            </a:xfrm>
            <a:prstGeom prst="line">
              <a:avLst/>
            </a:prstGeom>
            <a:ln w="6350" cap="flat">
              <a:solidFill>
                <a:schemeClr val="accent2"/>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164" name="Graphic 163" descr="Users">
              <a:extLst>
                <a:ext uri="{FF2B5EF4-FFF2-40B4-BE49-F238E27FC236}">
                  <a16:creationId xmlns:a16="http://schemas.microsoft.com/office/drawing/2014/main" id="{0BCF949A-1ED3-4E4A-B4C6-ECA7A53314DB}"/>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3679691" y="5399584"/>
              <a:ext cx="565277" cy="565277"/>
            </a:xfrm>
            <a:prstGeom prst="rect">
              <a:avLst/>
            </a:prstGeom>
          </p:spPr>
        </p:pic>
        <p:cxnSp>
          <p:nvCxnSpPr>
            <p:cNvPr id="165" name="Straight Connector 98">
              <a:extLst>
                <a:ext uri="{FF2B5EF4-FFF2-40B4-BE49-F238E27FC236}">
                  <a16:creationId xmlns:a16="http://schemas.microsoft.com/office/drawing/2014/main" id="{067B86D9-E224-473B-A30D-383F1AD49F1F}"/>
                </a:ext>
              </a:extLst>
            </p:cNvPr>
            <p:cNvCxnSpPr>
              <a:cxnSpLocks/>
            </p:cNvCxnSpPr>
            <p:nvPr/>
          </p:nvCxnSpPr>
          <p:spPr>
            <a:xfrm>
              <a:off x="3986235" y="4638884"/>
              <a:ext cx="0" cy="212013"/>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6" name="Speech Bubble: Rectangle with Corners Rounded 99">
              <a:extLst>
                <a:ext uri="{FF2B5EF4-FFF2-40B4-BE49-F238E27FC236}">
                  <a16:creationId xmlns:a16="http://schemas.microsoft.com/office/drawing/2014/main" id="{0B4C3AD6-2CAB-4AD7-AB7E-A0FD5EB6507E}"/>
                </a:ext>
              </a:extLst>
            </p:cNvPr>
            <p:cNvSpPr/>
            <p:nvPr/>
          </p:nvSpPr>
          <p:spPr>
            <a:xfrm>
              <a:off x="3408680" y="4969631"/>
              <a:ext cx="875979" cy="380491"/>
            </a:xfrm>
            <a:prstGeom prst="wedgeRoundRectCallout">
              <a:avLst>
                <a:gd name="adj1" fmla="val 20240"/>
                <a:gd name="adj2" fmla="val 76805"/>
                <a:gd name="adj3" fmla="val 16667"/>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000" err="1">
                  <a:solidFill>
                    <a:schemeClr val="bg1"/>
                  </a:solidFill>
                </a:rPr>
                <a:t>Evaluatie</a:t>
              </a:r>
              <a:r>
                <a:rPr lang="en-US" sz="1000">
                  <a:solidFill>
                    <a:schemeClr val="bg1"/>
                  </a:solidFill>
                </a:rPr>
                <a:t> &amp; </a:t>
              </a:r>
              <a:r>
                <a:rPr lang="en-US" sz="1000" err="1">
                  <a:solidFill>
                    <a:schemeClr val="bg1"/>
                  </a:solidFill>
                </a:rPr>
                <a:t>bespreking</a:t>
              </a:r>
              <a:endParaRPr lang="en-US" sz="1000">
                <a:solidFill>
                  <a:schemeClr val="bg1"/>
                </a:solidFill>
              </a:endParaRPr>
            </a:p>
          </p:txBody>
        </p:sp>
        <p:pic>
          <p:nvPicPr>
            <p:cNvPr id="167" name="Graphic 166" descr="Gears">
              <a:extLst>
                <a:ext uri="{FF2B5EF4-FFF2-40B4-BE49-F238E27FC236}">
                  <a16:creationId xmlns:a16="http://schemas.microsoft.com/office/drawing/2014/main" id="{CE26E920-8C1C-4183-BEEB-21C8AE9E9786}"/>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527488" y="4872824"/>
              <a:ext cx="545503" cy="545503"/>
            </a:xfrm>
            <a:prstGeom prst="rect">
              <a:avLst/>
            </a:prstGeom>
          </p:spPr>
        </p:pic>
        <p:sp>
          <p:nvSpPr>
            <p:cNvPr id="168" name="TextBox 101">
              <a:extLst>
                <a:ext uri="{FF2B5EF4-FFF2-40B4-BE49-F238E27FC236}">
                  <a16:creationId xmlns:a16="http://schemas.microsoft.com/office/drawing/2014/main" id="{CB72C0E7-1D71-43E5-A3CB-BBDE87A6D60F}"/>
                </a:ext>
              </a:extLst>
            </p:cNvPr>
            <p:cNvSpPr txBox="1">
              <a:spLocks/>
            </p:cNvSpPr>
            <p:nvPr/>
          </p:nvSpPr>
          <p:spPr>
            <a:xfrm>
              <a:off x="3591214" y="5879170"/>
              <a:ext cx="621965" cy="15388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nl-NL" sz="1000" b="1">
                  <a:cs typeface="+mn-cs"/>
                </a:rPr>
                <a:t>Terugkijken</a:t>
              </a:r>
            </a:p>
          </p:txBody>
        </p:sp>
        <p:sp>
          <p:nvSpPr>
            <p:cNvPr id="169" name="Rectangle 102">
              <a:extLst>
                <a:ext uri="{FF2B5EF4-FFF2-40B4-BE49-F238E27FC236}">
                  <a16:creationId xmlns:a16="http://schemas.microsoft.com/office/drawing/2014/main" id="{CC62673E-92F5-41CF-A98B-F14F5717D73A}"/>
                </a:ext>
              </a:extLst>
            </p:cNvPr>
            <p:cNvSpPr/>
            <p:nvPr/>
          </p:nvSpPr>
          <p:spPr>
            <a:xfrm>
              <a:off x="262151" y="4334060"/>
              <a:ext cx="4092781" cy="1938989"/>
            </a:xfrm>
            <a:prstGeom prst="rect">
              <a:avLst/>
            </a:prstGeom>
            <a:no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grpSp>
      <p:cxnSp>
        <p:nvCxnSpPr>
          <p:cNvPr id="10" name="Verbindingslijn: gebogen 9">
            <a:extLst>
              <a:ext uri="{FF2B5EF4-FFF2-40B4-BE49-F238E27FC236}">
                <a16:creationId xmlns:a16="http://schemas.microsoft.com/office/drawing/2014/main" id="{B87F8517-24BD-4C2D-85C0-D29ACEEC4E67}"/>
              </a:ext>
            </a:extLst>
          </p:cNvPr>
          <p:cNvCxnSpPr>
            <a:cxnSpLocks/>
            <a:stCxn id="77" idx="0"/>
          </p:cNvCxnSpPr>
          <p:nvPr/>
        </p:nvCxnSpPr>
        <p:spPr>
          <a:xfrm rot="16200000" flipV="1">
            <a:off x="5191141" y="1473003"/>
            <a:ext cx="171272" cy="980344"/>
          </a:xfrm>
          <a:prstGeom prst="bentConnector2">
            <a:avLst/>
          </a:prstGeom>
          <a:ln w="28575" cap="flat">
            <a:solidFill>
              <a:schemeClr val="tx1"/>
            </a:solidFill>
            <a:prstDash val="sysDash"/>
            <a:miter lim="800000"/>
            <a:tailEnd type="triangle"/>
          </a:ln>
        </p:spPr>
        <p:style>
          <a:lnRef idx="1">
            <a:schemeClr val="accent1"/>
          </a:lnRef>
          <a:fillRef idx="0">
            <a:schemeClr val="accent1"/>
          </a:fillRef>
          <a:effectRef idx="0">
            <a:schemeClr val="accent1"/>
          </a:effectRef>
          <a:fontRef idx="minor">
            <a:schemeClr val="tx1"/>
          </a:fontRef>
        </p:style>
      </p:cxnSp>
      <p:cxnSp>
        <p:nvCxnSpPr>
          <p:cNvPr id="171" name="Verbindingslijn: gebogen 170">
            <a:extLst>
              <a:ext uri="{FF2B5EF4-FFF2-40B4-BE49-F238E27FC236}">
                <a16:creationId xmlns:a16="http://schemas.microsoft.com/office/drawing/2014/main" id="{E42DF019-69DC-4C28-857F-65EADDB5844D}"/>
              </a:ext>
            </a:extLst>
          </p:cNvPr>
          <p:cNvCxnSpPr>
            <a:cxnSpLocks/>
            <a:stCxn id="77" idx="3"/>
            <a:endCxn id="169" idx="0"/>
          </p:cNvCxnSpPr>
          <p:nvPr/>
        </p:nvCxnSpPr>
        <p:spPr>
          <a:xfrm>
            <a:off x="7773285" y="4054720"/>
            <a:ext cx="1946787" cy="445284"/>
          </a:xfrm>
          <a:prstGeom prst="bentConnector2">
            <a:avLst/>
          </a:prstGeom>
          <a:ln w="28575" cap="flat">
            <a:solidFill>
              <a:schemeClr val="tx1"/>
            </a:solidFill>
            <a:prstDash val="sysDash"/>
            <a:miter lim="800000"/>
            <a:tailEnd type="triangle"/>
          </a:ln>
        </p:spPr>
        <p:style>
          <a:lnRef idx="1">
            <a:schemeClr val="accent1"/>
          </a:lnRef>
          <a:fillRef idx="0">
            <a:schemeClr val="accent1"/>
          </a:fillRef>
          <a:effectRef idx="0">
            <a:schemeClr val="accent1"/>
          </a:effectRef>
          <a:fontRef idx="minor">
            <a:schemeClr val="tx1"/>
          </a:fontRef>
        </p:style>
      </p:cxnSp>
      <p:sp>
        <p:nvSpPr>
          <p:cNvPr id="172" name="TextBox 52">
            <a:extLst>
              <a:ext uri="{FF2B5EF4-FFF2-40B4-BE49-F238E27FC236}">
                <a16:creationId xmlns:a16="http://schemas.microsoft.com/office/drawing/2014/main" id="{B41B1DDB-5C83-4E30-B3CF-1ED0D1307DA5}"/>
              </a:ext>
            </a:extLst>
          </p:cNvPr>
          <p:cNvSpPr txBox="1">
            <a:spLocks/>
          </p:cNvSpPr>
          <p:nvPr/>
        </p:nvSpPr>
        <p:spPr>
          <a:xfrm>
            <a:off x="7807741" y="3397501"/>
            <a:ext cx="3696719" cy="64633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nl-NL" sz="1400">
                <a:cs typeface="+mn-cs"/>
              </a:rPr>
              <a:t>Voor elk thema worden in teams van 6 tot 10 docenten </a:t>
            </a:r>
            <a:r>
              <a:rPr lang="nl-NL" sz="1400" b="1">
                <a:cs typeface="+mn-cs"/>
              </a:rPr>
              <a:t>doelen gesteld, acties bedacht en uitgevoerd</a:t>
            </a:r>
          </a:p>
        </p:txBody>
      </p:sp>
      <p:sp>
        <p:nvSpPr>
          <p:cNvPr id="173" name="TextBox 52">
            <a:extLst>
              <a:ext uri="{FF2B5EF4-FFF2-40B4-BE49-F238E27FC236}">
                <a16:creationId xmlns:a16="http://schemas.microsoft.com/office/drawing/2014/main" id="{37F3E5C7-C2F4-402A-A477-DF13E5C5C1B5}"/>
              </a:ext>
            </a:extLst>
          </p:cNvPr>
          <p:cNvSpPr txBox="1">
            <a:spLocks/>
          </p:cNvSpPr>
          <p:nvPr/>
        </p:nvSpPr>
        <p:spPr>
          <a:xfrm>
            <a:off x="3874556" y="6325330"/>
            <a:ext cx="2486390"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nl-NL" sz="1400">
                <a:cs typeface="+mn-cs"/>
              </a:rPr>
              <a:t>Daarbij wordt aan de lespraktijk gewerkt met vier </a:t>
            </a:r>
            <a:r>
              <a:rPr lang="nl-NL" sz="1400" b="1">
                <a:cs typeface="+mn-cs"/>
              </a:rPr>
              <a:t>instrumenten</a:t>
            </a:r>
          </a:p>
        </p:txBody>
      </p:sp>
      <p:cxnSp>
        <p:nvCxnSpPr>
          <p:cNvPr id="174" name="Verbindingslijn: gebogen 173">
            <a:extLst>
              <a:ext uri="{FF2B5EF4-FFF2-40B4-BE49-F238E27FC236}">
                <a16:creationId xmlns:a16="http://schemas.microsoft.com/office/drawing/2014/main" id="{329AA5CD-4EF0-425C-969B-19BD8BA365BB}"/>
              </a:ext>
            </a:extLst>
          </p:cNvPr>
          <p:cNvCxnSpPr>
            <a:cxnSpLocks/>
          </p:cNvCxnSpPr>
          <p:nvPr/>
        </p:nvCxnSpPr>
        <p:spPr>
          <a:xfrm rot="5400000">
            <a:off x="4507654" y="5398669"/>
            <a:ext cx="1299421" cy="535764"/>
          </a:xfrm>
          <a:prstGeom prst="bentConnector3">
            <a:avLst>
              <a:gd name="adj1" fmla="val 50000"/>
            </a:avLst>
          </a:prstGeom>
          <a:ln w="28575" cap="flat">
            <a:solidFill>
              <a:schemeClr val="tx1"/>
            </a:solidFill>
            <a:prstDash val="sysDash"/>
            <a:miter lim="800000"/>
            <a:tailEnd type="triangle"/>
          </a:ln>
        </p:spPr>
        <p:style>
          <a:lnRef idx="1">
            <a:schemeClr val="accent1"/>
          </a:lnRef>
          <a:fillRef idx="0">
            <a:schemeClr val="accent1"/>
          </a:fillRef>
          <a:effectRef idx="0">
            <a:schemeClr val="accent1"/>
          </a:effectRef>
          <a:fontRef idx="minor">
            <a:schemeClr val="tx1"/>
          </a:fontRef>
        </p:style>
      </p:cxnSp>
      <p:sp>
        <p:nvSpPr>
          <p:cNvPr id="175" name="TextBox 52">
            <a:extLst>
              <a:ext uri="{FF2B5EF4-FFF2-40B4-BE49-F238E27FC236}">
                <a16:creationId xmlns:a16="http://schemas.microsoft.com/office/drawing/2014/main" id="{FFCB2946-9A8E-41B7-9714-87FEECC9DFAF}"/>
              </a:ext>
            </a:extLst>
          </p:cNvPr>
          <p:cNvSpPr txBox="1">
            <a:spLocks/>
          </p:cNvSpPr>
          <p:nvPr/>
        </p:nvSpPr>
        <p:spPr>
          <a:xfrm>
            <a:off x="1488742" y="5048134"/>
            <a:ext cx="2486390" cy="86177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nl-NL" sz="1400">
                <a:cs typeface="+mn-cs"/>
              </a:rPr>
              <a:t>Na elke 6-8 weken wordt </a:t>
            </a:r>
            <a:r>
              <a:rPr lang="nl-NL" sz="1400" b="1">
                <a:cs typeface="+mn-cs"/>
              </a:rPr>
              <a:t>gereflecteerd</a:t>
            </a:r>
            <a:r>
              <a:rPr lang="nl-NL" sz="1400">
                <a:cs typeface="+mn-cs"/>
              </a:rPr>
              <a:t> op het </a:t>
            </a:r>
            <a:r>
              <a:rPr lang="nl-NL" sz="1400" err="1">
                <a:cs typeface="+mn-cs"/>
              </a:rPr>
              <a:t>onderwijs-doel</a:t>
            </a:r>
            <a:r>
              <a:rPr lang="nl-NL" sz="1400">
                <a:cs typeface="+mn-cs"/>
              </a:rPr>
              <a:t> en de samenwerking in het team</a:t>
            </a:r>
            <a:endParaRPr lang="nl-NL" sz="1400" b="1">
              <a:cs typeface="+mn-cs"/>
            </a:endParaRPr>
          </a:p>
        </p:txBody>
      </p:sp>
      <p:cxnSp>
        <p:nvCxnSpPr>
          <p:cNvPr id="176" name="Verbindingslijn: gebogen 175">
            <a:extLst>
              <a:ext uri="{FF2B5EF4-FFF2-40B4-BE49-F238E27FC236}">
                <a16:creationId xmlns:a16="http://schemas.microsoft.com/office/drawing/2014/main" id="{4FECEF1A-4615-4755-A91C-5DCBEAD30E9F}"/>
              </a:ext>
            </a:extLst>
          </p:cNvPr>
          <p:cNvCxnSpPr>
            <a:cxnSpLocks/>
            <a:stCxn id="77" idx="1"/>
          </p:cNvCxnSpPr>
          <p:nvPr/>
        </p:nvCxnSpPr>
        <p:spPr>
          <a:xfrm rot="10800000" flipV="1">
            <a:off x="2847197" y="4054720"/>
            <a:ext cx="913417" cy="959716"/>
          </a:xfrm>
          <a:prstGeom prst="bentConnector2">
            <a:avLst/>
          </a:prstGeom>
          <a:ln w="28575" cap="flat">
            <a:solidFill>
              <a:schemeClr val="tx1"/>
            </a:solidFill>
            <a:prstDash val="sysDash"/>
            <a:miter lim="800000"/>
            <a:tailEnd type="triangle"/>
          </a:ln>
        </p:spPr>
        <p:style>
          <a:lnRef idx="1">
            <a:schemeClr val="accent1"/>
          </a:lnRef>
          <a:fillRef idx="0">
            <a:schemeClr val="accent1"/>
          </a:fillRef>
          <a:effectRef idx="0">
            <a:schemeClr val="accent1"/>
          </a:effectRef>
          <a:fontRef idx="minor">
            <a:schemeClr val="tx1"/>
          </a:fontRef>
        </p:style>
      </p:cxnSp>
      <p:sp>
        <p:nvSpPr>
          <p:cNvPr id="60" name="Ovaal 59">
            <a:extLst>
              <a:ext uri="{FF2B5EF4-FFF2-40B4-BE49-F238E27FC236}">
                <a16:creationId xmlns:a16="http://schemas.microsoft.com/office/drawing/2014/main" id="{5CD5DC3D-6688-447A-9EF3-173CC566A3AC}"/>
              </a:ext>
            </a:extLst>
          </p:cNvPr>
          <p:cNvSpPr/>
          <p:nvPr/>
        </p:nvSpPr>
        <p:spPr>
          <a:xfrm>
            <a:off x="5592689" y="1602495"/>
            <a:ext cx="348522" cy="348522"/>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nl-NL" sz="1600" b="1">
                <a:solidFill>
                  <a:schemeClr val="bg1"/>
                </a:solidFill>
              </a:rPr>
              <a:t>1</a:t>
            </a:r>
            <a:endParaRPr lang="en-NL" sz="1600" b="1" err="1">
              <a:solidFill>
                <a:schemeClr val="bg1"/>
              </a:solidFill>
            </a:endParaRPr>
          </a:p>
        </p:txBody>
      </p:sp>
      <p:sp>
        <p:nvSpPr>
          <p:cNvPr id="177" name="Ovaal 176">
            <a:extLst>
              <a:ext uri="{FF2B5EF4-FFF2-40B4-BE49-F238E27FC236}">
                <a16:creationId xmlns:a16="http://schemas.microsoft.com/office/drawing/2014/main" id="{DF549540-C759-4C03-AE17-F34F12E92C37}"/>
              </a:ext>
            </a:extLst>
          </p:cNvPr>
          <p:cNvSpPr/>
          <p:nvPr/>
        </p:nvSpPr>
        <p:spPr>
          <a:xfrm>
            <a:off x="9545811" y="3866506"/>
            <a:ext cx="348522" cy="348522"/>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nl-NL" sz="1600" b="1">
                <a:solidFill>
                  <a:schemeClr val="bg1"/>
                </a:solidFill>
              </a:rPr>
              <a:t>2</a:t>
            </a:r>
            <a:endParaRPr lang="en-NL" sz="1600" b="1" err="1">
              <a:solidFill>
                <a:schemeClr val="bg1"/>
              </a:solidFill>
            </a:endParaRPr>
          </a:p>
        </p:txBody>
      </p:sp>
      <p:sp>
        <p:nvSpPr>
          <p:cNvPr id="178" name="Ovaal 177">
            <a:extLst>
              <a:ext uri="{FF2B5EF4-FFF2-40B4-BE49-F238E27FC236}">
                <a16:creationId xmlns:a16="http://schemas.microsoft.com/office/drawing/2014/main" id="{9ED794E8-F0D3-4C5B-8B7F-D61603C95197}"/>
              </a:ext>
            </a:extLst>
          </p:cNvPr>
          <p:cNvSpPr/>
          <p:nvPr/>
        </p:nvSpPr>
        <p:spPr>
          <a:xfrm>
            <a:off x="2688799" y="3864228"/>
            <a:ext cx="348522" cy="348522"/>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nl-NL" sz="1600" b="1">
                <a:solidFill>
                  <a:schemeClr val="bg1"/>
                </a:solidFill>
              </a:rPr>
              <a:t>4</a:t>
            </a:r>
            <a:endParaRPr lang="en-NL" sz="1600" b="1" err="1">
              <a:solidFill>
                <a:schemeClr val="bg1"/>
              </a:solidFill>
            </a:endParaRPr>
          </a:p>
        </p:txBody>
      </p:sp>
      <p:sp>
        <p:nvSpPr>
          <p:cNvPr id="179" name="Ovaal 178">
            <a:extLst>
              <a:ext uri="{FF2B5EF4-FFF2-40B4-BE49-F238E27FC236}">
                <a16:creationId xmlns:a16="http://schemas.microsoft.com/office/drawing/2014/main" id="{BAD29DD9-E899-4DE8-B601-D988E8987FFD}"/>
              </a:ext>
            </a:extLst>
          </p:cNvPr>
          <p:cNvSpPr/>
          <p:nvPr/>
        </p:nvSpPr>
        <p:spPr>
          <a:xfrm>
            <a:off x="4715221" y="5778452"/>
            <a:ext cx="348522" cy="348522"/>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nl-NL" sz="1600" b="1">
                <a:solidFill>
                  <a:schemeClr val="bg1"/>
                </a:solidFill>
              </a:rPr>
              <a:t>3</a:t>
            </a:r>
            <a:endParaRPr lang="en-NL" sz="1600" b="1" err="1">
              <a:solidFill>
                <a:schemeClr val="bg1"/>
              </a:solidFill>
            </a:endParaRPr>
          </a:p>
        </p:txBody>
      </p:sp>
    </p:spTree>
    <p:extLst>
      <p:ext uri="{BB962C8B-B14F-4D97-AF65-F5344CB8AC3E}">
        <p14:creationId xmlns:p14="http://schemas.microsoft.com/office/powerpoint/2010/main" val="3178925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D365F2E-AB53-4982-AB31-AF2EA4B2C75F}"/>
              </a:ext>
            </a:extLst>
          </p:cNvPr>
          <p:cNvGraphicFramePr>
            <a:graphicFrameLocks noChangeAspect="1"/>
          </p:cNvGraphicFramePr>
          <p:nvPr>
            <p:custDataLst>
              <p:tags r:id="rId2"/>
            </p:custDataLst>
            <p:extLst>
              <p:ext uri="{D42A27DB-BD31-4B8C-83A1-F6EECF244321}">
                <p14:modId xmlns:p14="http://schemas.microsoft.com/office/powerpoint/2010/main" val="25999959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51"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FD365F2E-AB53-4982-AB31-AF2EA4B2C75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1" hidden="1">
            <a:extLst>
              <a:ext uri="{FF2B5EF4-FFF2-40B4-BE49-F238E27FC236}">
                <a16:creationId xmlns:a16="http://schemas.microsoft.com/office/drawing/2014/main" id="{4D267344-2004-4719-8334-16F5658C48AA}"/>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nl-NL" sz="2500" b="1" err="1">
              <a:solidFill>
                <a:schemeClr val="bg1"/>
              </a:solidFill>
              <a:latin typeface="Calibri" panose="020F0502020204030204" pitchFamily="34" charset="0"/>
              <a:ea typeface="+mj-ea"/>
              <a:cs typeface="+mj-cs"/>
              <a:sym typeface="Calibri" panose="020F0502020204030204" pitchFamily="34" charset="0"/>
            </a:endParaRPr>
          </a:p>
        </p:txBody>
      </p:sp>
      <p:pic>
        <p:nvPicPr>
          <p:cNvPr id="6" name="Picture 5">
            <a:extLst>
              <a:ext uri="{FF2B5EF4-FFF2-40B4-BE49-F238E27FC236}">
                <a16:creationId xmlns:a16="http://schemas.microsoft.com/office/drawing/2014/main" id="{DA5F8E21-5CDF-4841-B438-E7A067842FCC}"/>
              </a:ext>
            </a:extLst>
          </p:cNvPr>
          <p:cNvPicPr>
            <a:picLocks noChangeAspect="1"/>
          </p:cNvPicPr>
          <p:nvPr/>
        </p:nvPicPr>
        <p:blipFill rotWithShape="1">
          <a:blip r:embed="rId7"/>
          <a:srcRect r="7574"/>
          <a:stretch/>
        </p:blipFill>
        <p:spPr>
          <a:xfrm>
            <a:off x="2517410" y="1719298"/>
            <a:ext cx="7203427" cy="3975046"/>
          </a:xfrm>
          <a:prstGeom prst="rect">
            <a:avLst/>
          </a:prstGeom>
        </p:spPr>
      </p:pic>
      <p:pic>
        <p:nvPicPr>
          <p:cNvPr id="9" name="Picture 8">
            <a:extLst>
              <a:ext uri="{FF2B5EF4-FFF2-40B4-BE49-F238E27FC236}">
                <a16:creationId xmlns:a16="http://schemas.microsoft.com/office/drawing/2014/main" id="{4EBF1AD9-A094-4001-8A89-796F017123A0}"/>
              </a:ext>
            </a:extLst>
          </p:cNvPr>
          <p:cNvPicPr>
            <a:picLocks noChangeAspect="1"/>
          </p:cNvPicPr>
          <p:nvPr/>
        </p:nvPicPr>
        <p:blipFill rotWithShape="1">
          <a:blip r:embed="rId8"/>
          <a:srcRect t="32800" b="12200"/>
          <a:stretch/>
        </p:blipFill>
        <p:spPr>
          <a:xfrm>
            <a:off x="1426596" y="1323033"/>
            <a:ext cx="9338807" cy="5136344"/>
          </a:xfrm>
          <a:prstGeom prst="rect">
            <a:avLst/>
          </a:prstGeom>
        </p:spPr>
      </p:pic>
      <p:pic>
        <p:nvPicPr>
          <p:cNvPr id="14" name="Graphic 13">
            <a:hlinkClick r:id="rId9"/>
            <a:extLst>
              <a:ext uri="{FF2B5EF4-FFF2-40B4-BE49-F238E27FC236}">
                <a16:creationId xmlns:a16="http://schemas.microsoft.com/office/drawing/2014/main" id="{E6FA9DE2-079B-4B10-AB25-BD3D4DC2130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021660" y="3489971"/>
            <a:ext cx="443865" cy="443865"/>
          </a:xfrm>
          <a:prstGeom prst="rect">
            <a:avLst/>
          </a:prstGeom>
        </p:spPr>
      </p:pic>
      <p:sp>
        <p:nvSpPr>
          <p:cNvPr id="2" name="Title 1">
            <a:extLst>
              <a:ext uri="{FF2B5EF4-FFF2-40B4-BE49-F238E27FC236}">
                <a16:creationId xmlns:a16="http://schemas.microsoft.com/office/drawing/2014/main" id="{328F0CD5-A3C9-4FFF-B7B0-F8A215D45450}"/>
              </a:ext>
            </a:extLst>
          </p:cNvPr>
          <p:cNvSpPr>
            <a:spLocks noGrp="1"/>
          </p:cNvSpPr>
          <p:nvPr>
            <p:ph type="title"/>
          </p:nvPr>
        </p:nvSpPr>
        <p:spPr>
          <a:xfrm>
            <a:off x="554736" y="519011"/>
            <a:ext cx="11082528" cy="384721"/>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nl-NL"/>
              <a:t>Hoe kun je de leerlingen een stem geven?</a:t>
            </a:r>
          </a:p>
        </p:txBody>
      </p:sp>
    </p:spTree>
    <p:extLst>
      <p:ext uri="{BB962C8B-B14F-4D97-AF65-F5344CB8AC3E}">
        <p14:creationId xmlns:p14="http://schemas.microsoft.com/office/powerpoint/2010/main" val="377182860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2" hidden="1">
            <a:extLst>
              <a:ext uri="{FF2B5EF4-FFF2-40B4-BE49-F238E27FC236}">
                <a16:creationId xmlns:a16="http://schemas.microsoft.com/office/drawing/2014/main" id="{69B57814-C0B6-4D86-AB1E-FB30E4310C97}"/>
              </a:ext>
            </a:extLst>
          </p:cNvPr>
          <p:cNvGraphicFramePr>
            <a:graphicFrameLocks noChangeAspect="1"/>
          </p:cNvGraphicFramePr>
          <p:nvPr>
            <p:custDataLst>
              <p:tags r:id="rId2"/>
            </p:custDataLst>
            <p:extLst>
              <p:ext uri="{D42A27DB-BD31-4B8C-83A1-F6EECF244321}">
                <p14:modId xmlns:p14="http://schemas.microsoft.com/office/powerpoint/2010/main" val="16413997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75" name="think-cell Slide" r:id="rId6" imgW="395" imgH="394" progId="TCLayout.ActiveDocument.1">
                  <p:embed/>
                </p:oleObj>
              </mc:Choice>
              <mc:Fallback>
                <p:oleObj name="think-cell Slide" r:id="rId6" imgW="395" imgH="394" progId="TCLayout.ActiveDocument.1">
                  <p:embed/>
                  <p:pic>
                    <p:nvPicPr>
                      <p:cNvPr id="17" name="Object 16" hidden="1">
                        <a:extLst>
                          <a:ext uri="{FF2B5EF4-FFF2-40B4-BE49-F238E27FC236}">
                            <a16:creationId xmlns:a16="http://schemas.microsoft.com/office/drawing/2014/main" id="{69B57814-C0B6-4D86-AB1E-FB30E4310C9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 name="Rectangle 3" hidden="1">
            <a:extLst>
              <a:ext uri="{FF2B5EF4-FFF2-40B4-BE49-F238E27FC236}">
                <a16:creationId xmlns:a16="http://schemas.microsoft.com/office/drawing/2014/main" id="{2E312D1F-77D7-469B-86E4-79A9EBE9D480}"/>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err="1">
              <a:solidFill>
                <a:schemeClr val="bg1"/>
              </a:solidFill>
              <a:latin typeface="Calibri" panose="020F0502020204030204" pitchFamily="34" charset="0"/>
              <a:ea typeface="+mj-ea"/>
              <a:cs typeface="+mj-cs"/>
              <a:sym typeface="Calibri" panose="020F0502020204030204" pitchFamily="34" charset="0"/>
            </a:endParaRPr>
          </a:p>
        </p:txBody>
      </p:sp>
      <p:sp>
        <p:nvSpPr>
          <p:cNvPr id="2" name="2. Slide Title">
            <a:extLst>
              <a:ext uri="{FF2B5EF4-FFF2-40B4-BE49-F238E27FC236}">
                <a16:creationId xmlns:a16="http://schemas.microsoft.com/office/drawing/2014/main" id="{E326979B-1DA2-46CA-971C-36782F74E0C4}"/>
              </a:ext>
            </a:extLst>
          </p:cNvPr>
          <p:cNvSpPr>
            <a:spLocks noGrp="1"/>
          </p:cNvSpPr>
          <p:nvPr>
            <p:ph type="title"/>
            <p:custDataLst>
              <p:tags r:id="rId4"/>
            </p:custDataLst>
          </p:nvPr>
        </p:nvSpPr>
        <p:spPr>
          <a:xfrm>
            <a:off x="554736" y="134291"/>
            <a:ext cx="6967728" cy="769441"/>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dirty="0"/>
              <a:t>Meer </a:t>
            </a:r>
            <a:r>
              <a:rPr lang="en-US" dirty="0" err="1"/>
              <a:t>dan</a:t>
            </a:r>
            <a:r>
              <a:rPr lang="en-US" dirty="0"/>
              <a:t> </a:t>
            </a:r>
            <a:r>
              <a:rPr lang="en-US" dirty="0" err="1"/>
              <a:t>duizend</a:t>
            </a:r>
            <a:r>
              <a:rPr lang="en-US" dirty="0"/>
              <a:t> Nederlandse scholen zijn al met </a:t>
            </a:r>
            <a:r>
              <a:rPr lang="en-US" dirty="0" err="1"/>
              <a:t>deze</a:t>
            </a:r>
            <a:r>
              <a:rPr lang="en-US" dirty="0"/>
              <a:t> </a:t>
            </a:r>
            <a:r>
              <a:rPr lang="en-US" dirty="0" err="1"/>
              <a:t>manier</a:t>
            </a:r>
            <a:r>
              <a:rPr lang="en-US" dirty="0"/>
              <a:t> van </a:t>
            </a:r>
            <a:r>
              <a:rPr lang="en-US" dirty="0" err="1"/>
              <a:t>werken</a:t>
            </a:r>
            <a:r>
              <a:rPr lang="en-US" dirty="0"/>
              <a:t> </a:t>
            </a:r>
            <a:r>
              <a:rPr lang="en-US" dirty="0" err="1"/>
              <a:t>gestart</a:t>
            </a:r>
            <a:endParaRPr lang="en-US" dirty="0"/>
          </a:p>
        </p:txBody>
      </p:sp>
      <p:sp>
        <p:nvSpPr>
          <p:cNvPr id="5" name="TextBox 4">
            <a:extLst>
              <a:ext uri="{FF2B5EF4-FFF2-40B4-BE49-F238E27FC236}">
                <a16:creationId xmlns:a16="http://schemas.microsoft.com/office/drawing/2014/main" id="{FDD4C558-9789-4560-87A2-3BA6FC5B0C4C}"/>
              </a:ext>
            </a:extLst>
          </p:cNvPr>
          <p:cNvSpPr txBox="1">
            <a:spLocks/>
          </p:cNvSpPr>
          <p:nvPr/>
        </p:nvSpPr>
        <p:spPr>
          <a:xfrm>
            <a:off x="8181975" y="1352450"/>
            <a:ext cx="3633307" cy="3539430"/>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nl-NL" sz="2000">
                <a:cs typeface="+mn-cs"/>
              </a:rPr>
              <a:t>Verhalen van scholen die zo werken hebben ervoor gezorgd dat nu </a:t>
            </a:r>
            <a:r>
              <a:rPr lang="nl-NL" sz="2000" b="1">
                <a:cs typeface="+mn-cs"/>
              </a:rPr>
              <a:t>meer dan duizend scholen </a:t>
            </a:r>
            <a:r>
              <a:rPr lang="nl-NL" sz="2000">
                <a:cs typeface="+mn-cs"/>
              </a:rPr>
              <a:t>met een verbetercultuur werken</a:t>
            </a:r>
          </a:p>
          <a:p>
            <a:r>
              <a:rPr lang="nl-NL" sz="2000">
                <a:cs typeface="+mn-cs"/>
              </a:rPr>
              <a:t>Dit is evenredig verdeeld in het basisonderwijs, middelbaar beroepsonderwijs en het voortgezet onderwijs</a:t>
            </a:r>
          </a:p>
        </p:txBody>
      </p:sp>
      <p:grpSp>
        <p:nvGrpSpPr>
          <p:cNvPr id="135" name="Group 134">
            <a:extLst>
              <a:ext uri="{FF2B5EF4-FFF2-40B4-BE49-F238E27FC236}">
                <a16:creationId xmlns:a16="http://schemas.microsoft.com/office/drawing/2014/main" id="{CC749E0B-F080-480D-A45F-C4568DF04157}"/>
              </a:ext>
            </a:extLst>
          </p:cNvPr>
          <p:cNvGrpSpPr/>
          <p:nvPr/>
        </p:nvGrpSpPr>
        <p:grpSpPr>
          <a:xfrm>
            <a:off x="1126006" y="1355788"/>
            <a:ext cx="4252597" cy="5047105"/>
            <a:chOff x="1126006" y="1355788"/>
            <a:chExt cx="4252597" cy="5047105"/>
          </a:xfrm>
        </p:grpSpPr>
        <p:sp>
          <p:nvSpPr>
            <p:cNvPr id="814" name="Freeform 7">
              <a:extLst>
                <a:ext uri="{FF2B5EF4-FFF2-40B4-BE49-F238E27FC236}">
                  <a16:creationId xmlns:a16="http://schemas.microsoft.com/office/drawing/2014/main" id="{1A80D24D-4018-4516-8532-A0C6C51E4388}"/>
                </a:ext>
              </a:extLst>
            </p:cNvPr>
            <p:cNvSpPr>
              <a:spLocks noEditPoints="1"/>
            </p:cNvSpPr>
            <p:nvPr/>
          </p:nvSpPr>
          <p:spPr bwMode="gray">
            <a:xfrm>
              <a:off x="2052290" y="4380426"/>
              <a:ext cx="2144629" cy="2022467"/>
            </a:xfrm>
            <a:custGeom>
              <a:avLst/>
              <a:gdLst>
                <a:gd name="T0" fmla="*/ 175 w 1755"/>
                <a:gd name="T1" fmla="*/ 177 h 1562"/>
                <a:gd name="T2" fmla="*/ 363 w 1755"/>
                <a:gd name="T3" fmla="*/ 154 h 1562"/>
                <a:gd name="T4" fmla="*/ 470 w 1755"/>
                <a:gd name="T5" fmla="*/ 113 h 1562"/>
                <a:gd name="T6" fmla="*/ 501 w 1755"/>
                <a:gd name="T7" fmla="*/ 108 h 1562"/>
                <a:gd name="T8" fmla="*/ 503 w 1755"/>
                <a:gd name="T9" fmla="*/ 92 h 1562"/>
                <a:gd name="T10" fmla="*/ 1601 w 1755"/>
                <a:gd name="T11" fmla="*/ 227 h 1562"/>
                <a:gd name="T12" fmla="*/ 1659 w 1755"/>
                <a:gd name="T13" fmla="*/ 350 h 1562"/>
                <a:gd name="T14" fmla="*/ 1753 w 1755"/>
                <a:gd name="T15" fmla="*/ 667 h 1562"/>
                <a:gd name="T16" fmla="*/ 1653 w 1755"/>
                <a:gd name="T17" fmla="*/ 838 h 1562"/>
                <a:gd name="T18" fmla="*/ 1670 w 1755"/>
                <a:gd name="T19" fmla="*/ 959 h 1562"/>
                <a:gd name="T20" fmla="*/ 1620 w 1755"/>
                <a:gd name="T21" fmla="*/ 1032 h 1562"/>
                <a:gd name="T22" fmla="*/ 1513 w 1755"/>
                <a:gd name="T23" fmla="*/ 1118 h 1562"/>
                <a:gd name="T24" fmla="*/ 1417 w 1755"/>
                <a:gd name="T25" fmla="*/ 1139 h 1562"/>
                <a:gd name="T26" fmla="*/ 1484 w 1755"/>
                <a:gd name="T27" fmla="*/ 1235 h 1562"/>
                <a:gd name="T28" fmla="*/ 1597 w 1755"/>
                <a:gd name="T29" fmla="*/ 1337 h 1562"/>
                <a:gd name="T30" fmla="*/ 1563 w 1755"/>
                <a:gd name="T31" fmla="*/ 1423 h 1562"/>
                <a:gd name="T32" fmla="*/ 1492 w 1755"/>
                <a:gd name="T33" fmla="*/ 1485 h 1562"/>
                <a:gd name="T34" fmla="*/ 1507 w 1755"/>
                <a:gd name="T35" fmla="*/ 1562 h 1562"/>
                <a:gd name="T36" fmla="*/ 1407 w 1755"/>
                <a:gd name="T37" fmla="*/ 1537 h 1562"/>
                <a:gd name="T38" fmla="*/ 1279 w 1755"/>
                <a:gd name="T39" fmla="*/ 1529 h 1562"/>
                <a:gd name="T40" fmla="*/ 1240 w 1755"/>
                <a:gd name="T41" fmla="*/ 1510 h 1562"/>
                <a:gd name="T42" fmla="*/ 1200 w 1755"/>
                <a:gd name="T43" fmla="*/ 1429 h 1562"/>
                <a:gd name="T44" fmla="*/ 1248 w 1755"/>
                <a:gd name="T45" fmla="*/ 1333 h 1562"/>
                <a:gd name="T46" fmla="*/ 1279 w 1755"/>
                <a:gd name="T47" fmla="*/ 1264 h 1562"/>
                <a:gd name="T48" fmla="*/ 1313 w 1755"/>
                <a:gd name="T49" fmla="*/ 1154 h 1562"/>
                <a:gd name="T50" fmla="*/ 1369 w 1755"/>
                <a:gd name="T51" fmla="*/ 1074 h 1562"/>
                <a:gd name="T52" fmla="*/ 1399 w 1755"/>
                <a:gd name="T53" fmla="*/ 1001 h 1562"/>
                <a:gd name="T54" fmla="*/ 1338 w 1755"/>
                <a:gd name="T55" fmla="*/ 976 h 1562"/>
                <a:gd name="T56" fmla="*/ 1252 w 1755"/>
                <a:gd name="T57" fmla="*/ 941 h 1562"/>
                <a:gd name="T58" fmla="*/ 1016 w 1755"/>
                <a:gd name="T59" fmla="*/ 811 h 1562"/>
                <a:gd name="T60" fmla="*/ 730 w 1755"/>
                <a:gd name="T61" fmla="*/ 503 h 1562"/>
                <a:gd name="T62" fmla="*/ 620 w 1755"/>
                <a:gd name="T63" fmla="*/ 605 h 1562"/>
                <a:gd name="T64" fmla="*/ 563 w 1755"/>
                <a:gd name="T65" fmla="*/ 574 h 1562"/>
                <a:gd name="T66" fmla="*/ 507 w 1755"/>
                <a:gd name="T67" fmla="*/ 549 h 1562"/>
                <a:gd name="T68" fmla="*/ 551 w 1755"/>
                <a:gd name="T69" fmla="*/ 507 h 1562"/>
                <a:gd name="T70" fmla="*/ 474 w 1755"/>
                <a:gd name="T71" fmla="*/ 453 h 1562"/>
                <a:gd name="T72" fmla="*/ 294 w 1755"/>
                <a:gd name="T73" fmla="*/ 476 h 1562"/>
                <a:gd name="T74" fmla="*/ 156 w 1755"/>
                <a:gd name="T75" fmla="*/ 526 h 1562"/>
                <a:gd name="T76" fmla="*/ 41 w 1755"/>
                <a:gd name="T77" fmla="*/ 482 h 1562"/>
                <a:gd name="T78" fmla="*/ 46 w 1755"/>
                <a:gd name="T79" fmla="*/ 227 h 1562"/>
                <a:gd name="T80" fmla="*/ 71 w 1755"/>
                <a:gd name="T81" fmla="*/ 223 h 1562"/>
                <a:gd name="T82" fmla="*/ 96 w 1755"/>
                <a:gd name="T83" fmla="*/ 219 h 1562"/>
                <a:gd name="T84" fmla="*/ 169 w 1755"/>
                <a:gd name="T85" fmla="*/ 198 h 1562"/>
                <a:gd name="T86" fmla="*/ 229 w 1755"/>
                <a:gd name="T87" fmla="*/ 154 h 1562"/>
                <a:gd name="T88" fmla="*/ 300 w 1755"/>
                <a:gd name="T89" fmla="*/ 173 h 1562"/>
                <a:gd name="T90" fmla="*/ 392 w 1755"/>
                <a:gd name="T91" fmla="*/ 146 h 1562"/>
                <a:gd name="T92" fmla="*/ 497 w 1755"/>
                <a:gd name="T93" fmla="*/ 136 h 1562"/>
                <a:gd name="T94" fmla="*/ 582 w 1755"/>
                <a:gd name="T95" fmla="*/ 158 h 1562"/>
                <a:gd name="T96" fmla="*/ 509 w 1755"/>
                <a:gd name="T97" fmla="*/ 119 h 1562"/>
                <a:gd name="T98" fmla="*/ 530 w 1755"/>
                <a:gd name="T99" fmla="*/ 92 h 1562"/>
                <a:gd name="T100" fmla="*/ 507 w 1755"/>
                <a:gd name="T101" fmla="*/ 88 h 1562"/>
                <a:gd name="T102" fmla="*/ 482 w 1755"/>
                <a:gd name="T103" fmla="*/ 100 h 1562"/>
                <a:gd name="T104" fmla="*/ 565 w 1755"/>
                <a:gd name="T105" fmla="*/ 37 h 1562"/>
                <a:gd name="T106" fmla="*/ 664 w 1755"/>
                <a:gd name="T107" fmla="*/ 0 h 1562"/>
                <a:gd name="T108" fmla="*/ 808 w 1755"/>
                <a:gd name="T109" fmla="*/ 67 h 1562"/>
                <a:gd name="T110" fmla="*/ 916 w 1755"/>
                <a:gd name="T111" fmla="*/ 138 h 1562"/>
                <a:gd name="T112" fmla="*/ 1067 w 1755"/>
                <a:gd name="T113" fmla="*/ 44 h 1562"/>
                <a:gd name="T114" fmla="*/ 1192 w 1755"/>
                <a:gd name="T115" fmla="*/ 52 h 1562"/>
                <a:gd name="T116" fmla="*/ 1323 w 1755"/>
                <a:gd name="T117" fmla="*/ 104 h 1562"/>
                <a:gd name="T118" fmla="*/ 1470 w 1755"/>
                <a:gd name="T119" fmla="*/ 125 h 1562"/>
                <a:gd name="T120" fmla="*/ 637 w 1755"/>
                <a:gd name="T121" fmla="*/ 532 h 1562"/>
                <a:gd name="T122" fmla="*/ 620 w 1755"/>
                <a:gd name="T123" fmla="*/ 534 h 1562"/>
                <a:gd name="T124" fmla="*/ 622 w 1755"/>
                <a:gd name="T125" fmla="*/ 534 h 1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55" h="1562">
                  <a:moveTo>
                    <a:pt x="628" y="551"/>
                  </a:moveTo>
                  <a:lnTo>
                    <a:pt x="630" y="551"/>
                  </a:lnTo>
                  <a:lnTo>
                    <a:pt x="630" y="553"/>
                  </a:lnTo>
                  <a:lnTo>
                    <a:pt x="628" y="553"/>
                  </a:lnTo>
                  <a:lnTo>
                    <a:pt x="628" y="551"/>
                  </a:lnTo>
                  <a:close/>
                  <a:moveTo>
                    <a:pt x="626" y="547"/>
                  </a:moveTo>
                  <a:lnTo>
                    <a:pt x="628" y="547"/>
                  </a:lnTo>
                  <a:lnTo>
                    <a:pt x="628" y="549"/>
                  </a:lnTo>
                  <a:lnTo>
                    <a:pt x="626" y="549"/>
                  </a:lnTo>
                  <a:lnTo>
                    <a:pt x="626" y="547"/>
                  </a:lnTo>
                  <a:close/>
                  <a:moveTo>
                    <a:pt x="626" y="546"/>
                  </a:moveTo>
                  <a:lnTo>
                    <a:pt x="626" y="547"/>
                  </a:lnTo>
                  <a:lnTo>
                    <a:pt x="626" y="546"/>
                  </a:lnTo>
                  <a:close/>
                  <a:moveTo>
                    <a:pt x="630" y="546"/>
                  </a:moveTo>
                  <a:lnTo>
                    <a:pt x="632" y="546"/>
                  </a:lnTo>
                  <a:lnTo>
                    <a:pt x="632" y="547"/>
                  </a:lnTo>
                  <a:lnTo>
                    <a:pt x="630" y="547"/>
                  </a:lnTo>
                  <a:lnTo>
                    <a:pt x="630" y="546"/>
                  </a:lnTo>
                  <a:close/>
                  <a:moveTo>
                    <a:pt x="626" y="542"/>
                  </a:moveTo>
                  <a:lnTo>
                    <a:pt x="628" y="542"/>
                  </a:lnTo>
                  <a:lnTo>
                    <a:pt x="628" y="544"/>
                  </a:lnTo>
                  <a:lnTo>
                    <a:pt x="626" y="544"/>
                  </a:lnTo>
                  <a:lnTo>
                    <a:pt x="626" y="542"/>
                  </a:lnTo>
                  <a:close/>
                  <a:moveTo>
                    <a:pt x="620" y="544"/>
                  </a:moveTo>
                  <a:lnTo>
                    <a:pt x="620" y="546"/>
                  </a:lnTo>
                  <a:lnTo>
                    <a:pt x="618" y="546"/>
                  </a:lnTo>
                  <a:lnTo>
                    <a:pt x="618" y="544"/>
                  </a:lnTo>
                  <a:lnTo>
                    <a:pt x="618" y="542"/>
                  </a:lnTo>
                  <a:lnTo>
                    <a:pt x="620" y="542"/>
                  </a:lnTo>
                  <a:lnTo>
                    <a:pt x="618" y="542"/>
                  </a:lnTo>
                  <a:lnTo>
                    <a:pt x="620" y="540"/>
                  </a:lnTo>
                  <a:lnTo>
                    <a:pt x="622" y="540"/>
                  </a:lnTo>
                  <a:lnTo>
                    <a:pt x="620" y="540"/>
                  </a:lnTo>
                  <a:lnTo>
                    <a:pt x="622" y="542"/>
                  </a:lnTo>
                  <a:lnTo>
                    <a:pt x="620" y="542"/>
                  </a:lnTo>
                  <a:lnTo>
                    <a:pt x="620" y="544"/>
                  </a:lnTo>
                  <a:close/>
                  <a:moveTo>
                    <a:pt x="637" y="530"/>
                  </a:moveTo>
                  <a:lnTo>
                    <a:pt x="637" y="532"/>
                  </a:lnTo>
                  <a:lnTo>
                    <a:pt x="637" y="530"/>
                  </a:lnTo>
                  <a:close/>
                  <a:moveTo>
                    <a:pt x="58" y="227"/>
                  </a:moveTo>
                  <a:lnTo>
                    <a:pt x="58" y="229"/>
                  </a:lnTo>
                  <a:lnTo>
                    <a:pt x="56" y="227"/>
                  </a:lnTo>
                  <a:lnTo>
                    <a:pt x="58" y="229"/>
                  </a:lnTo>
                  <a:lnTo>
                    <a:pt x="56" y="229"/>
                  </a:lnTo>
                  <a:lnTo>
                    <a:pt x="56" y="227"/>
                  </a:lnTo>
                  <a:lnTo>
                    <a:pt x="58" y="227"/>
                  </a:lnTo>
                  <a:close/>
                  <a:moveTo>
                    <a:pt x="96" y="217"/>
                  </a:moveTo>
                  <a:lnTo>
                    <a:pt x="98" y="217"/>
                  </a:lnTo>
                  <a:lnTo>
                    <a:pt x="98" y="219"/>
                  </a:lnTo>
                  <a:lnTo>
                    <a:pt x="96" y="217"/>
                  </a:lnTo>
                  <a:close/>
                  <a:moveTo>
                    <a:pt x="96" y="217"/>
                  </a:moveTo>
                  <a:lnTo>
                    <a:pt x="96" y="219"/>
                  </a:lnTo>
                  <a:lnTo>
                    <a:pt x="94" y="219"/>
                  </a:lnTo>
                  <a:lnTo>
                    <a:pt x="94" y="217"/>
                  </a:lnTo>
                  <a:lnTo>
                    <a:pt x="96" y="215"/>
                  </a:lnTo>
                  <a:lnTo>
                    <a:pt x="100" y="215"/>
                  </a:lnTo>
                  <a:lnTo>
                    <a:pt x="102" y="215"/>
                  </a:lnTo>
                  <a:lnTo>
                    <a:pt x="104" y="213"/>
                  </a:lnTo>
                  <a:lnTo>
                    <a:pt x="108" y="213"/>
                  </a:lnTo>
                  <a:lnTo>
                    <a:pt x="104" y="213"/>
                  </a:lnTo>
                  <a:lnTo>
                    <a:pt x="102" y="215"/>
                  </a:lnTo>
                  <a:lnTo>
                    <a:pt x="100" y="215"/>
                  </a:lnTo>
                  <a:lnTo>
                    <a:pt x="98" y="215"/>
                  </a:lnTo>
                  <a:lnTo>
                    <a:pt x="96" y="217"/>
                  </a:lnTo>
                  <a:close/>
                  <a:moveTo>
                    <a:pt x="173" y="171"/>
                  </a:moveTo>
                  <a:lnTo>
                    <a:pt x="175" y="171"/>
                  </a:lnTo>
                  <a:lnTo>
                    <a:pt x="175" y="175"/>
                  </a:lnTo>
                  <a:lnTo>
                    <a:pt x="173" y="175"/>
                  </a:lnTo>
                  <a:lnTo>
                    <a:pt x="173" y="171"/>
                  </a:lnTo>
                  <a:close/>
                  <a:moveTo>
                    <a:pt x="173" y="175"/>
                  </a:moveTo>
                  <a:lnTo>
                    <a:pt x="175" y="177"/>
                  </a:lnTo>
                  <a:lnTo>
                    <a:pt x="175" y="175"/>
                  </a:lnTo>
                  <a:lnTo>
                    <a:pt x="173" y="179"/>
                  </a:lnTo>
                  <a:lnTo>
                    <a:pt x="171" y="181"/>
                  </a:lnTo>
                  <a:lnTo>
                    <a:pt x="173" y="179"/>
                  </a:lnTo>
                  <a:lnTo>
                    <a:pt x="175" y="177"/>
                  </a:lnTo>
                  <a:lnTo>
                    <a:pt x="173" y="175"/>
                  </a:lnTo>
                  <a:lnTo>
                    <a:pt x="173" y="173"/>
                  </a:lnTo>
                  <a:lnTo>
                    <a:pt x="175" y="171"/>
                  </a:lnTo>
                  <a:lnTo>
                    <a:pt x="177" y="171"/>
                  </a:lnTo>
                  <a:lnTo>
                    <a:pt x="175" y="171"/>
                  </a:lnTo>
                  <a:lnTo>
                    <a:pt x="173" y="173"/>
                  </a:lnTo>
                  <a:lnTo>
                    <a:pt x="173" y="175"/>
                  </a:lnTo>
                  <a:close/>
                  <a:moveTo>
                    <a:pt x="186" y="154"/>
                  </a:moveTo>
                  <a:lnTo>
                    <a:pt x="196" y="146"/>
                  </a:lnTo>
                  <a:lnTo>
                    <a:pt x="196" y="148"/>
                  </a:lnTo>
                  <a:lnTo>
                    <a:pt x="196" y="146"/>
                  </a:lnTo>
                  <a:lnTo>
                    <a:pt x="198" y="146"/>
                  </a:lnTo>
                  <a:lnTo>
                    <a:pt x="198" y="148"/>
                  </a:lnTo>
                  <a:lnTo>
                    <a:pt x="196" y="148"/>
                  </a:lnTo>
                  <a:lnTo>
                    <a:pt x="194" y="148"/>
                  </a:lnTo>
                  <a:lnTo>
                    <a:pt x="194" y="150"/>
                  </a:lnTo>
                  <a:lnTo>
                    <a:pt x="194" y="152"/>
                  </a:lnTo>
                  <a:lnTo>
                    <a:pt x="192" y="154"/>
                  </a:lnTo>
                  <a:lnTo>
                    <a:pt x="194" y="152"/>
                  </a:lnTo>
                  <a:lnTo>
                    <a:pt x="196" y="152"/>
                  </a:lnTo>
                  <a:lnTo>
                    <a:pt x="198" y="150"/>
                  </a:lnTo>
                  <a:lnTo>
                    <a:pt x="198" y="148"/>
                  </a:lnTo>
                  <a:lnTo>
                    <a:pt x="200" y="148"/>
                  </a:lnTo>
                  <a:lnTo>
                    <a:pt x="198" y="148"/>
                  </a:lnTo>
                  <a:lnTo>
                    <a:pt x="198" y="150"/>
                  </a:lnTo>
                  <a:lnTo>
                    <a:pt x="194" y="154"/>
                  </a:lnTo>
                  <a:lnTo>
                    <a:pt x="194" y="156"/>
                  </a:lnTo>
                  <a:lnTo>
                    <a:pt x="192" y="156"/>
                  </a:lnTo>
                  <a:lnTo>
                    <a:pt x="188" y="158"/>
                  </a:lnTo>
                  <a:lnTo>
                    <a:pt x="186" y="158"/>
                  </a:lnTo>
                  <a:lnTo>
                    <a:pt x="185" y="158"/>
                  </a:lnTo>
                  <a:lnTo>
                    <a:pt x="186" y="158"/>
                  </a:lnTo>
                  <a:lnTo>
                    <a:pt x="188" y="158"/>
                  </a:lnTo>
                  <a:lnTo>
                    <a:pt x="192" y="156"/>
                  </a:lnTo>
                  <a:lnTo>
                    <a:pt x="192" y="154"/>
                  </a:lnTo>
                  <a:lnTo>
                    <a:pt x="190" y="154"/>
                  </a:lnTo>
                  <a:lnTo>
                    <a:pt x="190" y="152"/>
                  </a:lnTo>
                  <a:lnTo>
                    <a:pt x="186" y="154"/>
                  </a:lnTo>
                  <a:lnTo>
                    <a:pt x="186" y="156"/>
                  </a:lnTo>
                  <a:lnTo>
                    <a:pt x="186" y="154"/>
                  </a:lnTo>
                  <a:close/>
                  <a:moveTo>
                    <a:pt x="357" y="158"/>
                  </a:moveTo>
                  <a:lnTo>
                    <a:pt x="344" y="159"/>
                  </a:lnTo>
                  <a:lnTo>
                    <a:pt x="340" y="161"/>
                  </a:lnTo>
                  <a:lnTo>
                    <a:pt x="338" y="161"/>
                  </a:lnTo>
                  <a:lnTo>
                    <a:pt x="336" y="163"/>
                  </a:lnTo>
                  <a:lnTo>
                    <a:pt x="327" y="165"/>
                  </a:lnTo>
                  <a:lnTo>
                    <a:pt x="325" y="165"/>
                  </a:lnTo>
                  <a:lnTo>
                    <a:pt x="317" y="163"/>
                  </a:lnTo>
                  <a:lnTo>
                    <a:pt x="317" y="165"/>
                  </a:lnTo>
                  <a:lnTo>
                    <a:pt x="315" y="163"/>
                  </a:lnTo>
                  <a:lnTo>
                    <a:pt x="317" y="163"/>
                  </a:lnTo>
                  <a:lnTo>
                    <a:pt x="317" y="161"/>
                  </a:lnTo>
                  <a:lnTo>
                    <a:pt x="319" y="159"/>
                  </a:lnTo>
                  <a:lnTo>
                    <a:pt x="321" y="159"/>
                  </a:lnTo>
                  <a:lnTo>
                    <a:pt x="336" y="156"/>
                  </a:lnTo>
                  <a:lnTo>
                    <a:pt x="338" y="156"/>
                  </a:lnTo>
                  <a:lnTo>
                    <a:pt x="340" y="156"/>
                  </a:lnTo>
                  <a:lnTo>
                    <a:pt x="342" y="156"/>
                  </a:lnTo>
                  <a:lnTo>
                    <a:pt x="344" y="156"/>
                  </a:lnTo>
                  <a:lnTo>
                    <a:pt x="348" y="156"/>
                  </a:lnTo>
                  <a:lnTo>
                    <a:pt x="348" y="158"/>
                  </a:lnTo>
                  <a:lnTo>
                    <a:pt x="350" y="156"/>
                  </a:lnTo>
                  <a:lnTo>
                    <a:pt x="353" y="156"/>
                  </a:lnTo>
                  <a:lnTo>
                    <a:pt x="355" y="154"/>
                  </a:lnTo>
                  <a:lnTo>
                    <a:pt x="357" y="154"/>
                  </a:lnTo>
                  <a:lnTo>
                    <a:pt x="363" y="154"/>
                  </a:lnTo>
                  <a:lnTo>
                    <a:pt x="367" y="154"/>
                  </a:lnTo>
                  <a:lnTo>
                    <a:pt x="367" y="156"/>
                  </a:lnTo>
                  <a:lnTo>
                    <a:pt x="363" y="156"/>
                  </a:lnTo>
                  <a:lnTo>
                    <a:pt x="361" y="156"/>
                  </a:lnTo>
                  <a:lnTo>
                    <a:pt x="357" y="158"/>
                  </a:lnTo>
                  <a:close/>
                  <a:moveTo>
                    <a:pt x="482" y="129"/>
                  </a:moveTo>
                  <a:lnTo>
                    <a:pt x="474" y="133"/>
                  </a:lnTo>
                  <a:lnTo>
                    <a:pt x="469" y="133"/>
                  </a:lnTo>
                  <a:lnTo>
                    <a:pt x="467" y="133"/>
                  </a:lnTo>
                  <a:lnTo>
                    <a:pt x="463" y="133"/>
                  </a:lnTo>
                  <a:lnTo>
                    <a:pt x="461" y="133"/>
                  </a:lnTo>
                  <a:lnTo>
                    <a:pt x="457" y="131"/>
                  </a:lnTo>
                  <a:lnTo>
                    <a:pt x="461" y="133"/>
                  </a:lnTo>
                  <a:lnTo>
                    <a:pt x="463" y="133"/>
                  </a:lnTo>
                  <a:lnTo>
                    <a:pt x="467" y="133"/>
                  </a:lnTo>
                  <a:lnTo>
                    <a:pt x="469" y="133"/>
                  </a:lnTo>
                  <a:lnTo>
                    <a:pt x="472" y="131"/>
                  </a:lnTo>
                  <a:lnTo>
                    <a:pt x="474" y="131"/>
                  </a:lnTo>
                  <a:lnTo>
                    <a:pt x="476" y="131"/>
                  </a:lnTo>
                  <a:lnTo>
                    <a:pt x="476" y="129"/>
                  </a:lnTo>
                  <a:lnTo>
                    <a:pt x="478" y="129"/>
                  </a:lnTo>
                  <a:lnTo>
                    <a:pt x="480" y="129"/>
                  </a:lnTo>
                  <a:lnTo>
                    <a:pt x="482" y="129"/>
                  </a:lnTo>
                  <a:close/>
                  <a:moveTo>
                    <a:pt x="467" y="125"/>
                  </a:moveTo>
                  <a:lnTo>
                    <a:pt x="469" y="125"/>
                  </a:lnTo>
                  <a:lnTo>
                    <a:pt x="467" y="127"/>
                  </a:lnTo>
                  <a:lnTo>
                    <a:pt x="467" y="125"/>
                  </a:lnTo>
                  <a:close/>
                  <a:moveTo>
                    <a:pt x="494" y="125"/>
                  </a:moveTo>
                  <a:lnTo>
                    <a:pt x="494" y="127"/>
                  </a:lnTo>
                  <a:lnTo>
                    <a:pt x="494" y="125"/>
                  </a:lnTo>
                  <a:close/>
                  <a:moveTo>
                    <a:pt x="472" y="123"/>
                  </a:moveTo>
                  <a:lnTo>
                    <a:pt x="470" y="125"/>
                  </a:lnTo>
                  <a:lnTo>
                    <a:pt x="472" y="123"/>
                  </a:lnTo>
                  <a:lnTo>
                    <a:pt x="474" y="123"/>
                  </a:lnTo>
                  <a:lnTo>
                    <a:pt x="476" y="123"/>
                  </a:lnTo>
                  <a:lnTo>
                    <a:pt x="476" y="125"/>
                  </a:lnTo>
                  <a:lnTo>
                    <a:pt x="476" y="123"/>
                  </a:lnTo>
                  <a:lnTo>
                    <a:pt x="478" y="125"/>
                  </a:lnTo>
                  <a:lnTo>
                    <a:pt x="476" y="125"/>
                  </a:lnTo>
                  <a:lnTo>
                    <a:pt x="474" y="125"/>
                  </a:lnTo>
                  <a:lnTo>
                    <a:pt x="472" y="127"/>
                  </a:lnTo>
                  <a:lnTo>
                    <a:pt x="470" y="127"/>
                  </a:lnTo>
                  <a:lnTo>
                    <a:pt x="470" y="125"/>
                  </a:lnTo>
                  <a:lnTo>
                    <a:pt x="469" y="125"/>
                  </a:lnTo>
                  <a:lnTo>
                    <a:pt x="470" y="125"/>
                  </a:lnTo>
                  <a:lnTo>
                    <a:pt x="470" y="123"/>
                  </a:lnTo>
                  <a:lnTo>
                    <a:pt x="472" y="123"/>
                  </a:lnTo>
                  <a:close/>
                  <a:moveTo>
                    <a:pt x="467" y="123"/>
                  </a:moveTo>
                  <a:lnTo>
                    <a:pt x="470" y="123"/>
                  </a:lnTo>
                  <a:lnTo>
                    <a:pt x="469" y="125"/>
                  </a:lnTo>
                  <a:lnTo>
                    <a:pt x="467" y="125"/>
                  </a:lnTo>
                  <a:lnTo>
                    <a:pt x="467" y="123"/>
                  </a:lnTo>
                  <a:close/>
                  <a:moveTo>
                    <a:pt x="488" y="119"/>
                  </a:moveTo>
                  <a:lnTo>
                    <a:pt x="488" y="121"/>
                  </a:lnTo>
                  <a:lnTo>
                    <a:pt x="486" y="121"/>
                  </a:lnTo>
                  <a:lnTo>
                    <a:pt x="484" y="121"/>
                  </a:lnTo>
                  <a:lnTo>
                    <a:pt x="482" y="121"/>
                  </a:lnTo>
                  <a:lnTo>
                    <a:pt x="480" y="121"/>
                  </a:lnTo>
                  <a:lnTo>
                    <a:pt x="478" y="121"/>
                  </a:lnTo>
                  <a:lnTo>
                    <a:pt x="480" y="119"/>
                  </a:lnTo>
                  <a:lnTo>
                    <a:pt x="482" y="119"/>
                  </a:lnTo>
                  <a:lnTo>
                    <a:pt x="484" y="119"/>
                  </a:lnTo>
                  <a:lnTo>
                    <a:pt x="484" y="117"/>
                  </a:lnTo>
                  <a:lnTo>
                    <a:pt x="486" y="117"/>
                  </a:lnTo>
                  <a:lnTo>
                    <a:pt x="488" y="117"/>
                  </a:lnTo>
                  <a:lnTo>
                    <a:pt x="490" y="117"/>
                  </a:lnTo>
                  <a:lnTo>
                    <a:pt x="490" y="119"/>
                  </a:lnTo>
                  <a:lnTo>
                    <a:pt x="488" y="119"/>
                  </a:lnTo>
                  <a:close/>
                  <a:moveTo>
                    <a:pt x="470" y="113"/>
                  </a:moveTo>
                  <a:lnTo>
                    <a:pt x="470" y="115"/>
                  </a:lnTo>
                  <a:lnTo>
                    <a:pt x="470" y="113"/>
                  </a:lnTo>
                  <a:close/>
                  <a:moveTo>
                    <a:pt x="497" y="117"/>
                  </a:moveTo>
                  <a:lnTo>
                    <a:pt x="499" y="115"/>
                  </a:lnTo>
                  <a:lnTo>
                    <a:pt x="501" y="115"/>
                  </a:lnTo>
                  <a:lnTo>
                    <a:pt x="499" y="115"/>
                  </a:lnTo>
                  <a:lnTo>
                    <a:pt x="497" y="117"/>
                  </a:lnTo>
                  <a:close/>
                  <a:moveTo>
                    <a:pt x="501" y="113"/>
                  </a:moveTo>
                  <a:lnTo>
                    <a:pt x="501" y="115"/>
                  </a:lnTo>
                  <a:lnTo>
                    <a:pt x="501" y="113"/>
                  </a:lnTo>
                  <a:close/>
                  <a:moveTo>
                    <a:pt x="513" y="115"/>
                  </a:moveTo>
                  <a:lnTo>
                    <a:pt x="515" y="115"/>
                  </a:lnTo>
                  <a:lnTo>
                    <a:pt x="513" y="115"/>
                  </a:lnTo>
                  <a:close/>
                  <a:moveTo>
                    <a:pt x="515" y="113"/>
                  </a:moveTo>
                  <a:lnTo>
                    <a:pt x="515" y="115"/>
                  </a:lnTo>
                  <a:lnTo>
                    <a:pt x="515" y="113"/>
                  </a:lnTo>
                  <a:close/>
                  <a:moveTo>
                    <a:pt x="513" y="113"/>
                  </a:moveTo>
                  <a:lnTo>
                    <a:pt x="511" y="113"/>
                  </a:lnTo>
                  <a:lnTo>
                    <a:pt x="509" y="113"/>
                  </a:lnTo>
                  <a:lnTo>
                    <a:pt x="509" y="115"/>
                  </a:lnTo>
                  <a:lnTo>
                    <a:pt x="507" y="117"/>
                  </a:lnTo>
                  <a:lnTo>
                    <a:pt x="507" y="119"/>
                  </a:lnTo>
                  <a:lnTo>
                    <a:pt x="505" y="119"/>
                  </a:lnTo>
                  <a:lnTo>
                    <a:pt x="505" y="121"/>
                  </a:lnTo>
                  <a:lnTo>
                    <a:pt x="503" y="119"/>
                  </a:lnTo>
                  <a:lnTo>
                    <a:pt x="503" y="121"/>
                  </a:lnTo>
                  <a:lnTo>
                    <a:pt x="501" y="121"/>
                  </a:lnTo>
                  <a:lnTo>
                    <a:pt x="499" y="123"/>
                  </a:lnTo>
                  <a:lnTo>
                    <a:pt x="497" y="123"/>
                  </a:lnTo>
                  <a:lnTo>
                    <a:pt x="497" y="125"/>
                  </a:lnTo>
                  <a:lnTo>
                    <a:pt x="495" y="125"/>
                  </a:lnTo>
                  <a:lnTo>
                    <a:pt x="494" y="125"/>
                  </a:lnTo>
                  <a:lnTo>
                    <a:pt x="494" y="127"/>
                  </a:lnTo>
                  <a:lnTo>
                    <a:pt x="492" y="127"/>
                  </a:lnTo>
                  <a:lnTo>
                    <a:pt x="490" y="127"/>
                  </a:lnTo>
                  <a:lnTo>
                    <a:pt x="492" y="127"/>
                  </a:lnTo>
                  <a:lnTo>
                    <a:pt x="490" y="127"/>
                  </a:lnTo>
                  <a:lnTo>
                    <a:pt x="488" y="127"/>
                  </a:lnTo>
                  <a:lnTo>
                    <a:pt x="486" y="127"/>
                  </a:lnTo>
                  <a:lnTo>
                    <a:pt x="486" y="129"/>
                  </a:lnTo>
                  <a:lnTo>
                    <a:pt x="484" y="129"/>
                  </a:lnTo>
                  <a:lnTo>
                    <a:pt x="482" y="129"/>
                  </a:lnTo>
                  <a:lnTo>
                    <a:pt x="484" y="129"/>
                  </a:lnTo>
                  <a:lnTo>
                    <a:pt x="482" y="129"/>
                  </a:lnTo>
                  <a:lnTo>
                    <a:pt x="484" y="127"/>
                  </a:lnTo>
                  <a:lnTo>
                    <a:pt x="486" y="127"/>
                  </a:lnTo>
                  <a:lnTo>
                    <a:pt x="490" y="123"/>
                  </a:lnTo>
                  <a:lnTo>
                    <a:pt x="492" y="121"/>
                  </a:lnTo>
                  <a:lnTo>
                    <a:pt x="494" y="119"/>
                  </a:lnTo>
                  <a:lnTo>
                    <a:pt x="495" y="119"/>
                  </a:lnTo>
                  <a:lnTo>
                    <a:pt x="497" y="117"/>
                  </a:lnTo>
                  <a:lnTo>
                    <a:pt x="495" y="119"/>
                  </a:lnTo>
                  <a:lnTo>
                    <a:pt x="497" y="119"/>
                  </a:lnTo>
                  <a:lnTo>
                    <a:pt x="497" y="117"/>
                  </a:lnTo>
                  <a:lnTo>
                    <a:pt x="499" y="117"/>
                  </a:lnTo>
                  <a:lnTo>
                    <a:pt x="499" y="115"/>
                  </a:lnTo>
                  <a:lnTo>
                    <a:pt x="501" y="115"/>
                  </a:lnTo>
                  <a:lnTo>
                    <a:pt x="501" y="113"/>
                  </a:lnTo>
                  <a:lnTo>
                    <a:pt x="503" y="113"/>
                  </a:lnTo>
                  <a:lnTo>
                    <a:pt x="503" y="115"/>
                  </a:lnTo>
                  <a:lnTo>
                    <a:pt x="505" y="113"/>
                  </a:lnTo>
                  <a:lnTo>
                    <a:pt x="507" y="113"/>
                  </a:lnTo>
                  <a:lnTo>
                    <a:pt x="509" y="113"/>
                  </a:lnTo>
                  <a:lnTo>
                    <a:pt x="511" y="113"/>
                  </a:lnTo>
                  <a:lnTo>
                    <a:pt x="513" y="113"/>
                  </a:lnTo>
                  <a:close/>
                  <a:moveTo>
                    <a:pt x="509" y="110"/>
                  </a:moveTo>
                  <a:lnTo>
                    <a:pt x="509" y="111"/>
                  </a:lnTo>
                  <a:lnTo>
                    <a:pt x="509" y="110"/>
                  </a:lnTo>
                  <a:close/>
                  <a:moveTo>
                    <a:pt x="501" y="108"/>
                  </a:moveTo>
                  <a:lnTo>
                    <a:pt x="501" y="110"/>
                  </a:lnTo>
                  <a:lnTo>
                    <a:pt x="499" y="110"/>
                  </a:lnTo>
                  <a:lnTo>
                    <a:pt x="499" y="108"/>
                  </a:lnTo>
                  <a:lnTo>
                    <a:pt x="501" y="108"/>
                  </a:lnTo>
                  <a:close/>
                  <a:moveTo>
                    <a:pt x="499" y="108"/>
                  </a:moveTo>
                  <a:lnTo>
                    <a:pt x="501" y="108"/>
                  </a:lnTo>
                  <a:lnTo>
                    <a:pt x="499" y="108"/>
                  </a:lnTo>
                  <a:close/>
                  <a:moveTo>
                    <a:pt x="517" y="108"/>
                  </a:moveTo>
                  <a:lnTo>
                    <a:pt x="518" y="110"/>
                  </a:lnTo>
                  <a:lnTo>
                    <a:pt x="517" y="110"/>
                  </a:lnTo>
                  <a:lnTo>
                    <a:pt x="515" y="110"/>
                  </a:lnTo>
                  <a:lnTo>
                    <a:pt x="513" y="110"/>
                  </a:lnTo>
                  <a:lnTo>
                    <a:pt x="511" y="111"/>
                  </a:lnTo>
                  <a:lnTo>
                    <a:pt x="509" y="111"/>
                  </a:lnTo>
                  <a:lnTo>
                    <a:pt x="511" y="111"/>
                  </a:lnTo>
                  <a:lnTo>
                    <a:pt x="511" y="110"/>
                  </a:lnTo>
                  <a:lnTo>
                    <a:pt x="513" y="110"/>
                  </a:lnTo>
                  <a:lnTo>
                    <a:pt x="515" y="110"/>
                  </a:lnTo>
                  <a:lnTo>
                    <a:pt x="515" y="108"/>
                  </a:lnTo>
                  <a:lnTo>
                    <a:pt x="517" y="108"/>
                  </a:lnTo>
                  <a:close/>
                  <a:moveTo>
                    <a:pt x="518" y="108"/>
                  </a:moveTo>
                  <a:lnTo>
                    <a:pt x="520" y="108"/>
                  </a:lnTo>
                  <a:lnTo>
                    <a:pt x="518" y="110"/>
                  </a:lnTo>
                  <a:lnTo>
                    <a:pt x="518" y="108"/>
                  </a:lnTo>
                  <a:close/>
                  <a:moveTo>
                    <a:pt x="507" y="106"/>
                  </a:moveTo>
                  <a:lnTo>
                    <a:pt x="509" y="106"/>
                  </a:lnTo>
                  <a:lnTo>
                    <a:pt x="509" y="108"/>
                  </a:lnTo>
                  <a:lnTo>
                    <a:pt x="507" y="108"/>
                  </a:lnTo>
                  <a:lnTo>
                    <a:pt x="507" y="106"/>
                  </a:lnTo>
                  <a:close/>
                  <a:moveTo>
                    <a:pt x="515" y="102"/>
                  </a:moveTo>
                  <a:lnTo>
                    <a:pt x="517" y="102"/>
                  </a:lnTo>
                  <a:lnTo>
                    <a:pt x="515" y="102"/>
                  </a:lnTo>
                  <a:close/>
                  <a:moveTo>
                    <a:pt x="520" y="102"/>
                  </a:moveTo>
                  <a:lnTo>
                    <a:pt x="520" y="104"/>
                  </a:lnTo>
                  <a:lnTo>
                    <a:pt x="518" y="106"/>
                  </a:lnTo>
                  <a:lnTo>
                    <a:pt x="517" y="106"/>
                  </a:lnTo>
                  <a:lnTo>
                    <a:pt x="515" y="106"/>
                  </a:lnTo>
                  <a:lnTo>
                    <a:pt x="513" y="106"/>
                  </a:lnTo>
                  <a:lnTo>
                    <a:pt x="511" y="106"/>
                  </a:lnTo>
                  <a:lnTo>
                    <a:pt x="509" y="106"/>
                  </a:lnTo>
                  <a:lnTo>
                    <a:pt x="511" y="106"/>
                  </a:lnTo>
                  <a:lnTo>
                    <a:pt x="513" y="106"/>
                  </a:lnTo>
                  <a:lnTo>
                    <a:pt x="511" y="106"/>
                  </a:lnTo>
                  <a:lnTo>
                    <a:pt x="511" y="108"/>
                  </a:lnTo>
                  <a:lnTo>
                    <a:pt x="509" y="108"/>
                  </a:lnTo>
                  <a:lnTo>
                    <a:pt x="509" y="106"/>
                  </a:lnTo>
                  <a:lnTo>
                    <a:pt x="507" y="106"/>
                  </a:lnTo>
                  <a:lnTo>
                    <a:pt x="509" y="106"/>
                  </a:lnTo>
                  <a:lnTo>
                    <a:pt x="509" y="104"/>
                  </a:lnTo>
                  <a:lnTo>
                    <a:pt x="511" y="104"/>
                  </a:lnTo>
                  <a:lnTo>
                    <a:pt x="511" y="102"/>
                  </a:lnTo>
                  <a:lnTo>
                    <a:pt x="515" y="102"/>
                  </a:lnTo>
                  <a:lnTo>
                    <a:pt x="517" y="102"/>
                  </a:lnTo>
                  <a:lnTo>
                    <a:pt x="517" y="100"/>
                  </a:lnTo>
                  <a:lnTo>
                    <a:pt x="518" y="100"/>
                  </a:lnTo>
                  <a:lnTo>
                    <a:pt x="520" y="100"/>
                  </a:lnTo>
                  <a:lnTo>
                    <a:pt x="520" y="102"/>
                  </a:lnTo>
                  <a:close/>
                  <a:moveTo>
                    <a:pt x="526" y="104"/>
                  </a:moveTo>
                  <a:lnTo>
                    <a:pt x="524" y="104"/>
                  </a:lnTo>
                  <a:lnTo>
                    <a:pt x="524" y="102"/>
                  </a:lnTo>
                  <a:lnTo>
                    <a:pt x="524" y="100"/>
                  </a:lnTo>
                  <a:lnTo>
                    <a:pt x="526" y="100"/>
                  </a:lnTo>
                  <a:lnTo>
                    <a:pt x="528" y="100"/>
                  </a:lnTo>
                  <a:lnTo>
                    <a:pt x="526" y="102"/>
                  </a:lnTo>
                  <a:lnTo>
                    <a:pt x="526" y="104"/>
                  </a:lnTo>
                  <a:close/>
                  <a:moveTo>
                    <a:pt x="501" y="94"/>
                  </a:moveTo>
                  <a:lnTo>
                    <a:pt x="503" y="94"/>
                  </a:lnTo>
                  <a:lnTo>
                    <a:pt x="503" y="96"/>
                  </a:lnTo>
                  <a:lnTo>
                    <a:pt x="501" y="96"/>
                  </a:lnTo>
                  <a:lnTo>
                    <a:pt x="501" y="94"/>
                  </a:lnTo>
                  <a:close/>
                  <a:moveTo>
                    <a:pt x="503" y="92"/>
                  </a:moveTo>
                  <a:lnTo>
                    <a:pt x="505" y="92"/>
                  </a:lnTo>
                  <a:lnTo>
                    <a:pt x="505" y="94"/>
                  </a:lnTo>
                  <a:lnTo>
                    <a:pt x="503" y="94"/>
                  </a:lnTo>
                  <a:lnTo>
                    <a:pt x="503" y="92"/>
                  </a:lnTo>
                  <a:close/>
                  <a:moveTo>
                    <a:pt x="511" y="90"/>
                  </a:moveTo>
                  <a:lnTo>
                    <a:pt x="509" y="90"/>
                  </a:lnTo>
                  <a:lnTo>
                    <a:pt x="509" y="92"/>
                  </a:lnTo>
                  <a:lnTo>
                    <a:pt x="509" y="94"/>
                  </a:lnTo>
                  <a:lnTo>
                    <a:pt x="507" y="94"/>
                  </a:lnTo>
                  <a:lnTo>
                    <a:pt x="507" y="92"/>
                  </a:lnTo>
                  <a:lnTo>
                    <a:pt x="509" y="90"/>
                  </a:lnTo>
                  <a:lnTo>
                    <a:pt x="511" y="88"/>
                  </a:lnTo>
                  <a:lnTo>
                    <a:pt x="511" y="90"/>
                  </a:lnTo>
                  <a:close/>
                  <a:moveTo>
                    <a:pt x="1541" y="167"/>
                  </a:moveTo>
                  <a:lnTo>
                    <a:pt x="1541" y="169"/>
                  </a:lnTo>
                  <a:lnTo>
                    <a:pt x="1540" y="169"/>
                  </a:lnTo>
                  <a:lnTo>
                    <a:pt x="1540" y="171"/>
                  </a:lnTo>
                  <a:lnTo>
                    <a:pt x="1540" y="173"/>
                  </a:lnTo>
                  <a:lnTo>
                    <a:pt x="1540" y="175"/>
                  </a:lnTo>
                  <a:lnTo>
                    <a:pt x="1540" y="177"/>
                  </a:lnTo>
                  <a:lnTo>
                    <a:pt x="1540" y="179"/>
                  </a:lnTo>
                  <a:lnTo>
                    <a:pt x="1541" y="179"/>
                  </a:lnTo>
                  <a:lnTo>
                    <a:pt x="1541" y="181"/>
                  </a:lnTo>
                  <a:lnTo>
                    <a:pt x="1541" y="183"/>
                  </a:lnTo>
                  <a:lnTo>
                    <a:pt x="1543" y="181"/>
                  </a:lnTo>
                  <a:lnTo>
                    <a:pt x="1545" y="183"/>
                  </a:lnTo>
                  <a:lnTo>
                    <a:pt x="1547" y="181"/>
                  </a:lnTo>
                  <a:lnTo>
                    <a:pt x="1551" y="181"/>
                  </a:lnTo>
                  <a:lnTo>
                    <a:pt x="1553" y="183"/>
                  </a:lnTo>
                  <a:lnTo>
                    <a:pt x="1555" y="181"/>
                  </a:lnTo>
                  <a:lnTo>
                    <a:pt x="1557" y="181"/>
                  </a:lnTo>
                  <a:lnTo>
                    <a:pt x="1559" y="181"/>
                  </a:lnTo>
                  <a:lnTo>
                    <a:pt x="1561" y="181"/>
                  </a:lnTo>
                  <a:lnTo>
                    <a:pt x="1563" y="183"/>
                  </a:lnTo>
                  <a:lnTo>
                    <a:pt x="1564" y="183"/>
                  </a:lnTo>
                  <a:lnTo>
                    <a:pt x="1566" y="183"/>
                  </a:lnTo>
                  <a:lnTo>
                    <a:pt x="1568" y="183"/>
                  </a:lnTo>
                  <a:lnTo>
                    <a:pt x="1570" y="183"/>
                  </a:lnTo>
                  <a:lnTo>
                    <a:pt x="1574" y="183"/>
                  </a:lnTo>
                  <a:lnTo>
                    <a:pt x="1576" y="183"/>
                  </a:lnTo>
                  <a:lnTo>
                    <a:pt x="1578" y="186"/>
                  </a:lnTo>
                  <a:lnTo>
                    <a:pt x="1580" y="186"/>
                  </a:lnTo>
                  <a:lnTo>
                    <a:pt x="1580" y="188"/>
                  </a:lnTo>
                  <a:lnTo>
                    <a:pt x="1582" y="188"/>
                  </a:lnTo>
                  <a:lnTo>
                    <a:pt x="1584" y="190"/>
                  </a:lnTo>
                  <a:lnTo>
                    <a:pt x="1586" y="192"/>
                  </a:lnTo>
                  <a:lnTo>
                    <a:pt x="1589" y="194"/>
                  </a:lnTo>
                  <a:lnTo>
                    <a:pt x="1591" y="194"/>
                  </a:lnTo>
                  <a:lnTo>
                    <a:pt x="1593" y="196"/>
                  </a:lnTo>
                  <a:lnTo>
                    <a:pt x="1595" y="198"/>
                  </a:lnTo>
                  <a:lnTo>
                    <a:pt x="1599" y="198"/>
                  </a:lnTo>
                  <a:lnTo>
                    <a:pt x="1603" y="202"/>
                  </a:lnTo>
                  <a:lnTo>
                    <a:pt x="1605" y="202"/>
                  </a:lnTo>
                  <a:lnTo>
                    <a:pt x="1605" y="204"/>
                  </a:lnTo>
                  <a:lnTo>
                    <a:pt x="1607" y="206"/>
                  </a:lnTo>
                  <a:lnTo>
                    <a:pt x="1609" y="209"/>
                  </a:lnTo>
                  <a:lnTo>
                    <a:pt x="1611" y="209"/>
                  </a:lnTo>
                  <a:lnTo>
                    <a:pt x="1609" y="211"/>
                  </a:lnTo>
                  <a:lnTo>
                    <a:pt x="1611" y="213"/>
                  </a:lnTo>
                  <a:lnTo>
                    <a:pt x="1612" y="213"/>
                  </a:lnTo>
                  <a:lnTo>
                    <a:pt x="1612" y="211"/>
                  </a:lnTo>
                  <a:lnTo>
                    <a:pt x="1614" y="213"/>
                  </a:lnTo>
                  <a:lnTo>
                    <a:pt x="1618" y="215"/>
                  </a:lnTo>
                  <a:lnTo>
                    <a:pt x="1616" y="217"/>
                  </a:lnTo>
                  <a:lnTo>
                    <a:pt x="1616" y="219"/>
                  </a:lnTo>
                  <a:lnTo>
                    <a:pt x="1614" y="221"/>
                  </a:lnTo>
                  <a:lnTo>
                    <a:pt x="1612" y="219"/>
                  </a:lnTo>
                  <a:lnTo>
                    <a:pt x="1611" y="221"/>
                  </a:lnTo>
                  <a:lnTo>
                    <a:pt x="1609" y="221"/>
                  </a:lnTo>
                  <a:lnTo>
                    <a:pt x="1607" y="221"/>
                  </a:lnTo>
                  <a:lnTo>
                    <a:pt x="1605" y="221"/>
                  </a:lnTo>
                  <a:lnTo>
                    <a:pt x="1603" y="221"/>
                  </a:lnTo>
                  <a:lnTo>
                    <a:pt x="1603" y="223"/>
                  </a:lnTo>
                  <a:lnTo>
                    <a:pt x="1601" y="225"/>
                  </a:lnTo>
                  <a:lnTo>
                    <a:pt x="1601" y="227"/>
                  </a:lnTo>
                  <a:lnTo>
                    <a:pt x="1601" y="229"/>
                  </a:lnTo>
                  <a:lnTo>
                    <a:pt x="1601" y="231"/>
                  </a:lnTo>
                  <a:lnTo>
                    <a:pt x="1601" y="232"/>
                  </a:lnTo>
                  <a:lnTo>
                    <a:pt x="1603" y="234"/>
                  </a:lnTo>
                  <a:lnTo>
                    <a:pt x="1603" y="236"/>
                  </a:lnTo>
                  <a:lnTo>
                    <a:pt x="1601" y="238"/>
                  </a:lnTo>
                  <a:lnTo>
                    <a:pt x="1603" y="238"/>
                  </a:lnTo>
                  <a:lnTo>
                    <a:pt x="1603" y="240"/>
                  </a:lnTo>
                  <a:lnTo>
                    <a:pt x="1605" y="240"/>
                  </a:lnTo>
                  <a:lnTo>
                    <a:pt x="1605" y="244"/>
                  </a:lnTo>
                  <a:lnTo>
                    <a:pt x="1605" y="246"/>
                  </a:lnTo>
                  <a:lnTo>
                    <a:pt x="1605" y="248"/>
                  </a:lnTo>
                  <a:lnTo>
                    <a:pt x="1605" y="250"/>
                  </a:lnTo>
                  <a:lnTo>
                    <a:pt x="1603" y="252"/>
                  </a:lnTo>
                  <a:lnTo>
                    <a:pt x="1603" y="254"/>
                  </a:lnTo>
                  <a:lnTo>
                    <a:pt x="1601" y="254"/>
                  </a:lnTo>
                  <a:lnTo>
                    <a:pt x="1601" y="256"/>
                  </a:lnTo>
                  <a:lnTo>
                    <a:pt x="1603" y="256"/>
                  </a:lnTo>
                  <a:lnTo>
                    <a:pt x="1603" y="257"/>
                  </a:lnTo>
                  <a:lnTo>
                    <a:pt x="1605" y="259"/>
                  </a:lnTo>
                  <a:lnTo>
                    <a:pt x="1605" y="261"/>
                  </a:lnTo>
                  <a:lnTo>
                    <a:pt x="1603" y="263"/>
                  </a:lnTo>
                  <a:lnTo>
                    <a:pt x="1603" y="267"/>
                  </a:lnTo>
                  <a:lnTo>
                    <a:pt x="1603" y="269"/>
                  </a:lnTo>
                  <a:lnTo>
                    <a:pt x="1601" y="269"/>
                  </a:lnTo>
                  <a:lnTo>
                    <a:pt x="1603" y="273"/>
                  </a:lnTo>
                  <a:lnTo>
                    <a:pt x="1605" y="273"/>
                  </a:lnTo>
                  <a:lnTo>
                    <a:pt x="1607" y="273"/>
                  </a:lnTo>
                  <a:lnTo>
                    <a:pt x="1607" y="275"/>
                  </a:lnTo>
                  <a:lnTo>
                    <a:pt x="1605" y="275"/>
                  </a:lnTo>
                  <a:lnTo>
                    <a:pt x="1603" y="275"/>
                  </a:lnTo>
                  <a:lnTo>
                    <a:pt x="1607" y="275"/>
                  </a:lnTo>
                  <a:lnTo>
                    <a:pt x="1607" y="277"/>
                  </a:lnTo>
                  <a:lnTo>
                    <a:pt x="1614" y="280"/>
                  </a:lnTo>
                  <a:lnTo>
                    <a:pt x="1632" y="288"/>
                  </a:lnTo>
                  <a:lnTo>
                    <a:pt x="1637" y="290"/>
                  </a:lnTo>
                  <a:lnTo>
                    <a:pt x="1637" y="292"/>
                  </a:lnTo>
                  <a:lnTo>
                    <a:pt x="1639" y="290"/>
                  </a:lnTo>
                  <a:lnTo>
                    <a:pt x="1641" y="290"/>
                  </a:lnTo>
                  <a:lnTo>
                    <a:pt x="1641" y="292"/>
                  </a:lnTo>
                  <a:lnTo>
                    <a:pt x="1643" y="292"/>
                  </a:lnTo>
                  <a:lnTo>
                    <a:pt x="1643" y="294"/>
                  </a:lnTo>
                  <a:lnTo>
                    <a:pt x="1645" y="296"/>
                  </a:lnTo>
                  <a:lnTo>
                    <a:pt x="1647" y="294"/>
                  </a:lnTo>
                  <a:lnTo>
                    <a:pt x="1649" y="294"/>
                  </a:lnTo>
                  <a:lnTo>
                    <a:pt x="1651" y="294"/>
                  </a:lnTo>
                  <a:lnTo>
                    <a:pt x="1651" y="296"/>
                  </a:lnTo>
                  <a:lnTo>
                    <a:pt x="1651" y="298"/>
                  </a:lnTo>
                  <a:lnTo>
                    <a:pt x="1653" y="298"/>
                  </a:lnTo>
                  <a:lnTo>
                    <a:pt x="1657" y="298"/>
                  </a:lnTo>
                  <a:lnTo>
                    <a:pt x="1660" y="300"/>
                  </a:lnTo>
                  <a:lnTo>
                    <a:pt x="1662" y="298"/>
                  </a:lnTo>
                  <a:lnTo>
                    <a:pt x="1664" y="298"/>
                  </a:lnTo>
                  <a:lnTo>
                    <a:pt x="1666" y="300"/>
                  </a:lnTo>
                  <a:lnTo>
                    <a:pt x="1668" y="300"/>
                  </a:lnTo>
                  <a:lnTo>
                    <a:pt x="1676" y="304"/>
                  </a:lnTo>
                  <a:lnTo>
                    <a:pt x="1676" y="307"/>
                  </a:lnTo>
                  <a:lnTo>
                    <a:pt x="1674" y="307"/>
                  </a:lnTo>
                  <a:lnTo>
                    <a:pt x="1674" y="309"/>
                  </a:lnTo>
                  <a:lnTo>
                    <a:pt x="1676" y="311"/>
                  </a:lnTo>
                  <a:lnTo>
                    <a:pt x="1674" y="313"/>
                  </a:lnTo>
                  <a:lnTo>
                    <a:pt x="1672" y="313"/>
                  </a:lnTo>
                  <a:lnTo>
                    <a:pt x="1672" y="315"/>
                  </a:lnTo>
                  <a:lnTo>
                    <a:pt x="1668" y="317"/>
                  </a:lnTo>
                  <a:lnTo>
                    <a:pt x="1670" y="321"/>
                  </a:lnTo>
                  <a:lnTo>
                    <a:pt x="1666" y="323"/>
                  </a:lnTo>
                  <a:lnTo>
                    <a:pt x="1666" y="325"/>
                  </a:lnTo>
                  <a:lnTo>
                    <a:pt x="1662" y="336"/>
                  </a:lnTo>
                  <a:lnTo>
                    <a:pt x="1662" y="340"/>
                  </a:lnTo>
                  <a:lnTo>
                    <a:pt x="1659" y="348"/>
                  </a:lnTo>
                  <a:lnTo>
                    <a:pt x="1659" y="350"/>
                  </a:lnTo>
                  <a:lnTo>
                    <a:pt x="1657" y="353"/>
                  </a:lnTo>
                  <a:lnTo>
                    <a:pt x="1653" y="352"/>
                  </a:lnTo>
                  <a:lnTo>
                    <a:pt x="1653" y="357"/>
                  </a:lnTo>
                  <a:lnTo>
                    <a:pt x="1653" y="359"/>
                  </a:lnTo>
                  <a:lnTo>
                    <a:pt x="1653" y="361"/>
                  </a:lnTo>
                  <a:lnTo>
                    <a:pt x="1653" y="363"/>
                  </a:lnTo>
                  <a:lnTo>
                    <a:pt x="1653" y="365"/>
                  </a:lnTo>
                  <a:lnTo>
                    <a:pt x="1651" y="369"/>
                  </a:lnTo>
                  <a:lnTo>
                    <a:pt x="1651" y="373"/>
                  </a:lnTo>
                  <a:lnTo>
                    <a:pt x="1649" y="373"/>
                  </a:lnTo>
                  <a:lnTo>
                    <a:pt x="1672" y="392"/>
                  </a:lnTo>
                  <a:lnTo>
                    <a:pt x="1674" y="392"/>
                  </a:lnTo>
                  <a:lnTo>
                    <a:pt x="1676" y="394"/>
                  </a:lnTo>
                  <a:lnTo>
                    <a:pt x="1678" y="398"/>
                  </a:lnTo>
                  <a:lnTo>
                    <a:pt x="1682" y="407"/>
                  </a:lnTo>
                  <a:lnTo>
                    <a:pt x="1682" y="409"/>
                  </a:lnTo>
                  <a:lnTo>
                    <a:pt x="1687" y="415"/>
                  </a:lnTo>
                  <a:lnTo>
                    <a:pt x="1689" y="419"/>
                  </a:lnTo>
                  <a:lnTo>
                    <a:pt x="1691" y="421"/>
                  </a:lnTo>
                  <a:lnTo>
                    <a:pt x="1695" y="425"/>
                  </a:lnTo>
                  <a:lnTo>
                    <a:pt x="1705" y="432"/>
                  </a:lnTo>
                  <a:lnTo>
                    <a:pt x="1707" y="440"/>
                  </a:lnTo>
                  <a:lnTo>
                    <a:pt x="1710" y="448"/>
                  </a:lnTo>
                  <a:lnTo>
                    <a:pt x="1714" y="459"/>
                  </a:lnTo>
                  <a:lnTo>
                    <a:pt x="1718" y="471"/>
                  </a:lnTo>
                  <a:lnTo>
                    <a:pt x="1720" y="471"/>
                  </a:lnTo>
                  <a:lnTo>
                    <a:pt x="1730" y="478"/>
                  </a:lnTo>
                  <a:lnTo>
                    <a:pt x="1730" y="480"/>
                  </a:lnTo>
                  <a:lnTo>
                    <a:pt x="1737" y="486"/>
                  </a:lnTo>
                  <a:lnTo>
                    <a:pt x="1739" y="488"/>
                  </a:lnTo>
                  <a:lnTo>
                    <a:pt x="1739" y="490"/>
                  </a:lnTo>
                  <a:lnTo>
                    <a:pt x="1745" y="499"/>
                  </a:lnTo>
                  <a:lnTo>
                    <a:pt x="1747" y="509"/>
                  </a:lnTo>
                  <a:lnTo>
                    <a:pt x="1749" y="513"/>
                  </a:lnTo>
                  <a:lnTo>
                    <a:pt x="1749" y="517"/>
                  </a:lnTo>
                  <a:lnTo>
                    <a:pt x="1749" y="521"/>
                  </a:lnTo>
                  <a:lnTo>
                    <a:pt x="1749" y="523"/>
                  </a:lnTo>
                  <a:lnTo>
                    <a:pt x="1749" y="528"/>
                  </a:lnTo>
                  <a:lnTo>
                    <a:pt x="1747" y="536"/>
                  </a:lnTo>
                  <a:lnTo>
                    <a:pt x="1747" y="540"/>
                  </a:lnTo>
                  <a:lnTo>
                    <a:pt x="1749" y="542"/>
                  </a:lnTo>
                  <a:lnTo>
                    <a:pt x="1749" y="546"/>
                  </a:lnTo>
                  <a:lnTo>
                    <a:pt x="1751" y="546"/>
                  </a:lnTo>
                  <a:lnTo>
                    <a:pt x="1751" y="547"/>
                  </a:lnTo>
                  <a:lnTo>
                    <a:pt x="1751" y="549"/>
                  </a:lnTo>
                  <a:lnTo>
                    <a:pt x="1753" y="547"/>
                  </a:lnTo>
                  <a:lnTo>
                    <a:pt x="1753" y="549"/>
                  </a:lnTo>
                  <a:lnTo>
                    <a:pt x="1755" y="557"/>
                  </a:lnTo>
                  <a:lnTo>
                    <a:pt x="1755" y="559"/>
                  </a:lnTo>
                  <a:lnTo>
                    <a:pt x="1755" y="563"/>
                  </a:lnTo>
                  <a:lnTo>
                    <a:pt x="1755" y="565"/>
                  </a:lnTo>
                  <a:lnTo>
                    <a:pt x="1755" y="567"/>
                  </a:lnTo>
                  <a:lnTo>
                    <a:pt x="1755" y="571"/>
                  </a:lnTo>
                  <a:lnTo>
                    <a:pt x="1755" y="572"/>
                  </a:lnTo>
                  <a:lnTo>
                    <a:pt x="1753" y="574"/>
                  </a:lnTo>
                  <a:lnTo>
                    <a:pt x="1753" y="582"/>
                  </a:lnTo>
                  <a:lnTo>
                    <a:pt x="1753" y="586"/>
                  </a:lnTo>
                  <a:lnTo>
                    <a:pt x="1751" y="590"/>
                  </a:lnTo>
                  <a:lnTo>
                    <a:pt x="1751" y="601"/>
                  </a:lnTo>
                  <a:lnTo>
                    <a:pt x="1745" y="601"/>
                  </a:lnTo>
                  <a:lnTo>
                    <a:pt x="1745" y="603"/>
                  </a:lnTo>
                  <a:lnTo>
                    <a:pt x="1745" y="620"/>
                  </a:lnTo>
                  <a:lnTo>
                    <a:pt x="1741" y="638"/>
                  </a:lnTo>
                  <a:lnTo>
                    <a:pt x="1735" y="659"/>
                  </a:lnTo>
                  <a:lnTo>
                    <a:pt x="1733" y="667"/>
                  </a:lnTo>
                  <a:lnTo>
                    <a:pt x="1735" y="667"/>
                  </a:lnTo>
                  <a:lnTo>
                    <a:pt x="1737" y="667"/>
                  </a:lnTo>
                  <a:lnTo>
                    <a:pt x="1739" y="665"/>
                  </a:lnTo>
                  <a:lnTo>
                    <a:pt x="1739" y="667"/>
                  </a:lnTo>
                  <a:lnTo>
                    <a:pt x="1747" y="667"/>
                  </a:lnTo>
                  <a:lnTo>
                    <a:pt x="1753" y="667"/>
                  </a:lnTo>
                  <a:lnTo>
                    <a:pt x="1751" y="668"/>
                  </a:lnTo>
                  <a:lnTo>
                    <a:pt x="1753" y="668"/>
                  </a:lnTo>
                  <a:lnTo>
                    <a:pt x="1749" y="672"/>
                  </a:lnTo>
                  <a:lnTo>
                    <a:pt x="1749" y="674"/>
                  </a:lnTo>
                  <a:lnTo>
                    <a:pt x="1747" y="674"/>
                  </a:lnTo>
                  <a:lnTo>
                    <a:pt x="1745" y="678"/>
                  </a:lnTo>
                  <a:lnTo>
                    <a:pt x="1743" y="678"/>
                  </a:lnTo>
                  <a:lnTo>
                    <a:pt x="1741" y="682"/>
                  </a:lnTo>
                  <a:lnTo>
                    <a:pt x="1743" y="682"/>
                  </a:lnTo>
                  <a:lnTo>
                    <a:pt x="1741" y="684"/>
                  </a:lnTo>
                  <a:lnTo>
                    <a:pt x="1741" y="686"/>
                  </a:lnTo>
                  <a:lnTo>
                    <a:pt x="1741" y="690"/>
                  </a:lnTo>
                  <a:lnTo>
                    <a:pt x="1743" y="692"/>
                  </a:lnTo>
                  <a:lnTo>
                    <a:pt x="1743" y="693"/>
                  </a:lnTo>
                  <a:lnTo>
                    <a:pt x="1743" y="695"/>
                  </a:lnTo>
                  <a:lnTo>
                    <a:pt x="1743" y="699"/>
                  </a:lnTo>
                  <a:lnTo>
                    <a:pt x="1745" y="699"/>
                  </a:lnTo>
                  <a:lnTo>
                    <a:pt x="1745" y="701"/>
                  </a:lnTo>
                  <a:lnTo>
                    <a:pt x="1745" y="705"/>
                  </a:lnTo>
                  <a:lnTo>
                    <a:pt x="1747" y="715"/>
                  </a:lnTo>
                  <a:lnTo>
                    <a:pt x="1749" y="722"/>
                  </a:lnTo>
                  <a:lnTo>
                    <a:pt x="1747" y="724"/>
                  </a:lnTo>
                  <a:lnTo>
                    <a:pt x="1739" y="730"/>
                  </a:lnTo>
                  <a:lnTo>
                    <a:pt x="1739" y="732"/>
                  </a:lnTo>
                  <a:lnTo>
                    <a:pt x="1735" y="734"/>
                  </a:lnTo>
                  <a:lnTo>
                    <a:pt x="1733" y="736"/>
                  </a:lnTo>
                  <a:lnTo>
                    <a:pt x="1730" y="738"/>
                  </a:lnTo>
                  <a:lnTo>
                    <a:pt x="1728" y="740"/>
                  </a:lnTo>
                  <a:lnTo>
                    <a:pt x="1726" y="743"/>
                  </a:lnTo>
                  <a:lnTo>
                    <a:pt x="1722" y="745"/>
                  </a:lnTo>
                  <a:lnTo>
                    <a:pt x="1720" y="747"/>
                  </a:lnTo>
                  <a:lnTo>
                    <a:pt x="1718" y="749"/>
                  </a:lnTo>
                  <a:lnTo>
                    <a:pt x="1716" y="751"/>
                  </a:lnTo>
                  <a:lnTo>
                    <a:pt x="1716" y="753"/>
                  </a:lnTo>
                  <a:lnTo>
                    <a:pt x="1718" y="757"/>
                  </a:lnTo>
                  <a:lnTo>
                    <a:pt x="1720" y="757"/>
                  </a:lnTo>
                  <a:lnTo>
                    <a:pt x="1718" y="757"/>
                  </a:lnTo>
                  <a:lnTo>
                    <a:pt x="1716" y="757"/>
                  </a:lnTo>
                  <a:lnTo>
                    <a:pt x="1714" y="757"/>
                  </a:lnTo>
                  <a:lnTo>
                    <a:pt x="1710" y="757"/>
                  </a:lnTo>
                  <a:lnTo>
                    <a:pt x="1708" y="757"/>
                  </a:lnTo>
                  <a:lnTo>
                    <a:pt x="1707" y="759"/>
                  </a:lnTo>
                  <a:lnTo>
                    <a:pt x="1705" y="759"/>
                  </a:lnTo>
                  <a:lnTo>
                    <a:pt x="1707" y="759"/>
                  </a:lnTo>
                  <a:lnTo>
                    <a:pt x="1705" y="759"/>
                  </a:lnTo>
                  <a:lnTo>
                    <a:pt x="1701" y="759"/>
                  </a:lnTo>
                  <a:lnTo>
                    <a:pt x="1699" y="759"/>
                  </a:lnTo>
                  <a:lnTo>
                    <a:pt x="1697" y="759"/>
                  </a:lnTo>
                  <a:lnTo>
                    <a:pt x="1697" y="761"/>
                  </a:lnTo>
                  <a:lnTo>
                    <a:pt x="1697" y="763"/>
                  </a:lnTo>
                  <a:lnTo>
                    <a:pt x="1697" y="765"/>
                  </a:lnTo>
                  <a:lnTo>
                    <a:pt x="1695" y="766"/>
                  </a:lnTo>
                  <a:lnTo>
                    <a:pt x="1693" y="766"/>
                  </a:lnTo>
                  <a:lnTo>
                    <a:pt x="1691" y="768"/>
                  </a:lnTo>
                  <a:lnTo>
                    <a:pt x="1689" y="772"/>
                  </a:lnTo>
                  <a:lnTo>
                    <a:pt x="1689" y="774"/>
                  </a:lnTo>
                  <a:lnTo>
                    <a:pt x="1687" y="776"/>
                  </a:lnTo>
                  <a:lnTo>
                    <a:pt x="1687" y="782"/>
                  </a:lnTo>
                  <a:lnTo>
                    <a:pt x="1687" y="784"/>
                  </a:lnTo>
                  <a:lnTo>
                    <a:pt x="1683" y="788"/>
                  </a:lnTo>
                  <a:lnTo>
                    <a:pt x="1682" y="790"/>
                  </a:lnTo>
                  <a:lnTo>
                    <a:pt x="1682" y="791"/>
                  </a:lnTo>
                  <a:lnTo>
                    <a:pt x="1682" y="793"/>
                  </a:lnTo>
                  <a:lnTo>
                    <a:pt x="1680" y="797"/>
                  </a:lnTo>
                  <a:lnTo>
                    <a:pt x="1680" y="799"/>
                  </a:lnTo>
                  <a:lnTo>
                    <a:pt x="1678" y="799"/>
                  </a:lnTo>
                  <a:lnTo>
                    <a:pt x="1674" y="807"/>
                  </a:lnTo>
                  <a:lnTo>
                    <a:pt x="1666" y="814"/>
                  </a:lnTo>
                  <a:lnTo>
                    <a:pt x="1659" y="822"/>
                  </a:lnTo>
                  <a:lnTo>
                    <a:pt x="1655" y="834"/>
                  </a:lnTo>
                  <a:lnTo>
                    <a:pt x="1653" y="838"/>
                  </a:lnTo>
                  <a:lnTo>
                    <a:pt x="1645" y="847"/>
                  </a:lnTo>
                  <a:lnTo>
                    <a:pt x="1639" y="853"/>
                  </a:lnTo>
                  <a:lnTo>
                    <a:pt x="1630" y="862"/>
                  </a:lnTo>
                  <a:lnTo>
                    <a:pt x="1626" y="866"/>
                  </a:lnTo>
                  <a:lnTo>
                    <a:pt x="1618" y="874"/>
                  </a:lnTo>
                  <a:lnTo>
                    <a:pt x="1614" y="876"/>
                  </a:lnTo>
                  <a:lnTo>
                    <a:pt x="1612" y="878"/>
                  </a:lnTo>
                  <a:lnTo>
                    <a:pt x="1607" y="880"/>
                  </a:lnTo>
                  <a:lnTo>
                    <a:pt x="1607" y="884"/>
                  </a:lnTo>
                  <a:lnTo>
                    <a:pt x="1609" y="886"/>
                  </a:lnTo>
                  <a:lnTo>
                    <a:pt x="1611" y="895"/>
                  </a:lnTo>
                  <a:lnTo>
                    <a:pt x="1614" y="903"/>
                  </a:lnTo>
                  <a:lnTo>
                    <a:pt x="1616" y="909"/>
                  </a:lnTo>
                  <a:lnTo>
                    <a:pt x="1614" y="911"/>
                  </a:lnTo>
                  <a:lnTo>
                    <a:pt x="1612" y="909"/>
                  </a:lnTo>
                  <a:lnTo>
                    <a:pt x="1611" y="909"/>
                  </a:lnTo>
                  <a:lnTo>
                    <a:pt x="1605" y="909"/>
                  </a:lnTo>
                  <a:lnTo>
                    <a:pt x="1603" y="909"/>
                  </a:lnTo>
                  <a:lnTo>
                    <a:pt x="1601" y="911"/>
                  </a:lnTo>
                  <a:lnTo>
                    <a:pt x="1599" y="916"/>
                  </a:lnTo>
                  <a:lnTo>
                    <a:pt x="1599" y="918"/>
                  </a:lnTo>
                  <a:lnTo>
                    <a:pt x="1599" y="922"/>
                  </a:lnTo>
                  <a:lnTo>
                    <a:pt x="1601" y="922"/>
                  </a:lnTo>
                  <a:lnTo>
                    <a:pt x="1601" y="939"/>
                  </a:lnTo>
                  <a:lnTo>
                    <a:pt x="1601" y="941"/>
                  </a:lnTo>
                  <a:lnTo>
                    <a:pt x="1601" y="953"/>
                  </a:lnTo>
                  <a:lnTo>
                    <a:pt x="1601" y="964"/>
                  </a:lnTo>
                  <a:lnTo>
                    <a:pt x="1605" y="972"/>
                  </a:lnTo>
                  <a:lnTo>
                    <a:pt x="1607" y="972"/>
                  </a:lnTo>
                  <a:lnTo>
                    <a:pt x="1609" y="980"/>
                  </a:lnTo>
                  <a:lnTo>
                    <a:pt x="1614" y="982"/>
                  </a:lnTo>
                  <a:lnTo>
                    <a:pt x="1616" y="982"/>
                  </a:lnTo>
                  <a:lnTo>
                    <a:pt x="1618" y="982"/>
                  </a:lnTo>
                  <a:lnTo>
                    <a:pt x="1618" y="984"/>
                  </a:lnTo>
                  <a:lnTo>
                    <a:pt x="1618" y="982"/>
                  </a:lnTo>
                  <a:lnTo>
                    <a:pt x="1618" y="984"/>
                  </a:lnTo>
                  <a:lnTo>
                    <a:pt x="1618" y="982"/>
                  </a:lnTo>
                  <a:lnTo>
                    <a:pt x="1620" y="982"/>
                  </a:lnTo>
                  <a:lnTo>
                    <a:pt x="1618" y="982"/>
                  </a:lnTo>
                  <a:lnTo>
                    <a:pt x="1620" y="982"/>
                  </a:lnTo>
                  <a:lnTo>
                    <a:pt x="1618" y="982"/>
                  </a:lnTo>
                  <a:lnTo>
                    <a:pt x="1620" y="982"/>
                  </a:lnTo>
                  <a:lnTo>
                    <a:pt x="1622" y="982"/>
                  </a:lnTo>
                  <a:lnTo>
                    <a:pt x="1620" y="982"/>
                  </a:lnTo>
                  <a:lnTo>
                    <a:pt x="1622" y="982"/>
                  </a:lnTo>
                  <a:lnTo>
                    <a:pt x="1622" y="984"/>
                  </a:lnTo>
                  <a:lnTo>
                    <a:pt x="1622" y="982"/>
                  </a:lnTo>
                  <a:lnTo>
                    <a:pt x="1622" y="984"/>
                  </a:lnTo>
                  <a:lnTo>
                    <a:pt x="1624" y="984"/>
                  </a:lnTo>
                  <a:lnTo>
                    <a:pt x="1624" y="982"/>
                  </a:lnTo>
                  <a:lnTo>
                    <a:pt x="1626" y="982"/>
                  </a:lnTo>
                  <a:lnTo>
                    <a:pt x="1628" y="982"/>
                  </a:lnTo>
                  <a:lnTo>
                    <a:pt x="1630" y="982"/>
                  </a:lnTo>
                  <a:lnTo>
                    <a:pt x="1630" y="980"/>
                  </a:lnTo>
                  <a:lnTo>
                    <a:pt x="1632" y="980"/>
                  </a:lnTo>
                  <a:lnTo>
                    <a:pt x="1634" y="980"/>
                  </a:lnTo>
                  <a:lnTo>
                    <a:pt x="1634" y="978"/>
                  </a:lnTo>
                  <a:lnTo>
                    <a:pt x="1636" y="978"/>
                  </a:lnTo>
                  <a:lnTo>
                    <a:pt x="1636" y="976"/>
                  </a:lnTo>
                  <a:lnTo>
                    <a:pt x="1637" y="976"/>
                  </a:lnTo>
                  <a:lnTo>
                    <a:pt x="1637" y="974"/>
                  </a:lnTo>
                  <a:lnTo>
                    <a:pt x="1639" y="974"/>
                  </a:lnTo>
                  <a:lnTo>
                    <a:pt x="1639" y="972"/>
                  </a:lnTo>
                  <a:lnTo>
                    <a:pt x="1641" y="972"/>
                  </a:lnTo>
                  <a:lnTo>
                    <a:pt x="1645" y="968"/>
                  </a:lnTo>
                  <a:lnTo>
                    <a:pt x="1647" y="968"/>
                  </a:lnTo>
                  <a:lnTo>
                    <a:pt x="1649" y="966"/>
                  </a:lnTo>
                  <a:lnTo>
                    <a:pt x="1651" y="966"/>
                  </a:lnTo>
                  <a:lnTo>
                    <a:pt x="1657" y="964"/>
                  </a:lnTo>
                  <a:lnTo>
                    <a:pt x="1660" y="962"/>
                  </a:lnTo>
                  <a:lnTo>
                    <a:pt x="1670" y="959"/>
                  </a:lnTo>
                  <a:lnTo>
                    <a:pt x="1680" y="955"/>
                  </a:lnTo>
                  <a:lnTo>
                    <a:pt x="1683" y="953"/>
                  </a:lnTo>
                  <a:lnTo>
                    <a:pt x="1697" y="964"/>
                  </a:lnTo>
                  <a:lnTo>
                    <a:pt x="1691" y="966"/>
                  </a:lnTo>
                  <a:lnTo>
                    <a:pt x="1685" y="970"/>
                  </a:lnTo>
                  <a:lnTo>
                    <a:pt x="1659" y="982"/>
                  </a:lnTo>
                  <a:lnTo>
                    <a:pt x="1664" y="985"/>
                  </a:lnTo>
                  <a:lnTo>
                    <a:pt x="1672" y="991"/>
                  </a:lnTo>
                  <a:lnTo>
                    <a:pt x="1682" y="997"/>
                  </a:lnTo>
                  <a:lnTo>
                    <a:pt x="1689" y="1003"/>
                  </a:lnTo>
                  <a:lnTo>
                    <a:pt x="1687" y="1005"/>
                  </a:lnTo>
                  <a:lnTo>
                    <a:pt x="1685" y="1007"/>
                  </a:lnTo>
                  <a:lnTo>
                    <a:pt x="1682" y="1008"/>
                  </a:lnTo>
                  <a:lnTo>
                    <a:pt x="1680" y="1010"/>
                  </a:lnTo>
                  <a:lnTo>
                    <a:pt x="1678" y="1010"/>
                  </a:lnTo>
                  <a:lnTo>
                    <a:pt x="1678" y="1016"/>
                  </a:lnTo>
                  <a:lnTo>
                    <a:pt x="1676" y="1016"/>
                  </a:lnTo>
                  <a:lnTo>
                    <a:pt x="1676" y="1014"/>
                  </a:lnTo>
                  <a:lnTo>
                    <a:pt x="1676" y="1016"/>
                  </a:lnTo>
                  <a:lnTo>
                    <a:pt x="1674" y="1016"/>
                  </a:lnTo>
                  <a:lnTo>
                    <a:pt x="1672" y="1016"/>
                  </a:lnTo>
                  <a:lnTo>
                    <a:pt x="1674" y="1016"/>
                  </a:lnTo>
                  <a:lnTo>
                    <a:pt x="1672" y="1016"/>
                  </a:lnTo>
                  <a:lnTo>
                    <a:pt x="1670" y="1016"/>
                  </a:lnTo>
                  <a:lnTo>
                    <a:pt x="1672" y="1016"/>
                  </a:lnTo>
                  <a:lnTo>
                    <a:pt x="1670" y="1016"/>
                  </a:lnTo>
                  <a:lnTo>
                    <a:pt x="1668" y="1016"/>
                  </a:lnTo>
                  <a:lnTo>
                    <a:pt x="1666" y="1016"/>
                  </a:lnTo>
                  <a:lnTo>
                    <a:pt x="1664" y="1016"/>
                  </a:lnTo>
                  <a:lnTo>
                    <a:pt x="1662" y="1016"/>
                  </a:lnTo>
                  <a:lnTo>
                    <a:pt x="1662" y="1018"/>
                  </a:lnTo>
                  <a:lnTo>
                    <a:pt x="1660" y="1018"/>
                  </a:lnTo>
                  <a:lnTo>
                    <a:pt x="1659" y="1018"/>
                  </a:lnTo>
                  <a:lnTo>
                    <a:pt x="1657" y="1018"/>
                  </a:lnTo>
                  <a:lnTo>
                    <a:pt x="1655" y="1018"/>
                  </a:lnTo>
                  <a:lnTo>
                    <a:pt x="1655" y="1020"/>
                  </a:lnTo>
                  <a:lnTo>
                    <a:pt x="1653" y="1020"/>
                  </a:lnTo>
                  <a:lnTo>
                    <a:pt x="1651" y="1020"/>
                  </a:lnTo>
                  <a:lnTo>
                    <a:pt x="1649" y="1020"/>
                  </a:lnTo>
                  <a:lnTo>
                    <a:pt x="1647" y="1020"/>
                  </a:lnTo>
                  <a:lnTo>
                    <a:pt x="1645" y="1020"/>
                  </a:lnTo>
                  <a:lnTo>
                    <a:pt x="1643" y="1020"/>
                  </a:lnTo>
                  <a:lnTo>
                    <a:pt x="1643" y="1022"/>
                  </a:lnTo>
                  <a:lnTo>
                    <a:pt x="1641" y="1022"/>
                  </a:lnTo>
                  <a:lnTo>
                    <a:pt x="1641" y="1024"/>
                  </a:lnTo>
                  <a:lnTo>
                    <a:pt x="1641" y="1026"/>
                  </a:lnTo>
                  <a:lnTo>
                    <a:pt x="1639" y="1026"/>
                  </a:lnTo>
                  <a:lnTo>
                    <a:pt x="1637" y="1026"/>
                  </a:lnTo>
                  <a:lnTo>
                    <a:pt x="1637" y="1028"/>
                  </a:lnTo>
                  <a:lnTo>
                    <a:pt x="1637" y="1026"/>
                  </a:lnTo>
                  <a:lnTo>
                    <a:pt x="1637" y="1028"/>
                  </a:lnTo>
                  <a:lnTo>
                    <a:pt x="1636" y="1028"/>
                  </a:lnTo>
                  <a:lnTo>
                    <a:pt x="1634" y="1028"/>
                  </a:lnTo>
                  <a:lnTo>
                    <a:pt x="1632" y="1028"/>
                  </a:lnTo>
                  <a:lnTo>
                    <a:pt x="1632" y="1030"/>
                  </a:lnTo>
                  <a:lnTo>
                    <a:pt x="1630" y="1030"/>
                  </a:lnTo>
                  <a:lnTo>
                    <a:pt x="1628" y="1030"/>
                  </a:lnTo>
                  <a:lnTo>
                    <a:pt x="1626" y="1030"/>
                  </a:lnTo>
                  <a:lnTo>
                    <a:pt x="1624" y="1030"/>
                  </a:lnTo>
                  <a:lnTo>
                    <a:pt x="1626" y="1032"/>
                  </a:lnTo>
                  <a:lnTo>
                    <a:pt x="1624" y="1032"/>
                  </a:lnTo>
                  <a:lnTo>
                    <a:pt x="1624" y="1030"/>
                  </a:lnTo>
                  <a:lnTo>
                    <a:pt x="1624" y="1032"/>
                  </a:lnTo>
                  <a:lnTo>
                    <a:pt x="1624" y="1030"/>
                  </a:lnTo>
                  <a:lnTo>
                    <a:pt x="1624" y="1032"/>
                  </a:lnTo>
                  <a:lnTo>
                    <a:pt x="1624" y="1030"/>
                  </a:lnTo>
                  <a:lnTo>
                    <a:pt x="1622" y="1030"/>
                  </a:lnTo>
                  <a:lnTo>
                    <a:pt x="1622" y="1032"/>
                  </a:lnTo>
                  <a:lnTo>
                    <a:pt x="1622" y="1030"/>
                  </a:lnTo>
                  <a:lnTo>
                    <a:pt x="1622" y="1032"/>
                  </a:lnTo>
                  <a:lnTo>
                    <a:pt x="1620" y="1032"/>
                  </a:lnTo>
                  <a:lnTo>
                    <a:pt x="1618" y="1033"/>
                  </a:lnTo>
                  <a:lnTo>
                    <a:pt x="1614" y="1032"/>
                  </a:lnTo>
                  <a:lnTo>
                    <a:pt x="1614" y="1033"/>
                  </a:lnTo>
                  <a:lnTo>
                    <a:pt x="1614" y="1035"/>
                  </a:lnTo>
                  <a:lnTo>
                    <a:pt x="1612" y="1035"/>
                  </a:lnTo>
                  <a:lnTo>
                    <a:pt x="1612" y="1037"/>
                  </a:lnTo>
                  <a:lnTo>
                    <a:pt x="1612" y="1039"/>
                  </a:lnTo>
                  <a:lnTo>
                    <a:pt x="1611" y="1039"/>
                  </a:lnTo>
                  <a:lnTo>
                    <a:pt x="1611" y="1041"/>
                  </a:lnTo>
                  <a:lnTo>
                    <a:pt x="1611" y="1043"/>
                  </a:lnTo>
                  <a:lnTo>
                    <a:pt x="1609" y="1043"/>
                  </a:lnTo>
                  <a:lnTo>
                    <a:pt x="1607" y="1045"/>
                  </a:lnTo>
                  <a:lnTo>
                    <a:pt x="1609" y="1045"/>
                  </a:lnTo>
                  <a:lnTo>
                    <a:pt x="1609" y="1047"/>
                  </a:lnTo>
                  <a:lnTo>
                    <a:pt x="1607" y="1047"/>
                  </a:lnTo>
                  <a:lnTo>
                    <a:pt x="1605" y="1045"/>
                  </a:lnTo>
                  <a:lnTo>
                    <a:pt x="1603" y="1045"/>
                  </a:lnTo>
                  <a:lnTo>
                    <a:pt x="1603" y="1047"/>
                  </a:lnTo>
                  <a:lnTo>
                    <a:pt x="1603" y="1049"/>
                  </a:lnTo>
                  <a:lnTo>
                    <a:pt x="1599" y="1051"/>
                  </a:lnTo>
                  <a:lnTo>
                    <a:pt x="1599" y="1053"/>
                  </a:lnTo>
                  <a:lnTo>
                    <a:pt x="1597" y="1055"/>
                  </a:lnTo>
                  <a:lnTo>
                    <a:pt x="1595" y="1055"/>
                  </a:lnTo>
                  <a:lnTo>
                    <a:pt x="1593" y="1055"/>
                  </a:lnTo>
                  <a:lnTo>
                    <a:pt x="1591" y="1055"/>
                  </a:lnTo>
                  <a:lnTo>
                    <a:pt x="1588" y="1056"/>
                  </a:lnTo>
                  <a:lnTo>
                    <a:pt x="1586" y="1056"/>
                  </a:lnTo>
                  <a:lnTo>
                    <a:pt x="1584" y="1060"/>
                  </a:lnTo>
                  <a:lnTo>
                    <a:pt x="1582" y="1060"/>
                  </a:lnTo>
                  <a:lnTo>
                    <a:pt x="1582" y="1062"/>
                  </a:lnTo>
                  <a:lnTo>
                    <a:pt x="1580" y="1064"/>
                  </a:lnTo>
                  <a:lnTo>
                    <a:pt x="1582" y="1064"/>
                  </a:lnTo>
                  <a:lnTo>
                    <a:pt x="1582" y="1066"/>
                  </a:lnTo>
                  <a:lnTo>
                    <a:pt x="1580" y="1068"/>
                  </a:lnTo>
                  <a:lnTo>
                    <a:pt x="1578" y="1070"/>
                  </a:lnTo>
                  <a:lnTo>
                    <a:pt x="1570" y="1078"/>
                  </a:lnTo>
                  <a:lnTo>
                    <a:pt x="1568" y="1078"/>
                  </a:lnTo>
                  <a:lnTo>
                    <a:pt x="1564" y="1081"/>
                  </a:lnTo>
                  <a:lnTo>
                    <a:pt x="1563" y="1083"/>
                  </a:lnTo>
                  <a:lnTo>
                    <a:pt x="1561" y="1083"/>
                  </a:lnTo>
                  <a:lnTo>
                    <a:pt x="1561" y="1085"/>
                  </a:lnTo>
                  <a:lnTo>
                    <a:pt x="1559" y="1085"/>
                  </a:lnTo>
                  <a:lnTo>
                    <a:pt x="1557" y="1085"/>
                  </a:lnTo>
                  <a:lnTo>
                    <a:pt x="1555" y="1085"/>
                  </a:lnTo>
                  <a:lnTo>
                    <a:pt x="1553" y="1085"/>
                  </a:lnTo>
                  <a:lnTo>
                    <a:pt x="1551" y="1087"/>
                  </a:lnTo>
                  <a:lnTo>
                    <a:pt x="1549" y="1087"/>
                  </a:lnTo>
                  <a:lnTo>
                    <a:pt x="1547" y="1085"/>
                  </a:lnTo>
                  <a:lnTo>
                    <a:pt x="1545" y="1085"/>
                  </a:lnTo>
                  <a:lnTo>
                    <a:pt x="1543" y="1087"/>
                  </a:lnTo>
                  <a:lnTo>
                    <a:pt x="1543" y="1089"/>
                  </a:lnTo>
                  <a:lnTo>
                    <a:pt x="1541" y="1089"/>
                  </a:lnTo>
                  <a:lnTo>
                    <a:pt x="1540" y="1089"/>
                  </a:lnTo>
                  <a:lnTo>
                    <a:pt x="1538" y="1091"/>
                  </a:lnTo>
                  <a:lnTo>
                    <a:pt x="1536" y="1093"/>
                  </a:lnTo>
                  <a:lnTo>
                    <a:pt x="1536" y="1095"/>
                  </a:lnTo>
                  <a:lnTo>
                    <a:pt x="1534" y="1095"/>
                  </a:lnTo>
                  <a:lnTo>
                    <a:pt x="1530" y="1097"/>
                  </a:lnTo>
                  <a:lnTo>
                    <a:pt x="1530" y="1099"/>
                  </a:lnTo>
                  <a:lnTo>
                    <a:pt x="1528" y="1099"/>
                  </a:lnTo>
                  <a:lnTo>
                    <a:pt x="1524" y="1101"/>
                  </a:lnTo>
                  <a:lnTo>
                    <a:pt x="1522" y="1105"/>
                  </a:lnTo>
                  <a:lnTo>
                    <a:pt x="1522" y="1106"/>
                  </a:lnTo>
                  <a:lnTo>
                    <a:pt x="1520" y="1110"/>
                  </a:lnTo>
                  <a:lnTo>
                    <a:pt x="1518" y="1112"/>
                  </a:lnTo>
                  <a:lnTo>
                    <a:pt x="1517" y="1112"/>
                  </a:lnTo>
                  <a:lnTo>
                    <a:pt x="1515" y="1112"/>
                  </a:lnTo>
                  <a:lnTo>
                    <a:pt x="1513" y="1114"/>
                  </a:lnTo>
                  <a:lnTo>
                    <a:pt x="1511" y="1114"/>
                  </a:lnTo>
                  <a:lnTo>
                    <a:pt x="1511" y="1116"/>
                  </a:lnTo>
                  <a:lnTo>
                    <a:pt x="1513" y="1118"/>
                  </a:lnTo>
                  <a:lnTo>
                    <a:pt x="1511" y="1120"/>
                  </a:lnTo>
                  <a:lnTo>
                    <a:pt x="1511" y="1122"/>
                  </a:lnTo>
                  <a:lnTo>
                    <a:pt x="1509" y="1122"/>
                  </a:lnTo>
                  <a:lnTo>
                    <a:pt x="1509" y="1124"/>
                  </a:lnTo>
                  <a:lnTo>
                    <a:pt x="1507" y="1126"/>
                  </a:lnTo>
                  <a:lnTo>
                    <a:pt x="1507" y="1128"/>
                  </a:lnTo>
                  <a:lnTo>
                    <a:pt x="1505" y="1128"/>
                  </a:lnTo>
                  <a:lnTo>
                    <a:pt x="1503" y="1129"/>
                  </a:lnTo>
                  <a:lnTo>
                    <a:pt x="1503" y="1128"/>
                  </a:lnTo>
                  <a:lnTo>
                    <a:pt x="1503" y="1129"/>
                  </a:lnTo>
                  <a:lnTo>
                    <a:pt x="1501" y="1129"/>
                  </a:lnTo>
                  <a:lnTo>
                    <a:pt x="1503" y="1131"/>
                  </a:lnTo>
                  <a:lnTo>
                    <a:pt x="1503" y="1133"/>
                  </a:lnTo>
                  <a:lnTo>
                    <a:pt x="1501" y="1135"/>
                  </a:lnTo>
                  <a:lnTo>
                    <a:pt x="1499" y="1137"/>
                  </a:lnTo>
                  <a:lnTo>
                    <a:pt x="1501" y="1137"/>
                  </a:lnTo>
                  <a:lnTo>
                    <a:pt x="1501" y="1139"/>
                  </a:lnTo>
                  <a:lnTo>
                    <a:pt x="1501" y="1141"/>
                  </a:lnTo>
                  <a:lnTo>
                    <a:pt x="1499" y="1143"/>
                  </a:lnTo>
                  <a:lnTo>
                    <a:pt x="1499" y="1145"/>
                  </a:lnTo>
                  <a:lnTo>
                    <a:pt x="1499" y="1147"/>
                  </a:lnTo>
                  <a:lnTo>
                    <a:pt x="1499" y="1149"/>
                  </a:lnTo>
                  <a:lnTo>
                    <a:pt x="1499" y="1151"/>
                  </a:lnTo>
                  <a:lnTo>
                    <a:pt x="1499" y="1153"/>
                  </a:lnTo>
                  <a:lnTo>
                    <a:pt x="1497" y="1153"/>
                  </a:lnTo>
                  <a:lnTo>
                    <a:pt x="1495" y="1154"/>
                  </a:lnTo>
                  <a:lnTo>
                    <a:pt x="1495" y="1153"/>
                  </a:lnTo>
                  <a:lnTo>
                    <a:pt x="1495" y="1154"/>
                  </a:lnTo>
                  <a:lnTo>
                    <a:pt x="1493" y="1154"/>
                  </a:lnTo>
                  <a:lnTo>
                    <a:pt x="1493" y="1156"/>
                  </a:lnTo>
                  <a:lnTo>
                    <a:pt x="1492" y="1156"/>
                  </a:lnTo>
                  <a:lnTo>
                    <a:pt x="1490" y="1156"/>
                  </a:lnTo>
                  <a:lnTo>
                    <a:pt x="1490" y="1158"/>
                  </a:lnTo>
                  <a:lnTo>
                    <a:pt x="1492" y="1160"/>
                  </a:lnTo>
                  <a:lnTo>
                    <a:pt x="1490" y="1162"/>
                  </a:lnTo>
                  <a:lnTo>
                    <a:pt x="1490" y="1164"/>
                  </a:lnTo>
                  <a:lnTo>
                    <a:pt x="1490" y="1166"/>
                  </a:lnTo>
                  <a:lnTo>
                    <a:pt x="1488" y="1166"/>
                  </a:lnTo>
                  <a:lnTo>
                    <a:pt x="1486" y="1164"/>
                  </a:lnTo>
                  <a:lnTo>
                    <a:pt x="1484" y="1162"/>
                  </a:lnTo>
                  <a:lnTo>
                    <a:pt x="1482" y="1162"/>
                  </a:lnTo>
                  <a:lnTo>
                    <a:pt x="1480" y="1162"/>
                  </a:lnTo>
                  <a:lnTo>
                    <a:pt x="1478" y="1162"/>
                  </a:lnTo>
                  <a:lnTo>
                    <a:pt x="1476" y="1162"/>
                  </a:lnTo>
                  <a:lnTo>
                    <a:pt x="1476" y="1164"/>
                  </a:lnTo>
                  <a:lnTo>
                    <a:pt x="1474" y="1164"/>
                  </a:lnTo>
                  <a:lnTo>
                    <a:pt x="1472" y="1164"/>
                  </a:lnTo>
                  <a:lnTo>
                    <a:pt x="1472" y="1162"/>
                  </a:lnTo>
                  <a:lnTo>
                    <a:pt x="1470" y="1160"/>
                  </a:lnTo>
                  <a:lnTo>
                    <a:pt x="1469" y="1156"/>
                  </a:lnTo>
                  <a:lnTo>
                    <a:pt x="1467" y="1151"/>
                  </a:lnTo>
                  <a:lnTo>
                    <a:pt x="1465" y="1147"/>
                  </a:lnTo>
                  <a:lnTo>
                    <a:pt x="1463" y="1147"/>
                  </a:lnTo>
                  <a:lnTo>
                    <a:pt x="1463" y="1145"/>
                  </a:lnTo>
                  <a:lnTo>
                    <a:pt x="1461" y="1139"/>
                  </a:lnTo>
                  <a:lnTo>
                    <a:pt x="1459" y="1128"/>
                  </a:lnTo>
                  <a:lnTo>
                    <a:pt x="1457" y="1126"/>
                  </a:lnTo>
                  <a:lnTo>
                    <a:pt x="1457" y="1124"/>
                  </a:lnTo>
                  <a:lnTo>
                    <a:pt x="1453" y="1118"/>
                  </a:lnTo>
                  <a:lnTo>
                    <a:pt x="1449" y="1120"/>
                  </a:lnTo>
                  <a:lnTo>
                    <a:pt x="1447" y="1124"/>
                  </a:lnTo>
                  <a:lnTo>
                    <a:pt x="1445" y="1126"/>
                  </a:lnTo>
                  <a:lnTo>
                    <a:pt x="1444" y="1128"/>
                  </a:lnTo>
                  <a:lnTo>
                    <a:pt x="1436" y="1131"/>
                  </a:lnTo>
                  <a:lnTo>
                    <a:pt x="1432" y="1137"/>
                  </a:lnTo>
                  <a:lnTo>
                    <a:pt x="1430" y="1137"/>
                  </a:lnTo>
                  <a:lnTo>
                    <a:pt x="1428" y="1137"/>
                  </a:lnTo>
                  <a:lnTo>
                    <a:pt x="1424" y="1137"/>
                  </a:lnTo>
                  <a:lnTo>
                    <a:pt x="1421" y="1137"/>
                  </a:lnTo>
                  <a:lnTo>
                    <a:pt x="1419" y="1139"/>
                  </a:lnTo>
                  <a:lnTo>
                    <a:pt x="1417" y="1139"/>
                  </a:lnTo>
                  <a:lnTo>
                    <a:pt x="1417" y="1137"/>
                  </a:lnTo>
                  <a:lnTo>
                    <a:pt x="1413" y="1137"/>
                  </a:lnTo>
                  <a:lnTo>
                    <a:pt x="1411" y="1137"/>
                  </a:lnTo>
                  <a:lnTo>
                    <a:pt x="1411" y="1139"/>
                  </a:lnTo>
                  <a:lnTo>
                    <a:pt x="1409" y="1139"/>
                  </a:lnTo>
                  <a:lnTo>
                    <a:pt x="1411" y="1145"/>
                  </a:lnTo>
                  <a:lnTo>
                    <a:pt x="1413" y="1149"/>
                  </a:lnTo>
                  <a:lnTo>
                    <a:pt x="1415" y="1153"/>
                  </a:lnTo>
                  <a:lnTo>
                    <a:pt x="1417" y="1156"/>
                  </a:lnTo>
                  <a:lnTo>
                    <a:pt x="1419" y="1156"/>
                  </a:lnTo>
                  <a:lnTo>
                    <a:pt x="1419" y="1158"/>
                  </a:lnTo>
                  <a:lnTo>
                    <a:pt x="1419" y="1166"/>
                  </a:lnTo>
                  <a:lnTo>
                    <a:pt x="1417" y="1166"/>
                  </a:lnTo>
                  <a:lnTo>
                    <a:pt x="1415" y="1170"/>
                  </a:lnTo>
                  <a:lnTo>
                    <a:pt x="1415" y="1172"/>
                  </a:lnTo>
                  <a:lnTo>
                    <a:pt x="1417" y="1174"/>
                  </a:lnTo>
                  <a:lnTo>
                    <a:pt x="1417" y="1176"/>
                  </a:lnTo>
                  <a:lnTo>
                    <a:pt x="1417" y="1178"/>
                  </a:lnTo>
                  <a:lnTo>
                    <a:pt x="1419" y="1181"/>
                  </a:lnTo>
                  <a:lnTo>
                    <a:pt x="1419" y="1183"/>
                  </a:lnTo>
                  <a:lnTo>
                    <a:pt x="1419" y="1185"/>
                  </a:lnTo>
                  <a:lnTo>
                    <a:pt x="1421" y="1189"/>
                  </a:lnTo>
                  <a:lnTo>
                    <a:pt x="1422" y="1193"/>
                  </a:lnTo>
                  <a:lnTo>
                    <a:pt x="1424" y="1191"/>
                  </a:lnTo>
                  <a:lnTo>
                    <a:pt x="1426" y="1193"/>
                  </a:lnTo>
                  <a:lnTo>
                    <a:pt x="1428" y="1193"/>
                  </a:lnTo>
                  <a:lnTo>
                    <a:pt x="1430" y="1195"/>
                  </a:lnTo>
                  <a:lnTo>
                    <a:pt x="1432" y="1197"/>
                  </a:lnTo>
                  <a:lnTo>
                    <a:pt x="1432" y="1204"/>
                  </a:lnTo>
                  <a:lnTo>
                    <a:pt x="1434" y="1206"/>
                  </a:lnTo>
                  <a:lnTo>
                    <a:pt x="1436" y="1206"/>
                  </a:lnTo>
                  <a:lnTo>
                    <a:pt x="1438" y="1208"/>
                  </a:lnTo>
                  <a:lnTo>
                    <a:pt x="1440" y="1208"/>
                  </a:lnTo>
                  <a:lnTo>
                    <a:pt x="1440" y="1210"/>
                  </a:lnTo>
                  <a:lnTo>
                    <a:pt x="1440" y="1212"/>
                  </a:lnTo>
                  <a:lnTo>
                    <a:pt x="1440" y="1214"/>
                  </a:lnTo>
                  <a:lnTo>
                    <a:pt x="1440" y="1216"/>
                  </a:lnTo>
                  <a:lnTo>
                    <a:pt x="1440" y="1218"/>
                  </a:lnTo>
                  <a:lnTo>
                    <a:pt x="1438" y="1220"/>
                  </a:lnTo>
                  <a:lnTo>
                    <a:pt x="1438" y="1222"/>
                  </a:lnTo>
                  <a:lnTo>
                    <a:pt x="1438" y="1226"/>
                  </a:lnTo>
                  <a:lnTo>
                    <a:pt x="1438" y="1227"/>
                  </a:lnTo>
                  <a:lnTo>
                    <a:pt x="1438" y="1229"/>
                  </a:lnTo>
                  <a:lnTo>
                    <a:pt x="1434" y="1233"/>
                  </a:lnTo>
                  <a:lnTo>
                    <a:pt x="1432" y="1235"/>
                  </a:lnTo>
                  <a:lnTo>
                    <a:pt x="1430" y="1237"/>
                  </a:lnTo>
                  <a:lnTo>
                    <a:pt x="1428" y="1237"/>
                  </a:lnTo>
                  <a:lnTo>
                    <a:pt x="1428" y="1239"/>
                  </a:lnTo>
                  <a:lnTo>
                    <a:pt x="1428" y="1241"/>
                  </a:lnTo>
                  <a:lnTo>
                    <a:pt x="1430" y="1243"/>
                  </a:lnTo>
                  <a:lnTo>
                    <a:pt x="1430" y="1245"/>
                  </a:lnTo>
                  <a:lnTo>
                    <a:pt x="1430" y="1247"/>
                  </a:lnTo>
                  <a:lnTo>
                    <a:pt x="1434" y="1247"/>
                  </a:lnTo>
                  <a:lnTo>
                    <a:pt x="1436" y="1247"/>
                  </a:lnTo>
                  <a:lnTo>
                    <a:pt x="1438" y="1247"/>
                  </a:lnTo>
                  <a:lnTo>
                    <a:pt x="1440" y="1247"/>
                  </a:lnTo>
                  <a:lnTo>
                    <a:pt x="1444" y="1245"/>
                  </a:lnTo>
                  <a:lnTo>
                    <a:pt x="1445" y="1245"/>
                  </a:lnTo>
                  <a:lnTo>
                    <a:pt x="1447" y="1243"/>
                  </a:lnTo>
                  <a:lnTo>
                    <a:pt x="1449" y="1243"/>
                  </a:lnTo>
                  <a:lnTo>
                    <a:pt x="1451" y="1243"/>
                  </a:lnTo>
                  <a:lnTo>
                    <a:pt x="1453" y="1241"/>
                  </a:lnTo>
                  <a:lnTo>
                    <a:pt x="1459" y="1237"/>
                  </a:lnTo>
                  <a:lnTo>
                    <a:pt x="1461" y="1235"/>
                  </a:lnTo>
                  <a:lnTo>
                    <a:pt x="1465" y="1233"/>
                  </a:lnTo>
                  <a:lnTo>
                    <a:pt x="1469" y="1233"/>
                  </a:lnTo>
                  <a:lnTo>
                    <a:pt x="1476" y="1231"/>
                  </a:lnTo>
                  <a:lnTo>
                    <a:pt x="1478" y="1231"/>
                  </a:lnTo>
                  <a:lnTo>
                    <a:pt x="1480" y="1231"/>
                  </a:lnTo>
                  <a:lnTo>
                    <a:pt x="1484" y="1231"/>
                  </a:lnTo>
                  <a:lnTo>
                    <a:pt x="1484" y="1235"/>
                  </a:lnTo>
                  <a:lnTo>
                    <a:pt x="1488" y="1239"/>
                  </a:lnTo>
                  <a:lnTo>
                    <a:pt x="1492" y="1241"/>
                  </a:lnTo>
                  <a:lnTo>
                    <a:pt x="1492" y="1243"/>
                  </a:lnTo>
                  <a:lnTo>
                    <a:pt x="1493" y="1243"/>
                  </a:lnTo>
                  <a:lnTo>
                    <a:pt x="1493" y="1245"/>
                  </a:lnTo>
                  <a:lnTo>
                    <a:pt x="1497" y="1243"/>
                  </a:lnTo>
                  <a:lnTo>
                    <a:pt x="1499" y="1243"/>
                  </a:lnTo>
                  <a:lnTo>
                    <a:pt x="1505" y="1239"/>
                  </a:lnTo>
                  <a:lnTo>
                    <a:pt x="1507" y="1239"/>
                  </a:lnTo>
                  <a:lnTo>
                    <a:pt x="1507" y="1241"/>
                  </a:lnTo>
                  <a:lnTo>
                    <a:pt x="1509" y="1241"/>
                  </a:lnTo>
                  <a:lnTo>
                    <a:pt x="1522" y="1241"/>
                  </a:lnTo>
                  <a:lnTo>
                    <a:pt x="1530" y="1241"/>
                  </a:lnTo>
                  <a:lnTo>
                    <a:pt x="1538" y="1241"/>
                  </a:lnTo>
                  <a:lnTo>
                    <a:pt x="1541" y="1241"/>
                  </a:lnTo>
                  <a:lnTo>
                    <a:pt x="1545" y="1241"/>
                  </a:lnTo>
                  <a:lnTo>
                    <a:pt x="1545" y="1243"/>
                  </a:lnTo>
                  <a:lnTo>
                    <a:pt x="1545" y="1245"/>
                  </a:lnTo>
                  <a:lnTo>
                    <a:pt x="1541" y="1254"/>
                  </a:lnTo>
                  <a:lnTo>
                    <a:pt x="1540" y="1258"/>
                  </a:lnTo>
                  <a:lnTo>
                    <a:pt x="1538" y="1260"/>
                  </a:lnTo>
                  <a:lnTo>
                    <a:pt x="1538" y="1262"/>
                  </a:lnTo>
                  <a:lnTo>
                    <a:pt x="1536" y="1266"/>
                  </a:lnTo>
                  <a:lnTo>
                    <a:pt x="1534" y="1268"/>
                  </a:lnTo>
                  <a:lnTo>
                    <a:pt x="1534" y="1270"/>
                  </a:lnTo>
                  <a:lnTo>
                    <a:pt x="1532" y="1272"/>
                  </a:lnTo>
                  <a:lnTo>
                    <a:pt x="1530" y="1274"/>
                  </a:lnTo>
                  <a:lnTo>
                    <a:pt x="1528" y="1274"/>
                  </a:lnTo>
                  <a:lnTo>
                    <a:pt x="1526" y="1274"/>
                  </a:lnTo>
                  <a:lnTo>
                    <a:pt x="1526" y="1275"/>
                  </a:lnTo>
                  <a:lnTo>
                    <a:pt x="1524" y="1277"/>
                  </a:lnTo>
                  <a:lnTo>
                    <a:pt x="1526" y="1279"/>
                  </a:lnTo>
                  <a:lnTo>
                    <a:pt x="1530" y="1279"/>
                  </a:lnTo>
                  <a:lnTo>
                    <a:pt x="1530" y="1281"/>
                  </a:lnTo>
                  <a:lnTo>
                    <a:pt x="1532" y="1281"/>
                  </a:lnTo>
                  <a:lnTo>
                    <a:pt x="1534" y="1283"/>
                  </a:lnTo>
                  <a:lnTo>
                    <a:pt x="1532" y="1291"/>
                  </a:lnTo>
                  <a:lnTo>
                    <a:pt x="1534" y="1295"/>
                  </a:lnTo>
                  <a:lnTo>
                    <a:pt x="1534" y="1308"/>
                  </a:lnTo>
                  <a:lnTo>
                    <a:pt x="1538" y="1310"/>
                  </a:lnTo>
                  <a:lnTo>
                    <a:pt x="1551" y="1316"/>
                  </a:lnTo>
                  <a:lnTo>
                    <a:pt x="1553" y="1316"/>
                  </a:lnTo>
                  <a:lnTo>
                    <a:pt x="1555" y="1316"/>
                  </a:lnTo>
                  <a:lnTo>
                    <a:pt x="1557" y="1318"/>
                  </a:lnTo>
                  <a:lnTo>
                    <a:pt x="1559" y="1320"/>
                  </a:lnTo>
                  <a:lnTo>
                    <a:pt x="1561" y="1318"/>
                  </a:lnTo>
                  <a:lnTo>
                    <a:pt x="1563" y="1318"/>
                  </a:lnTo>
                  <a:lnTo>
                    <a:pt x="1564" y="1318"/>
                  </a:lnTo>
                  <a:lnTo>
                    <a:pt x="1566" y="1322"/>
                  </a:lnTo>
                  <a:lnTo>
                    <a:pt x="1566" y="1323"/>
                  </a:lnTo>
                  <a:lnTo>
                    <a:pt x="1564" y="1327"/>
                  </a:lnTo>
                  <a:lnTo>
                    <a:pt x="1566" y="1329"/>
                  </a:lnTo>
                  <a:lnTo>
                    <a:pt x="1570" y="1329"/>
                  </a:lnTo>
                  <a:lnTo>
                    <a:pt x="1572" y="1329"/>
                  </a:lnTo>
                  <a:lnTo>
                    <a:pt x="1574" y="1329"/>
                  </a:lnTo>
                  <a:lnTo>
                    <a:pt x="1576" y="1331"/>
                  </a:lnTo>
                  <a:lnTo>
                    <a:pt x="1578" y="1331"/>
                  </a:lnTo>
                  <a:lnTo>
                    <a:pt x="1580" y="1327"/>
                  </a:lnTo>
                  <a:lnTo>
                    <a:pt x="1584" y="1327"/>
                  </a:lnTo>
                  <a:lnTo>
                    <a:pt x="1586" y="1329"/>
                  </a:lnTo>
                  <a:lnTo>
                    <a:pt x="1589" y="1331"/>
                  </a:lnTo>
                  <a:lnTo>
                    <a:pt x="1591" y="1331"/>
                  </a:lnTo>
                  <a:lnTo>
                    <a:pt x="1593" y="1333"/>
                  </a:lnTo>
                  <a:lnTo>
                    <a:pt x="1595" y="1335"/>
                  </a:lnTo>
                  <a:lnTo>
                    <a:pt x="1597" y="1333"/>
                  </a:lnTo>
                  <a:lnTo>
                    <a:pt x="1599" y="1331"/>
                  </a:lnTo>
                  <a:lnTo>
                    <a:pt x="1601" y="1331"/>
                  </a:lnTo>
                  <a:lnTo>
                    <a:pt x="1601" y="1333"/>
                  </a:lnTo>
                  <a:lnTo>
                    <a:pt x="1599" y="1335"/>
                  </a:lnTo>
                  <a:lnTo>
                    <a:pt x="1599" y="1337"/>
                  </a:lnTo>
                  <a:lnTo>
                    <a:pt x="1597" y="1337"/>
                  </a:lnTo>
                  <a:lnTo>
                    <a:pt x="1595" y="1339"/>
                  </a:lnTo>
                  <a:lnTo>
                    <a:pt x="1593" y="1341"/>
                  </a:lnTo>
                  <a:lnTo>
                    <a:pt x="1593" y="1343"/>
                  </a:lnTo>
                  <a:lnTo>
                    <a:pt x="1591" y="1345"/>
                  </a:lnTo>
                  <a:lnTo>
                    <a:pt x="1589" y="1347"/>
                  </a:lnTo>
                  <a:lnTo>
                    <a:pt x="1588" y="1347"/>
                  </a:lnTo>
                  <a:lnTo>
                    <a:pt x="1588" y="1348"/>
                  </a:lnTo>
                  <a:lnTo>
                    <a:pt x="1588" y="1350"/>
                  </a:lnTo>
                  <a:lnTo>
                    <a:pt x="1586" y="1352"/>
                  </a:lnTo>
                  <a:lnTo>
                    <a:pt x="1586" y="1354"/>
                  </a:lnTo>
                  <a:lnTo>
                    <a:pt x="1588" y="1354"/>
                  </a:lnTo>
                  <a:lnTo>
                    <a:pt x="1586" y="1354"/>
                  </a:lnTo>
                  <a:lnTo>
                    <a:pt x="1586" y="1356"/>
                  </a:lnTo>
                  <a:lnTo>
                    <a:pt x="1584" y="1360"/>
                  </a:lnTo>
                  <a:lnTo>
                    <a:pt x="1584" y="1362"/>
                  </a:lnTo>
                  <a:lnTo>
                    <a:pt x="1584" y="1364"/>
                  </a:lnTo>
                  <a:lnTo>
                    <a:pt x="1584" y="1366"/>
                  </a:lnTo>
                  <a:lnTo>
                    <a:pt x="1582" y="1366"/>
                  </a:lnTo>
                  <a:lnTo>
                    <a:pt x="1582" y="1368"/>
                  </a:lnTo>
                  <a:lnTo>
                    <a:pt x="1582" y="1370"/>
                  </a:lnTo>
                  <a:lnTo>
                    <a:pt x="1582" y="1372"/>
                  </a:lnTo>
                  <a:lnTo>
                    <a:pt x="1582" y="1373"/>
                  </a:lnTo>
                  <a:lnTo>
                    <a:pt x="1582" y="1375"/>
                  </a:lnTo>
                  <a:lnTo>
                    <a:pt x="1582" y="1377"/>
                  </a:lnTo>
                  <a:lnTo>
                    <a:pt x="1584" y="1377"/>
                  </a:lnTo>
                  <a:lnTo>
                    <a:pt x="1584" y="1379"/>
                  </a:lnTo>
                  <a:lnTo>
                    <a:pt x="1584" y="1381"/>
                  </a:lnTo>
                  <a:lnTo>
                    <a:pt x="1584" y="1383"/>
                  </a:lnTo>
                  <a:lnTo>
                    <a:pt x="1584" y="1385"/>
                  </a:lnTo>
                  <a:lnTo>
                    <a:pt x="1586" y="1385"/>
                  </a:lnTo>
                  <a:lnTo>
                    <a:pt x="1588" y="1385"/>
                  </a:lnTo>
                  <a:lnTo>
                    <a:pt x="1588" y="1387"/>
                  </a:lnTo>
                  <a:lnTo>
                    <a:pt x="1589" y="1387"/>
                  </a:lnTo>
                  <a:lnTo>
                    <a:pt x="1589" y="1389"/>
                  </a:lnTo>
                  <a:lnTo>
                    <a:pt x="1591" y="1389"/>
                  </a:lnTo>
                  <a:lnTo>
                    <a:pt x="1591" y="1391"/>
                  </a:lnTo>
                  <a:lnTo>
                    <a:pt x="1589" y="1393"/>
                  </a:lnTo>
                  <a:lnTo>
                    <a:pt x="1589" y="1395"/>
                  </a:lnTo>
                  <a:lnTo>
                    <a:pt x="1589" y="1396"/>
                  </a:lnTo>
                  <a:lnTo>
                    <a:pt x="1591" y="1398"/>
                  </a:lnTo>
                  <a:lnTo>
                    <a:pt x="1591" y="1400"/>
                  </a:lnTo>
                  <a:lnTo>
                    <a:pt x="1589" y="1400"/>
                  </a:lnTo>
                  <a:lnTo>
                    <a:pt x="1589" y="1402"/>
                  </a:lnTo>
                  <a:lnTo>
                    <a:pt x="1589" y="1404"/>
                  </a:lnTo>
                  <a:lnTo>
                    <a:pt x="1588" y="1406"/>
                  </a:lnTo>
                  <a:lnTo>
                    <a:pt x="1586" y="1410"/>
                  </a:lnTo>
                  <a:lnTo>
                    <a:pt x="1584" y="1410"/>
                  </a:lnTo>
                  <a:lnTo>
                    <a:pt x="1584" y="1412"/>
                  </a:lnTo>
                  <a:lnTo>
                    <a:pt x="1582" y="1414"/>
                  </a:lnTo>
                  <a:lnTo>
                    <a:pt x="1580" y="1416"/>
                  </a:lnTo>
                  <a:lnTo>
                    <a:pt x="1580" y="1418"/>
                  </a:lnTo>
                  <a:lnTo>
                    <a:pt x="1580" y="1420"/>
                  </a:lnTo>
                  <a:lnTo>
                    <a:pt x="1580" y="1421"/>
                  </a:lnTo>
                  <a:lnTo>
                    <a:pt x="1580" y="1423"/>
                  </a:lnTo>
                  <a:lnTo>
                    <a:pt x="1578" y="1425"/>
                  </a:lnTo>
                  <a:lnTo>
                    <a:pt x="1578" y="1427"/>
                  </a:lnTo>
                  <a:lnTo>
                    <a:pt x="1578" y="1429"/>
                  </a:lnTo>
                  <a:lnTo>
                    <a:pt x="1578" y="1435"/>
                  </a:lnTo>
                  <a:lnTo>
                    <a:pt x="1576" y="1435"/>
                  </a:lnTo>
                  <a:lnTo>
                    <a:pt x="1576" y="1433"/>
                  </a:lnTo>
                  <a:lnTo>
                    <a:pt x="1574" y="1433"/>
                  </a:lnTo>
                  <a:lnTo>
                    <a:pt x="1572" y="1433"/>
                  </a:lnTo>
                  <a:lnTo>
                    <a:pt x="1572" y="1431"/>
                  </a:lnTo>
                  <a:lnTo>
                    <a:pt x="1570" y="1431"/>
                  </a:lnTo>
                  <a:lnTo>
                    <a:pt x="1568" y="1429"/>
                  </a:lnTo>
                  <a:lnTo>
                    <a:pt x="1566" y="1429"/>
                  </a:lnTo>
                  <a:lnTo>
                    <a:pt x="1564" y="1429"/>
                  </a:lnTo>
                  <a:lnTo>
                    <a:pt x="1564" y="1427"/>
                  </a:lnTo>
                  <a:lnTo>
                    <a:pt x="1563" y="1427"/>
                  </a:lnTo>
                  <a:lnTo>
                    <a:pt x="1563" y="1425"/>
                  </a:lnTo>
                  <a:lnTo>
                    <a:pt x="1563" y="1423"/>
                  </a:lnTo>
                  <a:lnTo>
                    <a:pt x="1563" y="1421"/>
                  </a:lnTo>
                  <a:lnTo>
                    <a:pt x="1563" y="1420"/>
                  </a:lnTo>
                  <a:lnTo>
                    <a:pt x="1561" y="1420"/>
                  </a:lnTo>
                  <a:lnTo>
                    <a:pt x="1559" y="1420"/>
                  </a:lnTo>
                  <a:lnTo>
                    <a:pt x="1559" y="1421"/>
                  </a:lnTo>
                  <a:lnTo>
                    <a:pt x="1557" y="1421"/>
                  </a:lnTo>
                  <a:lnTo>
                    <a:pt x="1557" y="1423"/>
                  </a:lnTo>
                  <a:lnTo>
                    <a:pt x="1555" y="1423"/>
                  </a:lnTo>
                  <a:lnTo>
                    <a:pt x="1553" y="1423"/>
                  </a:lnTo>
                  <a:lnTo>
                    <a:pt x="1553" y="1425"/>
                  </a:lnTo>
                  <a:lnTo>
                    <a:pt x="1551" y="1425"/>
                  </a:lnTo>
                  <a:lnTo>
                    <a:pt x="1549" y="1425"/>
                  </a:lnTo>
                  <a:lnTo>
                    <a:pt x="1549" y="1427"/>
                  </a:lnTo>
                  <a:lnTo>
                    <a:pt x="1547" y="1427"/>
                  </a:lnTo>
                  <a:lnTo>
                    <a:pt x="1545" y="1427"/>
                  </a:lnTo>
                  <a:lnTo>
                    <a:pt x="1543" y="1427"/>
                  </a:lnTo>
                  <a:lnTo>
                    <a:pt x="1541" y="1427"/>
                  </a:lnTo>
                  <a:lnTo>
                    <a:pt x="1540" y="1427"/>
                  </a:lnTo>
                  <a:lnTo>
                    <a:pt x="1540" y="1429"/>
                  </a:lnTo>
                  <a:lnTo>
                    <a:pt x="1538" y="1429"/>
                  </a:lnTo>
                  <a:lnTo>
                    <a:pt x="1536" y="1431"/>
                  </a:lnTo>
                  <a:lnTo>
                    <a:pt x="1534" y="1431"/>
                  </a:lnTo>
                  <a:lnTo>
                    <a:pt x="1532" y="1431"/>
                  </a:lnTo>
                  <a:lnTo>
                    <a:pt x="1532" y="1433"/>
                  </a:lnTo>
                  <a:lnTo>
                    <a:pt x="1530" y="1433"/>
                  </a:lnTo>
                  <a:lnTo>
                    <a:pt x="1528" y="1433"/>
                  </a:lnTo>
                  <a:lnTo>
                    <a:pt x="1526" y="1437"/>
                  </a:lnTo>
                  <a:lnTo>
                    <a:pt x="1526" y="1439"/>
                  </a:lnTo>
                  <a:lnTo>
                    <a:pt x="1524" y="1443"/>
                  </a:lnTo>
                  <a:lnTo>
                    <a:pt x="1526" y="1445"/>
                  </a:lnTo>
                  <a:lnTo>
                    <a:pt x="1526" y="1448"/>
                  </a:lnTo>
                  <a:lnTo>
                    <a:pt x="1524" y="1450"/>
                  </a:lnTo>
                  <a:lnTo>
                    <a:pt x="1526" y="1454"/>
                  </a:lnTo>
                  <a:lnTo>
                    <a:pt x="1526" y="1456"/>
                  </a:lnTo>
                  <a:lnTo>
                    <a:pt x="1528" y="1456"/>
                  </a:lnTo>
                  <a:lnTo>
                    <a:pt x="1532" y="1458"/>
                  </a:lnTo>
                  <a:lnTo>
                    <a:pt x="1532" y="1460"/>
                  </a:lnTo>
                  <a:lnTo>
                    <a:pt x="1530" y="1460"/>
                  </a:lnTo>
                  <a:lnTo>
                    <a:pt x="1532" y="1462"/>
                  </a:lnTo>
                  <a:lnTo>
                    <a:pt x="1532" y="1468"/>
                  </a:lnTo>
                  <a:lnTo>
                    <a:pt x="1532" y="1469"/>
                  </a:lnTo>
                  <a:lnTo>
                    <a:pt x="1532" y="1471"/>
                  </a:lnTo>
                  <a:lnTo>
                    <a:pt x="1530" y="1471"/>
                  </a:lnTo>
                  <a:lnTo>
                    <a:pt x="1530" y="1473"/>
                  </a:lnTo>
                  <a:lnTo>
                    <a:pt x="1528" y="1473"/>
                  </a:lnTo>
                  <a:lnTo>
                    <a:pt x="1530" y="1475"/>
                  </a:lnTo>
                  <a:lnTo>
                    <a:pt x="1530" y="1477"/>
                  </a:lnTo>
                  <a:lnTo>
                    <a:pt x="1532" y="1477"/>
                  </a:lnTo>
                  <a:lnTo>
                    <a:pt x="1530" y="1479"/>
                  </a:lnTo>
                  <a:lnTo>
                    <a:pt x="1528" y="1481"/>
                  </a:lnTo>
                  <a:lnTo>
                    <a:pt x="1524" y="1483"/>
                  </a:lnTo>
                  <a:lnTo>
                    <a:pt x="1522" y="1483"/>
                  </a:lnTo>
                  <a:lnTo>
                    <a:pt x="1522" y="1485"/>
                  </a:lnTo>
                  <a:lnTo>
                    <a:pt x="1520" y="1487"/>
                  </a:lnTo>
                  <a:lnTo>
                    <a:pt x="1518" y="1489"/>
                  </a:lnTo>
                  <a:lnTo>
                    <a:pt x="1518" y="1491"/>
                  </a:lnTo>
                  <a:lnTo>
                    <a:pt x="1517" y="1491"/>
                  </a:lnTo>
                  <a:lnTo>
                    <a:pt x="1515" y="1493"/>
                  </a:lnTo>
                  <a:lnTo>
                    <a:pt x="1513" y="1494"/>
                  </a:lnTo>
                  <a:lnTo>
                    <a:pt x="1511" y="1494"/>
                  </a:lnTo>
                  <a:lnTo>
                    <a:pt x="1509" y="1493"/>
                  </a:lnTo>
                  <a:lnTo>
                    <a:pt x="1507" y="1491"/>
                  </a:lnTo>
                  <a:lnTo>
                    <a:pt x="1505" y="1489"/>
                  </a:lnTo>
                  <a:lnTo>
                    <a:pt x="1503" y="1487"/>
                  </a:lnTo>
                  <a:lnTo>
                    <a:pt x="1501" y="1485"/>
                  </a:lnTo>
                  <a:lnTo>
                    <a:pt x="1499" y="1483"/>
                  </a:lnTo>
                  <a:lnTo>
                    <a:pt x="1497" y="1481"/>
                  </a:lnTo>
                  <a:lnTo>
                    <a:pt x="1495" y="1481"/>
                  </a:lnTo>
                  <a:lnTo>
                    <a:pt x="1493" y="1481"/>
                  </a:lnTo>
                  <a:lnTo>
                    <a:pt x="1492" y="1483"/>
                  </a:lnTo>
                  <a:lnTo>
                    <a:pt x="1492" y="1485"/>
                  </a:lnTo>
                  <a:lnTo>
                    <a:pt x="1492" y="1487"/>
                  </a:lnTo>
                  <a:lnTo>
                    <a:pt x="1490" y="1489"/>
                  </a:lnTo>
                  <a:lnTo>
                    <a:pt x="1488" y="1489"/>
                  </a:lnTo>
                  <a:lnTo>
                    <a:pt x="1488" y="1491"/>
                  </a:lnTo>
                  <a:lnTo>
                    <a:pt x="1486" y="1493"/>
                  </a:lnTo>
                  <a:lnTo>
                    <a:pt x="1486" y="1496"/>
                  </a:lnTo>
                  <a:lnTo>
                    <a:pt x="1486" y="1498"/>
                  </a:lnTo>
                  <a:lnTo>
                    <a:pt x="1488" y="1500"/>
                  </a:lnTo>
                  <a:lnTo>
                    <a:pt x="1490" y="1500"/>
                  </a:lnTo>
                  <a:lnTo>
                    <a:pt x="1490" y="1502"/>
                  </a:lnTo>
                  <a:lnTo>
                    <a:pt x="1492" y="1502"/>
                  </a:lnTo>
                  <a:lnTo>
                    <a:pt x="1493" y="1502"/>
                  </a:lnTo>
                  <a:lnTo>
                    <a:pt x="1493" y="1504"/>
                  </a:lnTo>
                  <a:lnTo>
                    <a:pt x="1495" y="1504"/>
                  </a:lnTo>
                  <a:lnTo>
                    <a:pt x="1497" y="1504"/>
                  </a:lnTo>
                  <a:lnTo>
                    <a:pt x="1501" y="1508"/>
                  </a:lnTo>
                  <a:lnTo>
                    <a:pt x="1503" y="1510"/>
                  </a:lnTo>
                  <a:lnTo>
                    <a:pt x="1503" y="1512"/>
                  </a:lnTo>
                  <a:lnTo>
                    <a:pt x="1503" y="1514"/>
                  </a:lnTo>
                  <a:lnTo>
                    <a:pt x="1505" y="1514"/>
                  </a:lnTo>
                  <a:lnTo>
                    <a:pt x="1505" y="1516"/>
                  </a:lnTo>
                  <a:lnTo>
                    <a:pt x="1505" y="1514"/>
                  </a:lnTo>
                  <a:lnTo>
                    <a:pt x="1505" y="1516"/>
                  </a:lnTo>
                  <a:lnTo>
                    <a:pt x="1507" y="1516"/>
                  </a:lnTo>
                  <a:lnTo>
                    <a:pt x="1507" y="1518"/>
                  </a:lnTo>
                  <a:lnTo>
                    <a:pt x="1509" y="1518"/>
                  </a:lnTo>
                  <a:lnTo>
                    <a:pt x="1509" y="1519"/>
                  </a:lnTo>
                  <a:lnTo>
                    <a:pt x="1511" y="1519"/>
                  </a:lnTo>
                  <a:lnTo>
                    <a:pt x="1513" y="1521"/>
                  </a:lnTo>
                  <a:lnTo>
                    <a:pt x="1513" y="1523"/>
                  </a:lnTo>
                  <a:lnTo>
                    <a:pt x="1515" y="1523"/>
                  </a:lnTo>
                  <a:lnTo>
                    <a:pt x="1515" y="1525"/>
                  </a:lnTo>
                  <a:lnTo>
                    <a:pt x="1515" y="1523"/>
                  </a:lnTo>
                  <a:lnTo>
                    <a:pt x="1517" y="1525"/>
                  </a:lnTo>
                  <a:lnTo>
                    <a:pt x="1515" y="1525"/>
                  </a:lnTo>
                  <a:lnTo>
                    <a:pt x="1517" y="1525"/>
                  </a:lnTo>
                  <a:lnTo>
                    <a:pt x="1518" y="1525"/>
                  </a:lnTo>
                  <a:lnTo>
                    <a:pt x="1518" y="1527"/>
                  </a:lnTo>
                  <a:lnTo>
                    <a:pt x="1520" y="1527"/>
                  </a:lnTo>
                  <a:lnTo>
                    <a:pt x="1522" y="1527"/>
                  </a:lnTo>
                  <a:lnTo>
                    <a:pt x="1522" y="1529"/>
                  </a:lnTo>
                  <a:lnTo>
                    <a:pt x="1524" y="1529"/>
                  </a:lnTo>
                  <a:lnTo>
                    <a:pt x="1524" y="1531"/>
                  </a:lnTo>
                  <a:lnTo>
                    <a:pt x="1526" y="1531"/>
                  </a:lnTo>
                  <a:lnTo>
                    <a:pt x="1528" y="1531"/>
                  </a:lnTo>
                  <a:lnTo>
                    <a:pt x="1528" y="1533"/>
                  </a:lnTo>
                  <a:lnTo>
                    <a:pt x="1530" y="1531"/>
                  </a:lnTo>
                  <a:lnTo>
                    <a:pt x="1530" y="1533"/>
                  </a:lnTo>
                  <a:lnTo>
                    <a:pt x="1530" y="1535"/>
                  </a:lnTo>
                  <a:lnTo>
                    <a:pt x="1530" y="1537"/>
                  </a:lnTo>
                  <a:lnTo>
                    <a:pt x="1528" y="1539"/>
                  </a:lnTo>
                  <a:lnTo>
                    <a:pt x="1526" y="1541"/>
                  </a:lnTo>
                  <a:lnTo>
                    <a:pt x="1526" y="1542"/>
                  </a:lnTo>
                  <a:lnTo>
                    <a:pt x="1524" y="1544"/>
                  </a:lnTo>
                  <a:lnTo>
                    <a:pt x="1522" y="1546"/>
                  </a:lnTo>
                  <a:lnTo>
                    <a:pt x="1520" y="1548"/>
                  </a:lnTo>
                  <a:lnTo>
                    <a:pt x="1522" y="1550"/>
                  </a:lnTo>
                  <a:lnTo>
                    <a:pt x="1522" y="1554"/>
                  </a:lnTo>
                  <a:lnTo>
                    <a:pt x="1522" y="1556"/>
                  </a:lnTo>
                  <a:lnTo>
                    <a:pt x="1522" y="1558"/>
                  </a:lnTo>
                  <a:lnTo>
                    <a:pt x="1522" y="1560"/>
                  </a:lnTo>
                  <a:lnTo>
                    <a:pt x="1522" y="1562"/>
                  </a:lnTo>
                  <a:lnTo>
                    <a:pt x="1520" y="1560"/>
                  </a:lnTo>
                  <a:lnTo>
                    <a:pt x="1518" y="1560"/>
                  </a:lnTo>
                  <a:lnTo>
                    <a:pt x="1517" y="1560"/>
                  </a:lnTo>
                  <a:lnTo>
                    <a:pt x="1515" y="1560"/>
                  </a:lnTo>
                  <a:lnTo>
                    <a:pt x="1513" y="1560"/>
                  </a:lnTo>
                  <a:lnTo>
                    <a:pt x="1511" y="1560"/>
                  </a:lnTo>
                  <a:lnTo>
                    <a:pt x="1511" y="1562"/>
                  </a:lnTo>
                  <a:lnTo>
                    <a:pt x="1509" y="1562"/>
                  </a:lnTo>
                  <a:lnTo>
                    <a:pt x="1507" y="1562"/>
                  </a:lnTo>
                  <a:lnTo>
                    <a:pt x="1507" y="1560"/>
                  </a:lnTo>
                  <a:lnTo>
                    <a:pt x="1505" y="1562"/>
                  </a:lnTo>
                  <a:lnTo>
                    <a:pt x="1503" y="1562"/>
                  </a:lnTo>
                  <a:lnTo>
                    <a:pt x="1501" y="1562"/>
                  </a:lnTo>
                  <a:lnTo>
                    <a:pt x="1499" y="1562"/>
                  </a:lnTo>
                  <a:lnTo>
                    <a:pt x="1497" y="1562"/>
                  </a:lnTo>
                  <a:lnTo>
                    <a:pt x="1495" y="1562"/>
                  </a:lnTo>
                  <a:lnTo>
                    <a:pt x="1490" y="1562"/>
                  </a:lnTo>
                  <a:lnTo>
                    <a:pt x="1488" y="1562"/>
                  </a:lnTo>
                  <a:lnTo>
                    <a:pt x="1486" y="1560"/>
                  </a:lnTo>
                  <a:lnTo>
                    <a:pt x="1486" y="1558"/>
                  </a:lnTo>
                  <a:lnTo>
                    <a:pt x="1486" y="1560"/>
                  </a:lnTo>
                  <a:lnTo>
                    <a:pt x="1484" y="1560"/>
                  </a:lnTo>
                  <a:lnTo>
                    <a:pt x="1484" y="1558"/>
                  </a:lnTo>
                  <a:lnTo>
                    <a:pt x="1484" y="1560"/>
                  </a:lnTo>
                  <a:lnTo>
                    <a:pt x="1482" y="1558"/>
                  </a:lnTo>
                  <a:lnTo>
                    <a:pt x="1482" y="1556"/>
                  </a:lnTo>
                  <a:lnTo>
                    <a:pt x="1482" y="1554"/>
                  </a:lnTo>
                  <a:lnTo>
                    <a:pt x="1480" y="1552"/>
                  </a:lnTo>
                  <a:lnTo>
                    <a:pt x="1478" y="1550"/>
                  </a:lnTo>
                  <a:lnTo>
                    <a:pt x="1476" y="1550"/>
                  </a:lnTo>
                  <a:lnTo>
                    <a:pt x="1472" y="1548"/>
                  </a:lnTo>
                  <a:lnTo>
                    <a:pt x="1470" y="1548"/>
                  </a:lnTo>
                  <a:lnTo>
                    <a:pt x="1470" y="1546"/>
                  </a:lnTo>
                  <a:lnTo>
                    <a:pt x="1469" y="1546"/>
                  </a:lnTo>
                  <a:lnTo>
                    <a:pt x="1469" y="1548"/>
                  </a:lnTo>
                  <a:lnTo>
                    <a:pt x="1465" y="1548"/>
                  </a:lnTo>
                  <a:lnTo>
                    <a:pt x="1465" y="1550"/>
                  </a:lnTo>
                  <a:lnTo>
                    <a:pt x="1463" y="1550"/>
                  </a:lnTo>
                  <a:lnTo>
                    <a:pt x="1463" y="1548"/>
                  </a:lnTo>
                  <a:lnTo>
                    <a:pt x="1461" y="1550"/>
                  </a:lnTo>
                  <a:lnTo>
                    <a:pt x="1459" y="1550"/>
                  </a:lnTo>
                  <a:lnTo>
                    <a:pt x="1457" y="1550"/>
                  </a:lnTo>
                  <a:lnTo>
                    <a:pt x="1457" y="1552"/>
                  </a:lnTo>
                  <a:lnTo>
                    <a:pt x="1455" y="1552"/>
                  </a:lnTo>
                  <a:lnTo>
                    <a:pt x="1453" y="1552"/>
                  </a:lnTo>
                  <a:lnTo>
                    <a:pt x="1451" y="1552"/>
                  </a:lnTo>
                  <a:lnTo>
                    <a:pt x="1447" y="1554"/>
                  </a:lnTo>
                  <a:lnTo>
                    <a:pt x="1445" y="1554"/>
                  </a:lnTo>
                  <a:lnTo>
                    <a:pt x="1444" y="1554"/>
                  </a:lnTo>
                  <a:lnTo>
                    <a:pt x="1442" y="1554"/>
                  </a:lnTo>
                  <a:lnTo>
                    <a:pt x="1442" y="1556"/>
                  </a:lnTo>
                  <a:lnTo>
                    <a:pt x="1440" y="1556"/>
                  </a:lnTo>
                  <a:lnTo>
                    <a:pt x="1434" y="1560"/>
                  </a:lnTo>
                  <a:lnTo>
                    <a:pt x="1430" y="1562"/>
                  </a:lnTo>
                  <a:lnTo>
                    <a:pt x="1428" y="1562"/>
                  </a:lnTo>
                  <a:lnTo>
                    <a:pt x="1428" y="1560"/>
                  </a:lnTo>
                  <a:lnTo>
                    <a:pt x="1428" y="1558"/>
                  </a:lnTo>
                  <a:lnTo>
                    <a:pt x="1430" y="1556"/>
                  </a:lnTo>
                  <a:lnTo>
                    <a:pt x="1428" y="1556"/>
                  </a:lnTo>
                  <a:lnTo>
                    <a:pt x="1428" y="1554"/>
                  </a:lnTo>
                  <a:lnTo>
                    <a:pt x="1426" y="1554"/>
                  </a:lnTo>
                  <a:lnTo>
                    <a:pt x="1424" y="1554"/>
                  </a:lnTo>
                  <a:lnTo>
                    <a:pt x="1424" y="1556"/>
                  </a:lnTo>
                  <a:lnTo>
                    <a:pt x="1422" y="1556"/>
                  </a:lnTo>
                  <a:lnTo>
                    <a:pt x="1422" y="1554"/>
                  </a:lnTo>
                  <a:lnTo>
                    <a:pt x="1421" y="1554"/>
                  </a:lnTo>
                  <a:lnTo>
                    <a:pt x="1419" y="1554"/>
                  </a:lnTo>
                  <a:lnTo>
                    <a:pt x="1419" y="1556"/>
                  </a:lnTo>
                  <a:lnTo>
                    <a:pt x="1417" y="1560"/>
                  </a:lnTo>
                  <a:lnTo>
                    <a:pt x="1415" y="1558"/>
                  </a:lnTo>
                  <a:lnTo>
                    <a:pt x="1413" y="1558"/>
                  </a:lnTo>
                  <a:lnTo>
                    <a:pt x="1413" y="1556"/>
                  </a:lnTo>
                  <a:lnTo>
                    <a:pt x="1411" y="1554"/>
                  </a:lnTo>
                  <a:lnTo>
                    <a:pt x="1409" y="1554"/>
                  </a:lnTo>
                  <a:lnTo>
                    <a:pt x="1407" y="1552"/>
                  </a:lnTo>
                  <a:lnTo>
                    <a:pt x="1407" y="1550"/>
                  </a:lnTo>
                  <a:lnTo>
                    <a:pt x="1407" y="1546"/>
                  </a:lnTo>
                  <a:lnTo>
                    <a:pt x="1407" y="1544"/>
                  </a:lnTo>
                  <a:lnTo>
                    <a:pt x="1407" y="1539"/>
                  </a:lnTo>
                  <a:lnTo>
                    <a:pt x="1407" y="1537"/>
                  </a:lnTo>
                  <a:lnTo>
                    <a:pt x="1405" y="1535"/>
                  </a:lnTo>
                  <a:lnTo>
                    <a:pt x="1405" y="1533"/>
                  </a:lnTo>
                  <a:lnTo>
                    <a:pt x="1398" y="1537"/>
                  </a:lnTo>
                  <a:lnTo>
                    <a:pt x="1396" y="1539"/>
                  </a:lnTo>
                  <a:lnTo>
                    <a:pt x="1394" y="1539"/>
                  </a:lnTo>
                  <a:lnTo>
                    <a:pt x="1392" y="1539"/>
                  </a:lnTo>
                  <a:lnTo>
                    <a:pt x="1390" y="1539"/>
                  </a:lnTo>
                  <a:lnTo>
                    <a:pt x="1388" y="1539"/>
                  </a:lnTo>
                  <a:lnTo>
                    <a:pt x="1386" y="1541"/>
                  </a:lnTo>
                  <a:lnTo>
                    <a:pt x="1384" y="1541"/>
                  </a:lnTo>
                  <a:lnTo>
                    <a:pt x="1382" y="1542"/>
                  </a:lnTo>
                  <a:lnTo>
                    <a:pt x="1380" y="1542"/>
                  </a:lnTo>
                  <a:lnTo>
                    <a:pt x="1380" y="1544"/>
                  </a:lnTo>
                  <a:lnTo>
                    <a:pt x="1378" y="1544"/>
                  </a:lnTo>
                  <a:lnTo>
                    <a:pt x="1376" y="1546"/>
                  </a:lnTo>
                  <a:lnTo>
                    <a:pt x="1374" y="1548"/>
                  </a:lnTo>
                  <a:lnTo>
                    <a:pt x="1371" y="1554"/>
                  </a:lnTo>
                  <a:lnTo>
                    <a:pt x="1371" y="1550"/>
                  </a:lnTo>
                  <a:lnTo>
                    <a:pt x="1371" y="1548"/>
                  </a:lnTo>
                  <a:lnTo>
                    <a:pt x="1369" y="1542"/>
                  </a:lnTo>
                  <a:lnTo>
                    <a:pt x="1369" y="1541"/>
                  </a:lnTo>
                  <a:lnTo>
                    <a:pt x="1369" y="1539"/>
                  </a:lnTo>
                  <a:lnTo>
                    <a:pt x="1369" y="1537"/>
                  </a:lnTo>
                  <a:lnTo>
                    <a:pt x="1367" y="1537"/>
                  </a:lnTo>
                  <a:lnTo>
                    <a:pt x="1363" y="1539"/>
                  </a:lnTo>
                  <a:lnTo>
                    <a:pt x="1361" y="1539"/>
                  </a:lnTo>
                  <a:lnTo>
                    <a:pt x="1361" y="1541"/>
                  </a:lnTo>
                  <a:lnTo>
                    <a:pt x="1359" y="1541"/>
                  </a:lnTo>
                  <a:lnTo>
                    <a:pt x="1357" y="1542"/>
                  </a:lnTo>
                  <a:lnTo>
                    <a:pt x="1357" y="1544"/>
                  </a:lnTo>
                  <a:lnTo>
                    <a:pt x="1355" y="1544"/>
                  </a:lnTo>
                  <a:lnTo>
                    <a:pt x="1355" y="1546"/>
                  </a:lnTo>
                  <a:lnTo>
                    <a:pt x="1353" y="1546"/>
                  </a:lnTo>
                  <a:lnTo>
                    <a:pt x="1351" y="1544"/>
                  </a:lnTo>
                  <a:lnTo>
                    <a:pt x="1350" y="1544"/>
                  </a:lnTo>
                  <a:lnTo>
                    <a:pt x="1348" y="1544"/>
                  </a:lnTo>
                  <a:lnTo>
                    <a:pt x="1346" y="1546"/>
                  </a:lnTo>
                  <a:lnTo>
                    <a:pt x="1342" y="1548"/>
                  </a:lnTo>
                  <a:lnTo>
                    <a:pt x="1340" y="1548"/>
                  </a:lnTo>
                  <a:lnTo>
                    <a:pt x="1338" y="1548"/>
                  </a:lnTo>
                  <a:lnTo>
                    <a:pt x="1336" y="1548"/>
                  </a:lnTo>
                  <a:lnTo>
                    <a:pt x="1334" y="1548"/>
                  </a:lnTo>
                  <a:lnTo>
                    <a:pt x="1328" y="1539"/>
                  </a:lnTo>
                  <a:lnTo>
                    <a:pt x="1323" y="1527"/>
                  </a:lnTo>
                  <a:lnTo>
                    <a:pt x="1321" y="1529"/>
                  </a:lnTo>
                  <a:lnTo>
                    <a:pt x="1319" y="1529"/>
                  </a:lnTo>
                  <a:lnTo>
                    <a:pt x="1319" y="1531"/>
                  </a:lnTo>
                  <a:lnTo>
                    <a:pt x="1317" y="1531"/>
                  </a:lnTo>
                  <a:lnTo>
                    <a:pt x="1315" y="1531"/>
                  </a:lnTo>
                  <a:lnTo>
                    <a:pt x="1313" y="1525"/>
                  </a:lnTo>
                  <a:lnTo>
                    <a:pt x="1311" y="1523"/>
                  </a:lnTo>
                  <a:lnTo>
                    <a:pt x="1311" y="1521"/>
                  </a:lnTo>
                  <a:lnTo>
                    <a:pt x="1311" y="1518"/>
                  </a:lnTo>
                  <a:lnTo>
                    <a:pt x="1309" y="1514"/>
                  </a:lnTo>
                  <a:lnTo>
                    <a:pt x="1309" y="1510"/>
                  </a:lnTo>
                  <a:lnTo>
                    <a:pt x="1307" y="1508"/>
                  </a:lnTo>
                  <a:lnTo>
                    <a:pt x="1305" y="1508"/>
                  </a:lnTo>
                  <a:lnTo>
                    <a:pt x="1303" y="1508"/>
                  </a:lnTo>
                  <a:lnTo>
                    <a:pt x="1300" y="1510"/>
                  </a:lnTo>
                  <a:lnTo>
                    <a:pt x="1294" y="1514"/>
                  </a:lnTo>
                  <a:lnTo>
                    <a:pt x="1294" y="1516"/>
                  </a:lnTo>
                  <a:lnTo>
                    <a:pt x="1292" y="1516"/>
                  </a:lnTo>
                  <a:lnTo>
                    <a:pt x="1290" y="1519"/>
                  </a:lnTo>
                  <a:lnTo>
                    <a:pt x="1288" y="1519"/>
                  </a:lnTo>
                  <a:lnTo>
                    <a:pt x="1286" y="1521"/>
                  </a:lnTo>
                  <a:lnTo>
                    <a:pt x="1284" y="1523"/>
                  </a:lnTo>
                  <a:lnTo>
                    <a:pt x="1282" y="1523"/>
                  </a:lnTo>
                  <a:lnTo>
                    <a:pt x="1282" y="1525"/>
                  </a:lnTo>
                  <a:lnTo>
                    <a:pt x="1280" y="1525"/>
                  </a:lnTo>
                  <a:lnTo>
                    <a:pt x="1280" y="1527"/>
                  </a:lnTo>
                  <a:lnTo>
                    <a:pt x="1279" y="1529"/>
                  </a:lnTo>
                  <a:lnTo>
                    <a:pt x="1277" y="1531"/>
                  </a:lnTo>
                  <a:lnTo>
                    <a:pt x="1277" y="1533"/>
                  </a:lnTo>
                  <a:lnTo>
                    <a:pt x="1277" y="1535"/>
                  </a:lnTo>
                  <a:lnTo>
                    <a:pt x="1275" y="1535"/>
                  </a:lnTo>
                  <a:lnTo>
                    <a:pt x="1277" y="1535"/>
                  </a:lnTo>
                  <a:lnTo>
                    <a:pt x="1277" y="1537"/>
                  </a:lnTo>
                  <a:lnTo>
                    <a:pt x="1275" y="1537"/>
                  </a:lnTo>
                  <a:lnTo>
                    <a:pt x="1277" y="1537"/>
                  </a:lnTo>
                  <a:lnTo>
                    <a:pt x="1275" y="1539"/>
                  </a:lnTo>
                  <a:lnTo>
                    <a:pt x="1275" y="1542"/>
                  </a:lnTo>
                  <a:lnTo>
                    <a:pt x="1273" y="1542"/>
                  </a:lnTo>
                  <a:lnTo>
                    <a:pt x="1271" y="1542"/>
                  </a:lnTo>
                  <a:lnTo>
                    <a:pt x="1269" y="1542"/>
                  </a:lnTo>
                  <a:lnTo>
                    <a:pt x="1267" y="1542"/>
                  </a:lnTo>
                  <a:lnTo>
                    <a:pt x="1265" y="1542"/>
                  </a:lnTo>
                  <a:lnTo>
                    <a:pt x="1265" y="1541"/>
                  </a:lnTo>
                  <a:lnTo>
                    <a:pt x="1263" y="1539"/>
                  </a:lnTo>
                  <a:lnTo>
                    <a:pt x="1261" y="1539"/>
                  </a:lnTo>
                  <a:lnTo>
                    <a:pt x="1261" y="1537"/>
                  </a:lnTo>
                  <a:lnTo>
                    <a:pt x="1261" y="1535"/>
                  </a:lnTo>
                  <a:lnTo>
                    <a:pt x="1259" y="1535"/>
                  </a:lnTo>
                  <a:lnTo>
                    <a:pt x="1259" y="1533"/>
                  </a:lnTo>
                  <a:lnTo>
                    <a:pt x="1259" y="1531"/>
                  </a:lnTo>
                  <a:lnTo>
                    <a:pt x="1257" y="1531"/>
                  </a:lnTo>
                  <a:lnTo>
                    <a:pt x="1257" y="1533"/>
                  </a:lnTo>
                  <a:lnTo>
                    <a:pt x="1255" y="1537"/>
                  </a:lnTo>
                  <a:lnTo>
                    <a:pt x="1254" y="1537"/>
                  </a:lnTo>
                  <a:lnTo>
                    <a:pt x="1254" y="1539"/>
                  </a:lnTo>
                  <a:lnTo>
                    <a:pt x="1252" y="1537"/>
                  </a:lnTo>
                  <a:lnTo>
                    <a:pt x="1250" y="1537"/>
                  </a:lnTo>
                  <a:lnTo>
                    <a:pt x="1248" y="1539"/>
                  </a:lnTo>
                  <a:lnTo>
                    <a:pt x="1248" y="1537"/>
                  </a:lnTo>
                  <a:lnTo>
                    <a:pt x="1248" y="1539"/>
                  </a:lnTo>
                  <a:lnTo>
                    <a:pt x="1246" y="1539"/>
                  </a:lnTo>
                  <a:lnTo>
                    <a:pt x="1246" y="1541"/>
                  </a:lnTo>
                  <a:lnTo>
                    <a:pt x="1244" y="1541"/>
                  </a:lnTo>
                  <a:lnTo>
                    <a:pt x="1242" y="1539"/>
                  </a:lnTo>
                  <a:lnTo>
                    <a:pt x="1240" y="1541"/>
                  </a:lnTo>
                  <a:lnTo>
                    <a:pt x="1240" y="1542"/>
                  </a:lnTo>
                  <a:lnTo>
                    <a:pt x="1238" y="1542"/>
                  </a:lnTo>
                  <a:lnTo>
                    <a:pt x="1238" y="1544"/>
                  </a:lnTo>
                  <a:lnTo>
                    <a:pt x="1236" y="1542"/>
                  </a:lnTo>
                  <a:lnTo>
                    <a:pt x="1236" y="1544"/>
                  </a:lnTo>
                  <a:lnTo>
                    <a:pt x="1234" y="1544"/>
                  </a:lnTo>
                  <a:lnTo>
                    <a:pt x="1229" y="1542"/>
                  </a:lnTo>
                  <a:lnTo>
                    <a:pt x="1229" y="1541"/>
                  </a:lnTo>
                  <a:lnTo>
                    <a:pt x="1229" y="1539"/>
                  </a:lnTo>
                  <a:lnTo>
                    <a:pt x="1227" y="1541"/>
                  </a:lnTo>
                  <a:lnTo>
                    <a:pt x="1227" y="1539"/>
                  </a:lnTo>
                  <a:lnTo>
                    <a:pt x="1225" y="1541"/>
                  </a:lnTo>
                  <a:lnTo>
                    <a:pt x="1225" y="1539"/>
                  </a:lnTo>
                  <a:lnTo>
                    <a:pt x="1223" y="1539"/>
                  </a:lnTo>
                  <a:lnTo>
                    <a:pt x="1223" y="1537"/>
                  </a:lnTo>
                  <a:lnTo>
                    <a:pt x="1225" y="1535"/>
                  </a:lnTo>
                  <a:lnTo>
                    <a:pt x="1225" y="1533"/>
                  </a:lnTo>
                  <a:lnTo>
                    <a:pt x="1227" y="1531"/>
                  </a:lnTo>
                  <a:lnTo>
                    <a:pt x="1229" y="1529"/>
                  </a:lnTo>
                  <a:lnTo>
                    <a:pt x="1231" y="1527"/>
                  </a:lnTo>
                  <a:lnTo>
                    <a:pt x="1231" y="1525"/>
                  </a:lnTo>
                  <a:lnTo>
                    <a:pt x="1232" y="1525"/>
                  </a:lnTo>
                  <a:lnTo>
                    <a:pt x="1234" y="1523"/>
                  </a:lnTo>
                  <a:lnTo>
                    <a:pt x="1234" y="1521"/>
                  </a:lnTo>
                  <a:lnTo>
                    <a:pt x="1236" y="1521"/>
                  </a:lnTo>
                  <a:lnTo>
                    <a:pt x="1236" y="1519"/>
                  </a:lnTo>
                  <a:lnTo>
                    <a:pt x="1238" y="1519"/>
                  </a:lnTo>
                  <a:lnTo>
                    <a:pt x="1238" y="1518"/>
                  </a:lnTo>
                  <a:lnTo>
                    <a:pt x="1238" y="1516"/>
                  </a:lnTo>
                  <a:lnTo>
                    <a:pt x="1238" y="1514"/>
                  </a:lnTo>
                  <a:lnTo>
                    <a:pt x="1240" y="1514"/>
                  </a:lnTo>
                  <a:lnTo>
                    <a:pt x="1240" y="1512"/>
                  </a:lnTo>
                  <a:lnTo>
                    <a:pt x="1240" y="1510"/>
                  </a:lnTo>
                  <a:lnTo>
                    <a:pt x="1242" y="1510"/>
                  </a:lnTo>
                  <a:lnTo>
                    <a:pt x="1242" y="1508"/>
                  </a:lnTo>
                  <a:lnTo>
                    <a:pt x="1242" y="1506"/>
                  </a:lnTo>
                  <a:lnTo>
                    <a:pt x="1242" y="1504"/>
                  </a:lnTo>
                  <a:lnTo>
                    <a:pt x="1242" y="1502"/>
                  </a:lnTo>
                  <a:lnTo>
                    <a:pt x="1242" y="1500"/>
                  </a:lnTo>
                  <a:lnTo>
                    <a:pt x="1240" y="1500"/>
                  </a:lnTo>
                  <a:lnTo>
                    <a:pt x="1238" y="1496"/>
                  </a:lnTo>
                  <a:lnTo>
                    <a:pt x="1238" y="1494"/>
                  </a:lnTo>
                  <a:lnTo>
                    <a:pt x="1238" y="1493"/>
                  </a:lnTo>
                  <a:lnTo>
                    <a:pt x="1238" y="1491"/>
                  </a:lnTo>
                  <a:lnTo>
                    <a:pt x="1236" y="1491"/>
                  </a:lnTo>
                  <a:lnTo>
                    <a:pt x="1236" y="1489"/>
                  </a:lnTo>
                  <a:lnTo>
                    <a:pt x="1234" y="1487"/>
                  </a:lnTo>
                  <a:lnTo>
                    <a:pt x="1234" y="1485"/>
                  </a:lnTo>
                  <a:lnTo>
                    <a:pt x="1234" y="1483"/>
                  </a:lnTo>
                  <a:lnTo>
                    <a:pt x="1236" y="1483"/>
                  </a:lnTo>
                  <a:lnTo>
                    <a:pt x="1238" y="1481"/>
                  </a:lnTo>
                  <a:lnTo>
                    <a:pt x="1238" y="1479"/>
                  </a:lnTo>
                  <a:lnTo>
                    <a:pt x="1240" y="1479"/>
                  </a:lnTo>
                  <a:lnTo>
                    <a:pt x="1240" y="1477"/>
                  </a:lnTo>
                  <a:lnTo>
                    <a:pt x="1242" y="1477"/>
                  </a:lnTo>
                  <a:lnTo>
                    <a:pt x="1242" y="1475"/>
                  </a:lnTo>
                  <a:lnTo>
                    <a:pt x="1242" y="1473"/>
                  </a:lnTo>
                  <a:lnTo>
                    <a:pt x="1242" y="1471"/>
                  </a:lnTo>
                  <a:lnTo>
                    <a:pt x="1240" y="1469"/>
                  </a:lnTo>
                  <a:lnTo>
                    <a:pt x="1240" y="1468"/>
                  </a:lnTo>
                  <a:lnTo>
                    <a:pt x="1238" y="1468"/>
                  </a:lnTo>
                  <a:lnTo>
                    <a:pt x="1238" y="1466"/>
                  </a:lnTo>
                  <a:lnTo>
                    <a:pt x="1236" y="1466"/>
                  </a:lnTo>
                  <a:lnTo>
                    <a:pt x="1238" y="1466"/>
                  </a:lnTo>
                  <a:lnTo>
                    <a:pt x="1238" y="1464"/>
                  </a:lnTo>
                  <a:lnTo>
                    <a:pt x="1236" y="1464"/>
                  </a:lnTo>
                  <a:lnTo>
                    <a:pt x="1234" y="1464"/>
                  </a:lnTo>
                  <a:lnTo>
                    <a:pt x="1232" y="1464"/>
                  </a:lnTo>
                  <a:lnTo>
                    <a:pt x="1231" y="1464"/>
                  </a:lnTo>
                  <a:lnTo>
                    <a:pt x="1231" y="1462"/>
                  </a:lnTo>
                  <a:lnTo>
                    <a:pt x="1229" y="1462"/>
                  </a:lnTo>
                  <a:lnTo>
                    <a:pt x="1229" y="1464"/>
                  </a:lnTo>
                  <a:lnTo>
                    <a:pt x="1227" y="1464"/>
                  </a:lnTo>
                  <a:lnTo>
                    <a:pt x="1227" y="1462"/>
                  </a:lnTo>
                  <a:lnTo>
                    <a:pt x="1227" y="1460"/>
                  </a:lnTo>
                  <a:lnTo>
                    <a:pt x="1225" y="1458"/>
                  </a:lnTo>
                  <a:lnTo>
                    <a:pt x="1225" y="1456"/>
                  </a:lnTo>
                  <a:lnTo>
                    <a:pt x="1221" y="1458"/>
                  </a:lnTo>
                  <a:lnTo>
                    <a:pt x="1221" y="1456"/>
                  </a:lnTo>
                  <a:lnTo>
                    <a:pt x="1217" y="1456"/>
                  </a:lnTo>
                  <a:lnTo>
                    <a:pt x="1217" y="1454"/>
                  </a:lnTo>
                  <a:lnTo>
                    <a:pt x="1215" y="1454"/>
                  </a:lnTo>
                  <a:lnTo>
                    <a:pt x="1215" y="1456"/>
                  </a:lnTo>
                  <a:lnTo>
                    <a:pt x="1213" y="1456"/>
                  </a:lnTo>
                  <a:lnTo>
                    <a:pt x="1211" y="1454"/>
                  </a:lnTo>
                  <a:lnTo>
                    <a:pt x="1208" y="1452"/>
                  </a:lnTo>
                  <a:lnTo>
                    <a:pt x="1206" y="1452"/>
                  </a:lnTo>
                  <a:lnTo>
                    <a:pt x="1204" y="1450"/>
                  </a:lnTo>
                  <a:lnTo>
                    <a:pt x="1206" y="1450"/>
                  </a:lnTo>
                  <a:lnTo>
                    <a:pt x="1204" y="1448"/>
                  </a:lnTo>
                  <a:lnTo>
                    <a:pt x="1206" y="1448"/>
                  </a:lnTo>
                  <a:lnTo>
                    <a:pt x="1206" y="1446"/>
                  </a:lnTo>
                  <a:lnTo>
                    <a:pt x="1206" y="1445"/>
                  </a:lnTo>
                  <a:lnTo>
                    <a:pt x="1204" y="1441"/>
                  </a:lnTo>
                  <a:lnTo>
                    <a:pt x="1202" y="1441"/>
                  </a:lnTo>
                  <a:lnTo>
                    <a:pt x="1200" y="1441"/>
                  </a:lnTo>
                  <a:lnTo>
                    <a:pt x="1200" y="1439"/>
                  </a:lnTo>
                  <a:lnTo>
                    <a:pt x="1202" y="1439"/>
                  </a:lnTo>
                  <a:lnTo>
                    <a:pt x="1202" y="1437"/>
                  </a:lnTo>
                  <a:lnTo>
                    <a:pt x="1202" y="1435"/>
                  </a:lnTo>
                  <a:lnTo>
                    <a:pt x="1202" y="1433"/>
                  </a:lnTo>
                  <a:lnTo>
                    <a:pt x="1202" y="1431"/>
                  </a:lnTo>
                  <a:lnTo>
                    <a:pt x="1200" y="1431"/>
                  </a:lnTo>
                  <a:lnTo>
                    <a:pt x="1200" y="1429"/>
                  </a:lnTo>
                  <a:lnTo>
                    <a:pt x="1200" y="1427"/>
                  </a:lnTo>
                  <a:lnTo>
                    <a:pt x="1198" y="1427"/>
                  </a:lnTo>
                  <a:lnTo>
                    <a:pt x="1196" y="1425"/>
                  </a:lnTo>
                  <a:lnTo>
                    <a:pt x="1198" y="1423"/>
                  </a:lnTo>
                  <a:lnTo>
                    <a:pt x="1196" y="1421"/>
                  </a:lnTo>
                  <a:lnTo>
                    <a:pt x="1194" y="1421"/>
                  </a:lnTo>
                  <a:lnTo>
                    <a:pt x="1196" y="1420"/>
                  </a:lnTo>
                  <a:lnTo>
                    <a:pt x="1194" y="1418"/>
                  </a:lnTo>
                  <a:lnTo>
                    <a:pt x="1196" y="1418"/>
                  </a:lnTo>
                  <a:lnTo>
                    <a:pt x="1194" y="1416"/>
                  </a:lnTo>
                  <a:lnTo>
                    <a:pt x="1192" y="1414"/>
                  </a:lnTo>
                  <a:lnTo>
                    <a:pt x="1192" y="1412"/>
                  </a:lnTo>
                  <a:lnTo>
                    <a:pt x="1194" y="1412"/>
                  </a:lnTo>
                  <a:lnTo>
                    <a:pt x="1194" y="1408"/>
                  </a:lnTo>
                  <a:lnTo>
                    <a:pt x="1196" y="1408"/>
                  </a:lnTo>
                  <a:lnTo>
                    <a:pt x="1196" y="1406"/>
                  </a:lnTo>
                  <a:lnTo>
                    <a:pt x="1196" y="1404"/>
                  </a:lnTo>
                  <a:lnTo>
                    <a:pt x="1194" y="1402"/>
                  </a:lnTo>
                  <a:lnTo>
                    <a:pt x="1196" y="1402"/>
                  </a:lnTo>
                  <a:lnTo>
                    <a:pt x="1196" y="1400"/>
                  </a:lnTo>
                  <a:lnTo>
                    <a:pt x="1198" y="1398"/>
                  </a:lnTo>
                  <a:lnTo>
                    <a:pt x="1196" y="1396"/>
                  </a:lnTo>
                  <a:lnTo>
                    <a:pt x="1198" y="1396"/>
                  </a:lnTo>
                  <a:lnTo>
                    <a:pt x="1196" y="1395"/>
                  </a:lnTo>
                  <a:lnTo>
                    <a:pt x="1198" y="1393"/>
                  </a:lnTo>
                  <a:lnTo>
                    <a:pt x="1198" y="1391"/>
                  </a:lnTo>
                  <a:lnTo>
                    <a:pt x="1196" y="1389"/>
                  </a:lnTo>
                  <a:lnTo>
                    <a:pt x="1200" y="1387"/>
                  </a:lnTo>
                  <a:lnTo>
                    <a:pt x="1200" y="1385"/>
                  </a:lnTo>
                  <a:lnTo>
                    <a:pt x="1202" y="1385"/>
                  </a:lnTo>
                  <a:lnTo>
                    <a:pt x="1204" y="1383"/>
                  </a:lnTo>
                  <a:lnTo>
                    <a:pt x="1202" y="1381"/>
                  </a:lnTo>
                  <a:lnTo>
                    <a:pt x="1200" y="1379"/>
                  </a:lnTo>
                  <a:lnTo>
                    <a:pt x="1202" y="1375"/>
                  </a:lnTo>
                  <a:lnTo>
                    <a:pt x="1204" y="1375"/>
                  </a:lnTo>
                  <a:lnTo>
                    <a:pt x="1206" y="1373"/>
                  </a:lnTo>
                  <a:lnTo>
                    <a:pt x="1208" y="1375"/>
                  </a:lnTo>
                  <a:lnTo>
                    <a:pt x="1209" y="1373"/>
                  </a:lnTo>
                  <a:lnTo>
                    <a:pt x="1211" y="1372"/>
                  </a:lnTo>
                  <a:lnTo>
                    <a:pt x="1213" y="1372"/>
                  </a:lnTo>
                  <a:lnTo>
                    <a:pt x="1215" y="1372"/>
                  </a:lnTo>
                  <a:lnTo>
                    <a:pt x="1215" y="1370"/>
                  </a:lnTo>
                  <a:lnTo>
                    <a:pt x="1217" y="1368"/>
                  </a:lnTo>
                  <a:lnTo>
                    <a:pt x="1219" y="1368"/>
                  </a:lnTo>
                  <a:lnTo>
                    <a:pt x="1221" y="1368"/>
                  </a:lnTo>
                  <a:lnTo>
                    <a:pt x="1223" y="1366"/>
                  </a:lnTo>
                  <a:lnTo>
                    <a:pt x="1225" y="1366"/>
                  </a:lnTo>
                  <a:lnTo>
                    <a:pt x="1227" y="1366"/>
                  </a:lnTo>
                  <a:lnTo>
                    <a:pt x="1229" y="1366"/>
                  </a:lnTo>
                  <a:lnTo>
                    <a:pt x="1229" y="1368"/>
                  </a:lnTo>
                  <a:lnTo>
                    <a:pt x="1231" y="1368"/>
                  </a:lnTo>
                  <a:lnTo>
                    <a:pt x="1231" y="1366"/>
                  </a:lnTo>
                  <a:lnTo>
                    <a:pt x="1231" y="1364"/>
                  </a:lnTo>
                  <a:lnTo>
                    <a:pt x="1232" y="1360"/>
                  </a:lnTo>
                  <a:lnTo>
                    <a:pt x="1234" y="1356"/>
                  </a:lnTo>
                  <a:lnTo>
                    <a:pt x="1236" y="1356"/>
                  </a:lnTo>
                  <a:lnTo>
                    <a:pt x="1238" y="1354"/>
                  </a:lnTo>
                  <a:lnTo>
                    <a:pt x="1238" y="1352"/>
                  </a:lnTo>
                  <a:lnTo>
                    <a:pt x="1240" y="1352"/>
                  </a:lnTo>
                  <a:lnTo>
                    <a:pt x="1242" y="1350"/>
                  </a:lnTo>
                  <a:lnTo>
                    <a:pt x="1244" y="1350"/>
                  </a:lnTo>
                  <a:lnTo>
                    <a:pt x="1244" y="1348"/>
                  </a:lnTo>
                  <a:lnTo>
                    <a:pt x="1246" y="1347"/>
                  </a:lnTo>
                  <a:lnTo>
                    <a:pt x="1248" y="1345"/>
                  </a:lnTo>
                  <a:lnTo>
                    <a:pt x="1248" y="1343"/>
                  </a:lnTo>
                  <a:lnTo>
                    <a:pt x="1248" y="1341"/>
                  </a:lnTo>
                  <a:lnTo>
                    <a:pt x="1248" y="1339"/>
                  </a:lnTo>
                  <a:lnTo>
                    <a:pt x="1250" y="1337"/>
                  </a:lnTo>
                  <a:lnTo>
                    <a:pt x="1248" y="1337"/>
                  </a:lnTo>
                  <a:lnTo>
                    <a:pt x="1248" y="1335"/>
                  </a:lnTo>
                  <a:lnTo>
                    <a:pt x="1248" y="1333"/>
                  </a:lnTo>
                  <a:lnTo>
                    <a:pt x="1248" y="1331"/>
                  </a:lnTo>
                  <a:lnTo>
                    <a:pt x="1248" y="1329"/>
                  </a:lnTo>
                  <a:lnTo>
                    <a:pt x="1250" y="1327"/>
                  </a:lnTo>
                  <a:lnTo>
                    <a:pt x="1252" y="1325"/>
                  </a:lnTo>
                  <a:lnTo>
                    <a:pt x="1254" y="1325"/>
                  </a:lnTo>
                  <a:lnTo>
                    <a:pt x="1255" y="1325"/>
                  </a:lnTo>
                  <a:lnTo>
                    <a:pt x="1257" y="1325"/>
                  </a:lnTo>
                  <a:lnTo>
                    <a:pt x="1259" y="1325"/>
                  </a:lnTo>
                  <a:lnTo>
                    <a:pt x="1261" y="1325"/>
                  </a:lnTo>
                  <a:lnTo>
                    <a:pt x="1263" y="1327"/>
                  </a:lnTo>
                  <a:lnTo>
                    <a:pt x="1263" y="1329"/>
                  </a:lnTo>
                  <a:lnTo>
                    <a:pt x="1265" y="1329"/>
                  </a:lnTo>
                  <a:lnTo>
                    <a:pt x="1265" y="1331"/>
                  </a:lnTo>
                  <a:lnTo>
                    <a:pt x="1267" y="1331"/>
                  </a:lnTo>
                  <a:lnTo>
                    <a:pt x="1269" y="1331"/>
                  </a:lnTo>
                  <a:lnTo>
                    <a:pt x="1271" y="1329"/>
                  </a:lnTo>
                  <a:lnTo>
                    <a:pt x="1273" y="1329"/>
                  </a:lnTo>
                  <a:lnTo>
                    <a:pt x="1273" y="1327"/>
                  </a:lnTo>
                  <a:lnTo>
                    <a:pt x="1275" y="1325"/>
                  </a:lnTo>
                  <a:lnTo>
                    <a:pt x="1277" y="1323"/>
                  </a:lnTo>
                  <a:lnTo>
                    <a:pt x="1277" y="1320"/>
                  </a:lnTo>
                  <a:lnTo>
                    <a:pt x="1277" y="1316"/>
                  </a:lnTo>
                  <a:lnTo>
                    <a:pt x="1277" y="1314"/>
                  </a:lnTo>
                  <a:lnTo>
                    <a:pt x="1277" y="1312"/>
                  </a:lnTo>
                  <a:lnTo>
                    <a:pt x="1277" y="1310"/>
                  </a:lnTo>
                  <a:lnTo>
                    <a:pt x="1279" y="1306"/>
                  </a:lnTo>
                  <a:lnTo>
                    <a:pt x="1280" y="1304"/>
                  </a:lnTo>
                  <a:lnTo>
                    <a:pt x="1280" y="1302"/>
                  </a:lnTo>
                  <a:lnTo>
                    <a:pt x="1282" y="1302"/>
                  </a:lnTo>
                  <a:lnTo>
                    <a:pt x="1282" y="1300"/>
                  </a:lnTo>
                  <a:lnTo>
                    <a:pt x="1284" y="1299"/>
                  </a:lnTo>
                  <a:lnTo>
                    <a:pt x="1286" y="1297"/>
                  </a:lnTo>
                  <a:lnTo>
                    <a:pt x="1288" y="1297"/>
                  </a:lnTo>
                  <a:lnTo>
                    <a:pt x="1288" y="1295"/>
                  </a:lnTo>
                  <a:lnTo>
                    <a:pt x="1290" y="1295"/>
                  </a:lnTo>
                  <a:lnTo>
                    <a:pt x="1292" y="1291"/>
                  </a:lnTo>
                  <a:lnTo>
                    <a:pt x="1292" y="1289"/>
                  </a:lnTo>
                  <a:lnTo>
                    <a:pt x="1294" y="1289"/>
                  </a:lnTo>
                  <a:lnTo>
                    <a:pt x="1294" y="1285"/>
                  </a:lnTo>
                  <a:lnTo>
                    <a:pt x="1294" y="1283"/>
                  </a:lnTo>
                  <a:lnTo>
                    <a:pt x="1296" y="1283"/>
                  </a:lnTo>
                  <a:lnTo>
                    <a:pt x="1296" y="1279"/>
                  </a:lnTo>
                  <a:lnTo>
                    <a:pt x="1296" y="1277"/>
                  </a:lnTo>
                  <a:lnTo>
                    <a:pt x="1298" y="1277"/>
                  </a:lnTo>
                  <a:lnTo>
                    <a:pt x="1298" y="1275"/>
                  </a:lnTo>
                  <a:lnTo>
                    <a:pt x="1302" y="1275"/>
                  </a:lnTo>
                  <a:lnTo>
                    <a:pt x="1303" y="1274"/>
                  </a:lnTo>
                  <a:lnTo>
                    <a:pt x="1305" y="1274"/>
                  </a:lnTo>
                  <a:lnTo>
                    <a:pt x="1307" y="1274"/>
                  </a:lnTo>
                  <a:lnTo>
                    <a:pt x="1307" y="1272"/>
                  </a:lnTo>
                  <a:lnTo>
                    <a:pt x="1307" y="1270"/>
                  </a:lnTo>
                  <a:lnTo>
                    <a:pt x="1307" y="1268"/>
                  </a:lnTo>
                  <a:lnTo>
                    <a:pt x="1307" y="1266"/>
                  </a:lnTo>
                  <a:lnTo>
                    <a:pt x="1305" y="1264"/>
                  </a:lnTo>
                  <a:lnTo>
                    <a:pt x="1303" y="1262"/>
                  </a:lnTo>
                  <a:lnTo>
                    <a:pt x="1303" y="1260"/>
                  </a:lnTo>
                  <a:lnTo>
                    <a:pt x="1302" y="1258"/>
                  </a:lnTo>
                  <a:lnTo>
                    <a:pt x="1298" y="1258"/>
                  </a:lnTo>
                  <a:lnTo>
                    <a:pt x="1296" y="1258"/>
                  </a:lnTo>
                  <a:lnTo>
                    <a:pt x="1294" y="1258"/>
                  </a:lnTo>
                  <a:lnTo>
                    <a:pt x="1292" y="1258"/>
                  </a:lnTo>
                  <a:lnTo>
                    <a:pt x="1292" y="1260"/>
                  </a:lnTo>
                  <a:lnTo>
                    <a:pt x="1290" y="1260"/>
                  </a:lnTo>
                  <a:lnTo>
                    <a:pt x="1290" y="1262"/>
                  </a:lnTo>
                  <a:lnTo>
                    <a:pt x="1290" y="1264"/>
                  </a:lnTo>
                  <a:lnTo>
                    <a:pt x="1286" y="1264"/>
                  </a:lnTo>
                  <a:lnTo>
                    <a:pt x="1286" y="1266"/>
                  </a:lnTo>
                  <a:lnTo>
                    <a:pt x="1282" y="1266"/>
                  </a:lnTo>
                  <a:lnTo>
                    <a:pt x="1280" y="1266"/>
                  </a:lnTo>
                  <a:lnTo>
                    <a:pt x="1279" y="1266"/>
                  </a:lnTo>
                  <a:lnTo>
                    <a:pt x="1279" y="1264"/>
                  </a:lnTo>
                  <a:lnTo>
                    <a:pt x="1277" y="1264"/>
                  </a:lnTo>
                  <a:lnTo>
                    <a:pt x="1275" y="1262"/>
                  </a:lnTo>
                  <a:lnTo>
                    <a:pt x="1275" y="1260"/>
                  </a:lnTo>
                  <a:lnTo>
                    <a:pt x="1273" y="1258"/>
                  </a:lnTo>
                  <a:lnTo>
                    <a:pt x="1273" y="1256"/>
                  </a:lnTo>
                  <a:lnTo>
                    <a:pt x="1275" y="1254"/>
                  </a:lnTo>
                  <a:lnTo>
                    <a:pt x="1275" y="1252"/>
                  </a:lnTo>
                  <a:lnTo>
                    <a:pt x="1279" y="1251"/>
                  </a:lnTo>
                  <a:lnTo>
                    <a:pt x="1279" y="1249"/>
                  </a:lnTo>
                  <a:lnTo>
                    <a:pt x="1280" y="1249"/>
                  </a:lnTo>
                  <a:lnTo>
                    <a:pt x="1280" y="1247"/>
                  </a:lnTo>
                  <a:lnTo>
                    <a:pt x="1282" y="1247"/>
                  </a:lnTo>
                  <a:lnTo>
                    <a:pt x="1282" y="1245"/>
                  </a:lnTo>
                  <a:lnTo>
                    <a:pt x="1284" y="1243"/>
                  </a:lnTo>
                  <a:lnTo>
                    <a:pt x="1286" y="1243"/>
                  </a:lnTo>
                  <a:lnTo>
                    <a:pt x="1288" y="1241"/>
                  </a:lnTo>
                  <a:lnTo>
                    <a:pt x="1288" y="1239"/>
                  </a:lnTo>
                  <a:lnTo>
                    <a:pt x="1288" y="1237"/>
                  </a:lnTo>
                  <a:lnTo>
                    <a:pt x="1290" y="1235"/>
                  </a:lnTo>
                  <a:lnTo>
                    <a:pt x="1290" y="1233"/>
                  </a:lnTo>
                  <a:lnTo>
                    <a:pt x="1292" y="1231"/>
                  </a:lnTo>
                  <a:lnTo>
                    <a:pt x="1298" y="1231"/>
                  </a:lnTo>
                  <a:lnTo>
                    <a:pt x="1300" y="1231"/>
                  </a:lnTo>
                  <a:lnTo>
                    <a:pt x="1300" y="1229"/>
                  </a:lnTo>
                  <a:lnTo>
                    <a:pt x="1302" y="1227"/>
                  </a:lnTo>
                  <a:lnTo>
                    <a:pt x="1303" y="1227"/>
                  </a:lnTo>
                  <a:lnTo>
                    <a:pt x="1303" y="1226"/>
                  </a:lnTo>
                  <a:lnTo>
                    <a:pt x="1305" y="1224"/>
                  </a:lnTo>
                  <a:lnTo>
                    <a:pt x="1305" y="1222"/>
                  </a:lnTo>
                  <a:lnTo>
                    <a:pt x="1307" y="1220"/>
                  </a:lnTo>
                  <a:lnTo>
                    <a:pt x="1307" y="1218"/>
                  </a:lnTo>
                  <a:lnTo>
                    <a:pt x="1309" y="1216"/>
                  </a:lnTo>
                  <a:lnTo>
                    <a:pt x="1311" y="1214"/>
                  </a:lnTo>
                  <a:lnTo>
                    <a:pt x="1313" y="1212"/>
                  </a:lnTo>
                  <a:lnTo>
                    <a:pt x="1315" y="1210"/>
                  </a:lnTo>
                  <a:lnTo>
                    <a:pt x="1317" y="1210"/>
                  </a:lnTo>
                  <a:lnTo>
                    <a:pt x="1317" y="1208"/>
                  </a:lnTo>
                  <a:lnTo>
                    <a:pt x="1319" y="1206"/>
                  </a:lnTo>
                  <a:lnTo>
                    <a:pt x="1319" y="1204"/>
                  </a:lnTo>
                  <a:lnTo>
                    <a:pt x="1319" y="1202"/>
                  </a:lnTo>
                  <a:lnTo>
                    <a:pt x="1319" y="1201"/>
                  </a:lnTo>
                  <a:lnTo>
                    <a:pt x="1319" y="1199"/>
                  </a:lnTo>
                  <a:lnTo>
                    <a:pt x="1319" y="1197"/>
                  </a:lnTo>
                  <a:lnTo>
                    <a:pt x="1319" y="1195"/>
                  </a:lnTo>
                  <a:lnTo>
                    <a:pt x="1319" y="1193"/>
                  </a:lnTo>
                  <a:lnTo>
                    <a:pt x="1319" y="1191"/>
                  </a:lnTo>
                  <a:lnTo>
                    <a:pt x="1319" y="1189"/>
                  </a:lnTo>
                  <a:lnTo>
                    <a:pt x="1319" y="1187"/>
                  </a:lnTo>
                  <a:lnTo>
                    <a:pt x="1321" y="1187"/>
                  </a:lnTo>
                  <a:lnTo>
                    <a:pt x="1321" y="1185"/>
                  </a:lnTo>
                  <a:lnTo>
                    <a:pt x="1323" y="1183"/>
                  </a:lnTo>
                  <a:lnTo>
                    <a:pt x="1323" y="1181"/>
                  </a:lnTo>
                  <a:lnTo>
                    <a:pt x="1325" y="1181"/>
                  </a:lnTo>
                  <a:lnTo>
                    <a:pt x="1325" y="1179"/>
                  </a:lnTo>
                  <a:lnTo>
                    <a:pt x="1326" y="1179"/>
                  </a:lnTo>
                  <a:lnTo>
                    <a:pt x="1328" y="1176"/>
                  </a:lnTo>
                  <a:lnTo>
                    <a:pt x="1328" y="1174"/>
                  </a:lnTo>
                  <a:lnTo>
                    <a:pt x="1328" y="1172"/>
                  </a:lnTo>
                  <a:lnTo>
                    <a:pt x="1328" y="1170"/>
                  </a:lnTo>
                  <a:lnTo>
                    <a:pt x="1328" y="1168"/>
                  </a:lnTo>
                  <a:lnTo>
                    <a:pt x="1326" y="1168"/>
                  </a:lnTo>
                  <a:lnTo>
                    <a:pt x="1326" y="1166"/>
                  </a:lnTo>
                  <a:lnTo>
                    <a:pt x="1325" y="1166"/>
                  </a:lnTo>
                  <a:lnTo>
                    <a:pt x="1323" y="1164"/>
                  </a:lnTo>
                  <a:lnTo>
                    <a:pt x="1321" y="1164"/>
                  </a:lnTo>
                  <a:lnTo>
                    <a:pt x="1319" y="1162"/>
                  </a:lnTo>
                  <a:lnTo>
                    <a:pt x="1317" y="1162"/>
                  </a:lnTo>
                  <a:lnTo>
                    <a:pt x="1315" y="1162"/>
                  </a:lnTo>
                  <a:lnTo>
                    <a:pt x="1313" y="1160"/>
                  </a:lnTo>
                  <a:lnTo>
                    <a:pt x="1313" y="1156"/>
                  </a:lnTo>
                  <a:lnTo>
                    <a:pt x="1313" y="1154"/>
                  </a:lnTo>
                  <a:lnTo>
                    <a:pt x="1315" y="1154"/>
                  </a:lnTo>
                  <a:lnTo>
                    <a:pt x="1315" y="1153"/>
                  </a:lnTo>
                  <a:lnTo>
                    <a:pt x="1317" y="1151"/>
                  </a:lnTo>
                  <a:lnTo>
                    <a:pt x="1319" y="1149"/>
                  </a:lnTo>
                  <a:lnTo>
                    <a:pt x="1321" y="1147"/>
                  </a:lnTo>
                  <a:lnTo>
                    <a:pt x="1321" y="1145"/>
                  </a:lnTo>
                  <a:lnTo>
                    <a:pt x="1323" y="1143"/>
                  </a:lnTo>
                  <a:lnTo>
                    <a:pt x="1323" y="1141"/>
                  </a:lnTo>
                  <a:lnTo>
                    <a:pt x="1325" y="1139"/>
                  </a:lnTo>
                  <a:lnTo>
                    <a:pt x="1325" y="1137"/>
                  </a:lnTo>
                  <a:lnTo>
                    <a:pt x="1326" y="1135"/>
                  </a:lnTo>
                  <a:lnTo>
                    <a:pt x="1326" y="1133"/>
                  </a:lnTo>
                  <a:lnTo>
                    <a:pt x="1326" y="1131"/>
                  </a:lnTo>
                  <a:lnTo>
                    <a:pt x="1326" y="1129"/>
                  </a:lnTo>
                  <a:lnTo>
                    <a:pt x="1328" y="1129"/>
                  </a:lnTo>
                  <a:lnTo>
                    <a:pt x="1326" y="1128"/>
                  </a:lnTo>
                  <a:lnTo>
                    <a:pt x="1328" y="1126"/>
                  </a:lnTo>
                  <a:lnTo>
                    <a:pt x="1328" y="1124"/>
                  </a:lnTo>
                  <a:lnTo>
                    <a:pt x="1328" y="1122"/>
                  </a:lnTo>
                  <a:lnTo>
                    <a:pt x="1326" y="1122"/>
                  </a:lnTo>
                  <a:lnTo>
                    <a:pt x="1328" y="1118"/>
                  </a:lnTo>
                  <a:lnTo>
                    <a:pt x="1330" y="1118"/>
                  </a:lnTo>
                  <a:lnTo>
                    <a:pt x="1332" y="1116"/>
                  </a:lnTo>
                  <a:lnTo>
                    <a:pt x="1332" y="1118"/>
                  </a:lnTo>
                  <a:lnTo>
                    <a:pt x="1334" y="1118"/>
                  </a:lnTo>
                  <a:lnTo>
                    <a:pt x="1336" y="1118"/>
                  </a:lnTo>
                  <a:lnTo>
                    <a:pt x="1338" y="1120"/>
                  </a:lnTo>
                  <a:lnTo>
                    <a:pt x="1340" y="1122"/>
                  </a:lnTo>
                  <a:lnTo>
                    <a:pt x="1342" y="1122"/>
                  </a:lnTo>
                  <a:lnTo>
                    <a:pt x="1344" y="1124"/>
                  </a:lnTo>
                  <a:lnTo>
                    <a:pt x="1346" y="1124"/>
                  </a:lnTo>
                  <a:lnTo>
                    <a:pt x="1350" y="1124"/>
                  </a:lnTo>
                  <a:lnTo>
                    <a:pt x="1351" y="1124"/>
                  </a:lnTo>
                  <a:lnTo>
                    <a:pt x="1351" y="1122"/>
                  </a:lnTo>
                  <a:lnTo>
                    <a:pt x="1353" y="1122"/>
                  </a:lnTo>
                  <a:lnTo>
                    <a:pt x="1353" y="1120"/>
                  </a:lnTo>
                  <a:lnTo>
                    <a:pt x="1353" y="1118"/>
                  </a:lnTo>
                  <a:lnTo>
                    <a:pt x="1353" y="1116"/>
                  </a:lnTo>
                  <a:lnTo>
                    <a:pt x="1353" y="1114"/>
                  </a:lnTo>
                  <a:lnTo>
                    <a:pt x="1351" y="1112"/>
                  </a:lnTo>
                  <a:lnTo>
                    <a:pt x="1351" y="1110"/>
                  </a:lnTo>
                  <a:lnTo>
                    <a:pt x="1351" y="1108"/>
                  </a:lnTo>
                  <a:lnTo>
                    <a:pt x="1351" y="1106"/>
                  </a:lnTo>
                  <a:lnTo>
                    <a:pt x="1350" y="1106"/>
                  </a:lnTo>
                  <a:lnTo>
                    <a:pt x="1351" y="1105"/>
                  </a:lnTo>
                  <a:lnTo>
                    <a:pt x="1351" y="1103"/>
                  </a:lnTo>
                  <a:lnTo>
                    <a:pt x="1353" y="1101"/>
                  </a:lnTo>
                  <a:lnTo>
                    <a:pt x="1355" y="1101"/>
                  </a:lnTo>
                  <a:lnTo>
                    <a:pt x="1357" y="1099"/>
                  </a:lnTo>
                  <a:lnTo>
                    <a:pt x="1357" y="1097"/>
                  </a:lnTo>
                  <a:lnTo>
                    <a:pt x="1359" y="1097"/>
                  </a:lnTo>
                  <a:lnTo>
                    <a:pt x="1359" y="1095"/>
                  </a:lnTo>
                  <a:lnTo>
                    <a:pt x="1357" y="1095"/>
                  </a:lnTo>
                  <a:lnTo>
                    <a:pt x="1357" y="1093"/>
                  </a:lnTo>
                  <a:lnTo>
                    <a:pt x="1357" y="1091"/>
                  </a:lnTo>
                  <a:lnTo>
                    <a:pt x="1355" y="1089"/>
                  </a:lnTo>
                  <a:lnTo>
                    <a:pt x="1353" y="1087"/>
                  </a:lnTo>
                  <a:lnTo>
                    <a:pt x="1351" y="1085"/>
                  </a:lnTo>
                  <a:lnTo>
                    <a:pt x="1351" y="1083"/>
                  </a:lnTo>
                  <a:lnTo>
                    <a:pt x="1351" y="1081"/>
                  </a:lnTo>
                  <a:lnTo>
                    <a:pt x="1350" y="1081"/>
                  </a:lnTo>
                  <a:lnTo>
                    <a:pt x="1351" y="1080"/>
                  </a:lnTo>
                  <a:lnTo>
                    <a:pt x="1351" y="1078"/>
                  </a:lnTo>
                  <a:lnTo>
                    <a:pt x="1353" y="1076"/>
                  </a:lnTo>
                  <a:lnTo>
                    <a:pt x="1355" y="1074"/>
                  </a:lnTo>
                  <a:lnTo>
                    <a:pt x="1357" y="1074"/>
                  </a:lnTo>
                  <a:lnTo>
                    <a:pt x="1359" y="1072"/>
                  </a:lnTo>
                  <a:lnTo>
                    <a:pt x="1363" y="1072"/>
                  </a:lnTo>
                  <a:lnTo>
                    <a:pt x="1365" y="1072"/>
                  </a:lnTo>
                  <a:lnTo>
                    <a:pt x="1367" y="1074"/>
                  </a:lnTo>
                  <a:lnTo>
                    <a:pt x="1369" y="1074"/>
                  </a:lnTo>
                  <a:lnTo>
                    <a:pt x="1373" y="1078"/>
                  </a:lnTo>
                  <a:lnTo>
                    <a:pt x="1374" y="1078"/>
                  </a:lnTo>
                  <a:lnTo>
                    <a:pt x="1376" y="1078"/>
                  </a:lnTo>
                  <a:lnTo>
                    <a:pt x="1378" y="1078"/>
                  </a:lnTo>
                  <a:lnTo>
                    <a:pt x="1380" y="1076"/>
                  </a:lnTo>
                  <a:lnTo>
                    <a:pt x="1382" y="1074"/>
                  </a:lnTo>
                  <a:lnTo>
                    <a:pt x="1384" y="1074"/>
                  </a:lnTo>
                  <a:lnTo>
                    <a:pt x="1384" y="1072"/>
                  </a:lnTo>
                  <a:lnTo>
                    <a:pt x="1384" y="1070"/>
                  </a:lnTo>
                  <a:lnTo>
                    <a:pt x="1384" y="1068"/>
                  </a:lnTo>
                  <a:lnTo>
                    <a:pt x="1386" y="1068"/>
                  </a:lnTo>
                  <a:lnTo>
                    <a:pt x="1386" y="1066"/>
                  </a:lnTo>
                  <a:lnTo>
                    <a:pt x="1386" y="1064"/>
                  </a:lnTo>
                  <a:lnTo>
                    <a:pt x="1386" y="1062"/>
                  </a:lnTo>
                  <a:lnTo>
                    <a:pt x="1384" y="1062"/>
                  </a:lnTo>
                  <a:lnTo>
                    <a:pt x="1384" y="1060"/>
                  </a:lnTo>
                  <a:lnTo>
                    <a:pt x="1382" y="1058"/>
                  </a:lnTo>
                  <a:lnTo>
                    <a:pt x="1380" y="1056"/>
                  </a:lnTo>
                  <a:lnTo>
                    <a:pt x="1378" y="1056"/>
                  </a:lnTo>
                  <a:lnTo>
                    <a:pt x="1376" y="1056"/>
                  </a:lnTo>
                  <a:lnTo>
                    <a:pt x="1374" y="1056"/>
                  </a:lnTo>
                  <a:lnTo>
                    <a:pt x="1373" y="1056"/>
                  </a:lnTo>
                  <a:lnTo>
                    <a:pt x="1371" y="1056"/>
                  </a:lnTo>
                  <a:lnTo>
                    <a:pt x="1369" y="1056"/>
                  </a:lnTo>
                  <a:lnTo>
                    <a:pt x="1367" y="1056"/>
                  </a:lnTo>
                  <a:lnTo>
                    <a:pt x="1365" y="1055"/>
                  </a:lnTo>
                  <a:lnTo>
                    <a:pt x="1365" y="1053"/>
                  </a:lnTo>
                  <a:lnTo>
                    <a:pt x="1363" y="1051"/>
                  </a:lnTo>
                  <a:lnTo>
                    <a:pt x="1363" y="1049"/>
                  </a:lnTo>
                  <a:lnTo>
                    <a:pt x="1363" y="1047"/>
                  </a:lnTo>
                  <a:lnTo>
                    <a:pt x="1365" y="1045"/>
                  </a:lnTo>
                  <a:lnTo>
                    <a:pt x="1365" y="1041"/>
                  </a:lnTo>
                  <a:lnTo>
                    <a:pt x="1367" y="1041"/>
                  </a:lnTo>
                  <a:lnTo>
                    <a:pt x="1369" y="1039"/>
                  </a:lnTo>
                  <a:lnTo>
                    <a:pt x="1369" y="1037"/>
                  </a:lnTo>
                  <a:lnTo>
                    <a:pt x="1371" y="1037"/>
                  </a:lnTo>
                  <a:lnTo>
                    <a:pt x="1373" y="1035"/>
                  </a:lnTo>
                  <a:lnTo>
                    <a:pt x="1373" y="1033"/>
                  </a:lnTo>
                  <a:lnTo>
                    <a:pt x="1374" y="1033"/>
                  </a:lnTo>
                  <a:lnTo>
                    <a:pt x="1374" y="1032"/>
                  </a:lnTo>
                  <a:lnTo>
                    <a:pt x="1376" y="1030"/>
                  </a:lnTo>
                  <a:lnTo>
                    <a:pt x="1378" y="1028"/>
                  </a:lnTo>
                  <a:lnTo>
                    <a:pt x="1380" y="1028"/>
                  </a:lnTo>
                  <a:lnTo>
                    <a:pt x="1380" y="1026"/>
                  </a:lnTo>
                  <a:lnTo>
                    <a:pt x="1382" y="1026"/>
                  </a:lnTo>
                  <a:lnTo>
                    <a:pt x="1384" y="1026"/>
                  </a:lnTo>
                  <a:lnTo>
                    <a:pt x="1386" y="1026"/>
                  </a:lnTo>
                  <a:lnTo>
                    <a:pt x="1388" y="1026"/>
                  </a:lnTo>
                  <a:lnTo>
                    <a:pt x="1390" y="1026"/>
                  </a:lnTo>
                  <a:lnTo>
                    <a:pt x="1392" y="1026"/>
                  </a:lnTo>
                  <a:lnTo>
                    <a:pt x="1394" y="1026"/>
                  </a:lnTo>
                  <a:lnTo>
                    <a:pt x="1394" y="1024"/>
                  </a:lnTo>
                  <a:lnTo>
                    <a:pt x="1396" y="1024"/>
                  </a:lnTo>
                  <a:lnTo>
                    <a:pt x="1396" y="1022"/>
                  </a:lnTo>
                  <a:lnTo>
                    <a:pt x="1398" y="1020"/>
                  </a:lnTo>
                  <a:lnTo>
                    <a:pt x="1398" y="1018"/>
                  </a:lnTo>
                  <a:lnTo>
                    <a:pt x="1398" y="1016"/>
                  </a:lnTo>
                  <a:lnTo>
                    <a:pt x="1398" y="1014"/>
                  </a:lnTo>
                  <a:lnTo>
                    <a:pt x="1398" y="1012"/>
                  </a:lnTo>
                  <a:lnTo>
                    <a:pt x="1399" y="1012"/>
                  </a:lnTo>
                  <a:lnTo>
                    <a:pt x="1399" y="1010"/>
                  </a:lnTo>
                  <a:lnTo>
                    <a:pt x="1401" y="1010"/>
                  </a:lnTo>
                  <a:lnTo>
                    <a:pt x="1405" y="1008"/>
                  </a:lnTo>
                  <a:lnTo>
                    <a:pt x="1407" y="1008"/>
                  </a:lnTo>
                  <a:lnTo>
                    <a:pt x="1407" y="1007"/>
                  </a:lnTo>
                  <a:lnTo>
                    <a:pt x="1409" y="1007"/>
                  </a:lnTo>
                  <a:lnTo>
                    <a:pt x="1407" y="1007"/>
                  </a:lnTo>
                  <a:lnTo>
                    <a:pt x="1405" y="1005"/>
                  </a:lnTo>
                  <a:lnTo>
                    <a:pt x="1401" y="1003"/>
                  </a:lnTo>
                  <a:lnTo>
                    <a:pt x="1401" y="1001"/>
                  </a:lnTo>
                  <a:lnTo>
                    <a:pt x="1399" y="1001"/>
                  </a:lnTo>
                  <a:lnTo>
                    <a:pt x="1398" y="999"/>
                  </a:lnTo>
                  <a:lnTo>
                    <a:pt x="1396" y="995"/>
                  </a:lnTo>
                  <a:lnTo>
                    <a:pt x="1392" y="993"/>
                  </a:lnTo>
                  <a:lnTo>
                    <a:pt x="1392" y="991"/>
                  </a:lnTo>
                  <a:lnTo>
                    <a:pt x="1394" y="991"/>
                  </a:lnTo>
                  <a:lnTo>
                    <a:pt x="1394" y="989"/>
                  </a:lnTo>
                  <a:lnTo>
                    <a:pt x="1392" y="987"/>
                  </a:lnTo>
                  <a:lnTo>
                    <a:pt x="1390" y="985"/>
                  </a:lnTo>
                  <a:lnTo>
                    <a:pt x="1390" y="984"/>
                  </a:lnTo>
                  <a:lnTo>
                    <a:pt x="1390" y="982"/>
                  </a:lnTo>
                  <a:lnTo>
                    <a:pt x="1388" y="982"/>
                  </a:lnTo>
                  <a:lnTo>
                    <a:pt x="1388" y="980"/>
                  </a:lnTo>
                  <a:lnTo>
                    <a:pt x="1388" y="978"/>
                  </a:lnTo>
                  <a:lnTo>
                    <a:pt x="1386" y="978"/>
                  </a:lnTo>
                  <a:lnTo>
                    <a:pt x="1384" y="976"/>
                  </a:lnTo>
                  <a:lnTo>
                    <a:pt x="1386" y="976"/>
                  </a:lnTo>
                  <a:lnTo>
                    <a:pt x="1384" y="974"/>
                  </a:lnTo>
                  <a:lnTo>
                    <a:pt x="1382" y="974"/>
                  </a:lnTo>
                  <a:lnTo>
                    <a:pt x="1382" y="972"/>
                  </a:lnTo>
                  <a:lnTo>
                    <a:pt x="1382" y="974"/>
                  </a:lnTo>
                  <a:lnTo>
                    <a:pt x="1380" y="974"/>
                  </a:lnTo>
                  <a:lnTo>
                    <a:pt x="1380" y="976"/>
                  </a:lnTo>
                  <a:lnTo>
                    <a:pt x="1378" y="976"/>
                  </a:lnTo>
                  <a:lnTo>
                    <a:pt x="1376" y="978"/>
                  </a:lnTo>
                  <a:lnTo>
                    <a:pt x="1374" y="978"/>
                  </a:lnTo>
                  <a:lnTo>
                    <a:pt x="1374" y="980"/>
                  </a:lnTo>
                  <a:lnTo>
                    <a:pt x="1374" y="982"/>
                  </a:lnTo>
                  <a:lnTo>
                    <a:pt x="1373" y="982"/>
                  </a:lnTo>
                  <a:lnTo>
                    <a:pt x="1373" y="984"/>
                  </a:lnTo>
                  <a:lnTo>
                    <a:pt x="1373" y="985"/>
                  </a:lnTo>
                  <a:lnTo>
                    <a:pt x="1374" y="985"/>
                  </a:lnTo>
                  <a:lnTo>
                    <a:pt x="1373" y="985"/>
                  </a:lnTo>
                  <a:lnTo>
                    <a:pt x="1371" y="984"/>
                  </a:lnTo>
                  <a:lnTo>
                    <a:pt x="1369" y="982"/>
                  </a:lnTo>
                  <a:lnTo>
                    <a:pt x="1367" y="980"/>
                  </a:lnTo>
                  <a:lnTo>
                    <a:pt x="1365" y="980"/>
                  </a:lnTo>
                  <a:lnTo>
                    <a:pt x="1363" y="982"/>
                  </a:lnTo>
                  <a:lnTo>
                    <a:pt x="1363" y="984"/>
                  </a:lnTo>
                  <a:lnTo>
                    <a:pt x="1359" y="985"/>
                  </a:lnTo>
                  <a:lnTo>
                    <a:pt x="1357" y="985"/>
                  </a:lnTo>
                  <a:lnTo>
                    <a:pt x="1357" y="987"/>
                  </a:lnTo>
                  <a:lnTo>
                    <a:pt x="1357" y="985"/>
                  </a:lnTo>
                  <a:lnTo>
                    <a:pt x="1357" y="987"/>
                  </a:lnTo>
                  <a:lnTo>
                    <a:pt x="1355" y="985"/>
                  </a:lnTo>
                  <a:lnTo>
                    <a:pt x="1353" y="985"/>
                  </a:lnTo>
                  <a:lnTo>
                    <a:pt x="1353" y="987"/>
                  </a:lnTo>
                  <a:lnTo>
                    <a:pt x="1353" y="985"/>
                  </a:lnTo>
                  <a:lnTo>
                    <a:pt x="1353" y="987"/>
                  </a:lnTo>
                  <a:lnTo>
                    <a:pt x="1351" y="987"/>
                  </a:lnTo>
                  <a:lnTo>
                    <a:pt x="1351" y="989"/>
                  </a:lnTo>
                  <a:lnTo>
                    <a:pt x="1350" y="989"/>
                  </a:lnTo>
                  <a:lnTo>
                    <a:pt x="1348" y="989"/>
                  </a:lnTo>
                  <a:lnTo>
                    <a:pt x="1348" y="991"/>
                  </a:lnTo>
                  <a:lnTo>
                    <a:pt x="1346" y="991"/>
                  </a:lnTo>
                  <a:lnTo>
                    <a:pt x="1346" y="993"/>
                  </a:lnTo>
                  <a:lnTo>
                    <a:pt x="1344" y="993"/>
                  </a:lnTo>
                  <a:lnTo>
                    <a:pt x="1342" y="993"/>
                  </a:lnTo>
                  <a:lnTo>
                    <a:pt x="1340" y="993"/>
                  </a:lnTo>
                  <a:lnTo>
                    <a:pt x="1340" y="989"/>
                  </a:lnTo>
                  <a:lnTo>
                    <a:pt x="1338" y="989"/>
                  </a:lnTo>
                  <a:lnTo>
                    <a:pt x="1338" y="987"/>
                  </a:lnTo>
                  <a:lnTo>
                    <a:pt x="1340" y="985"/>
                  </a:lnTo>
                  <a:lnTo>
                    <a:pt x="1340" y="984"/>
                  </a:lnTo>
                  <a:lnTo>
                    <a:pt x="1342" y="984"/>
                  </a:lnTo>
                  <a:lnTo>
                    <a:pt x="1342" y="982"/>
                  </a:lnTo>
                  <a:lnTo>
                    <a:pt x="1342" y="980"/>
                  </a:lnTo>
                  <a:lnTo>
                    <a:pt x="1342" y="978"/>
                  </a:lnTo>
                  <a:lnTo>
                    <a:pt x="1340" y="978"/>
                  </a:lnTo>
                  <a:lnTo>
                    <a:pt x="1340" y="974"/>
                  </a:lnTo>
                  <a:lnTo>
                    <a:pt x="1338" y="974"/>
                  </a:lnTo>
                  <a:lnTo>
                    <a:pt x="1338" y="976"/>
                  </a:lnTo>
                  <a:lnTo>
                    <a:pt x="1336" y="976"/>
                  </a:lnTo>
                  <a:lnTo>
                    <a:pt x="1334" y="976"/>
                  </a:lnTo>
                  <a:lnTo>
                    <a:pt x="1334" y="968"/>
                  </a:lnTo>
                  <a:lnTo>
                    <a:pt x="1336" y="966"/>
                  </a:lnTo>
                  <a:lnTo>
                    <a:pt x="1336" y="968"/>
                  </a:lnTo>
                  <a:lnTo>
                    <a:pt x="1338" y="968"/>
                  </a:lnTo>
                  <a:lnTo>
                    <a:pt x="1340" y="966"/>
                  </a:lnTo>
                  <a:lnTo>
                    <a:pt x="1342" y="966"/>
                  </a:lnTo>
                  <a:lnTo>
                    <a:pt x="1344" y="964"/>
                  </a:lnTo>
                  <a:lnTo>
                    <a:pt x="1342" y="964"/>
                  </a:lnTo>
                  <a:lnTo>
                    <a:pt x="1340" y="964"/>
                  </a:lnTo>
                  <a:lnTo>
                    <a:pt x="1338" y="964"/>
                  </a:lnTo>
                  <a:lnTo>
                    <a:pt x="1338" y="962"/>
                  </a:lnTo>
                  <a:lnTo>
                    <a:pt x="1340" y="960"/>
                  </a:lnTo>
                  <a:lnTo>
                    <a:pt x="1340" y="959"/>
                  </a:lnTo>
                  <a:lnTo>
                    <a:pt x="1342" y="955"/>
                  </a:lnTo>
                  <a:lnTo>
                    <a:pt x="1334" y="949"/>
                  </a:lnTo>
                  <a:lnTo>
                    <a:pt x="1334" y="947"/>
                  </a:lnTo>
                  <a:lnTo>
                    <a:pt x="1330" y="947"/>
                  </a:lnTo>
                  <a:lnTo>
                    <a:pt x="1328" y="947"/>
                  </a:lnTo>
                  <a:lnTo>
                    <a:pt x="1325" y="947"/>
                  </a:lnTo>
                  <a:lnTo>
                    <a:pt x="1325" y="945"/>
                  </a:lnTo>
                  <a:lnTo>
                    <a:pt x="1321" y="943"/>
                  </a:lnTo>
                  <a:lnTo>
                    <a:pt x="1323" y="943"/>
                  </a:lnTo>
                  <a:lnTo>
                    <a:pt x="1319" y="939"/>
                  </a:lnTo>
                  <a:lnTo>
                    <a:pt x="1315" y="939"/>
                  </a:lnTo>
                  <a:lnTo>
                    <a:pt x="1313" y="939"/>
                  </a:lnTo>
                  <a:lnTo>
                    <a:pt x="1313" y="941"/>
                  </a:lnTo>
                  <a:lnTo>
                    <a:pt x="1311" y="941"/>
                  </a:lnTo>
                  <a:lnTo>
                    <a:pt x="1309" y="943"/>
                  </a:lnTo>
                  <a:lnTo>
                    <a:pt x="1309" y="945"/>
                  </a:lnTo>
                  <a:lnTo>
                    <a:pt x="1309" y="943"/>
                  </a:lnTo>
                  <a:lnTo>
                    <a:pt x="1307" y="943"/>
                  </a:lnTo>
                  <a:lnTo>
                    <a:pt x="1305" y="943"/>
                  </a:lnTo>
                  <a:lnTo>
                    <a:pt x="1303" y="943"/>
                  </a:lnTo>
                  <a:lnTo>
                    <a:pt x="1302" y="945"/>
                  </a:lnTo>
                  <a:lnTo>
                    <a:pt x="1302" y="943"/>
                  </a:lnTo>
                  <a:lnTo>
                    <a:pt x="1300" y="943"/>
                  </a:lnTo>
                  <a:lnTo>
                    <a:pt x="1298" y="943"/>
                  </a:lnTo>
                  <a:lnTo>
                    <a:pt x="1298" y="945"/>
                  </a:lnTo>
                  <a:lnTo>
                    <a:pt x="1298" y="943"/>
                  </a:lnTo>
                  <a:lnTo>
                    <a:pt x="1296" y="943"/>
                  </a:lnTo>
                  <a:lnTo>
                    <a:pt x="1294" y="943"/>
                  </a:lnTo>
                  <a:lnTo>
                    <a:pt x="1294" y="945"/>
                  </a:lnTo>
                  <a:lnTo>
                    <a:pt x="1292" y="943"/>
                  </a:lnTo>
                  <a:lnTo>
                    <a:pt x="1290" y="945"/>
                  </a:lnTo>
                  <a:lnTo>
                    <a:pt x="1288" y="945"/>
                  </a:lnTo>
                  <a:lnTo>
                    <a:pt x="1282" y="949"/>
                  </a:lnTo>
                  <a:lnTo>
                    <a:pt x="1282" y="947"/>
                  </a:lnTo>
                  <a:lnTo>
                    <a:pt x="1280" y="947"/>
                  </a:lnTo>
                  <a:lnTo>
                    <a:pt x="1279" y="947"/>
                  </a:lnTo>
                  <a:lnTo>
                    <a:pt x="1277" y="947"/>
                  </a:lnTo>
                  <a:lnTo>
                    <a:pt x="1277" y="945"/>
                  </a:lnTo>
                  <a:lnTo>
                    <a:pt x="1275" y="945"/>
                  </a:lnTo>
                  <a:lnTo>
                    <a:pt x="1275" y="943"/>
                  </a:lnTo>
                  <a:lnTo>
                    <a:pt x="1273" y="943"/>
                  </a:lnTo>
                  <a:lnTo>
                    <a:pt x="1273" y="945"/>
                  </a:lnTo>
                  <a:lnTo>
                    <a:pt x="1273" y="943"/>
                  </a:lnTo>
                  <a:lnTo>
                    <a:pt x="1271" y="943"/>
                  </a:lnTo>
                  <a:lnTo>
                    <a:pt x="1271" y="945"/>
                  </a:lnTo>
                  <a:lnTo>
                    <a:pt x="1269" y="945"/>
                  </a:lnTo>
                  <a:lnTo>
                    <a:pt x="1267" y="943"/>
                  </a:lnTo>
                  <a:lnTo>
                    <a:pt x="1267" y="941"/>
                  </a:lnTo>
                  <a:lnTo>
                    <a:pt x="1265" y="941"/>
                  </a:lnTo>
                  <a:lnTo>
                    <a:pt x="1263" y="941"/>
                  </a:lnTo>
                  <a:lnTo>
                    <a:pt x="1261" y="943"/>
                  </a:lnTo>
                  <a:lnTo>
                    <a:pt x="1259" y="943"/>
                  </a:lnTo>
                  <a:lnTo>
                    <a:pt x="1257" y="943"/>
                  </a:lnTo>
                  <a:lnTo>
                    <a:pt x="1254" y="945"/>
                  </a:lnTo>
                  <a:lnTo>
                    <a:pt x="1254" y="941"/>
                  </a:lnTo>
                  <a:lnTo>
                    <a:pt x="1252" y="941"/>
                  </a:lnTo>
                  <a:lnTo>
                    <a:pt x="1250" y="939"/>
                  </a:lnTo>
                  <a:lnTo>
                    <a:pt x="1248" y="939"/>
                  </a:lnTo>
                  <a:lnTo>
                    <a:pt x="1246" y="939"/>
                  </a:lnTo>
                  <a:lnTo>
                    <a:pt x="1244" y="939"/>
                  </a:lnTo>
                  <a:lnTo>
                    <a:pt x="1242" y="939"/>
                  </a:lnTo>
                  <a:lnTo>
                    <a:pt x="1240" y="939"/>
                  </a:lnTo>
                  <a:lnTo>
                    <a:pt x="1238" y="941"/>
                  </a:lnTo>
                  <a:lnTo>
                    <a:pt x="1238" y="939"/>
                  </a:lnTo>
                  <a:lnTo>
                    <a:pt x="1232" y="928"/>
                  </a:lnTo>
                  <a:lnTo>
                    <a:pt x="1236" y="928"/>
                  </a:lnTo>
                  <a:lnTo>
                    <a:pt x="1234" y="922"/>
                  </a:lnTo>
                  <a:lnTo>
                    <a:pt x="1229" y="918"/>
                  </a:lnTo>
                  <a:lnTo>
                    <a:pt x="1223" y="914"/>
                  </a:lnTo>
                  <a:lnTo>
                    <a:pt x="1215" y="911"/>
                  </a:lnTo>
                  <a:lnTo>
                    <a:pt x="1175" y="891"/>
                  </a:lnTo>
                  <a:lnTo>
                    <a:pt x="1161" y="886"/>
                  </a:lnTo>
                  <a:lnTo>
                    <a:pt x="1156" y="884"/>
                  </a:lnTo>
                  <a:lnTo>
                    <a:pt x="1156" y="882"/>
                  </a:lnTo>
                  <a:lnTo>
                    <a:pt x="1156" y="870"/>
                  </a:lnTo>
                  <a:lnTo>
                    <a:pt x="1154" y="857"/>
                  </a:lnTo>
                  <a:lnTo>
                    <a:pt x="1154" y="851"/>
                  </a:lnTo>
                  <a:lnTo>
                    <a:pt x="1154" y="849"/>
                  </a:lnTo>
                  <a:lnTo>
                    <a:pt x="1154" y="847"/>
                  </a:lnTo>
                  <a:lnTo>
                    <a:pt x="1156" y="843"/>
                  </a:lnTo>
                  <a:lnTo>
                    <a:pt x="1156" y="839"/>
                  </a:lnTo>
                  <a:lnTo>
                    <a:pt x="1156" y="838"/>
                  </a:lnTo>
                  <a:lnTo>
                    <a:pt x="1156" y="836"/>
                  </a:lnTo>
                  <a:lnTo>
                    <a:pt x="1156" y="834"/>
                  </a:lnTo>
                  <a:lnTo>
                    <a:pt x="1156" y="832"/>
                  </a:lnTo>
                  <a:lnTo>
                    <a:pt x="1156" y="830"/>
                  </a:lnTo>
                  <a:lnTo>
                    <a:pt x="1158" y="830"/>
                  </a:lnTo>
                  <a:lnTo>
                    <a:pt x="1158" y="828"/>
                  </a:lnTo>
                  <a:lnTo>
                    <a:pt x="1158" y="826"/>
                  </a:lnTo>
                  <a:lnTo>
                    <a:pt x="1156" y="826"/>
                  </a:lnTo>
                  <a:lnTo>
                    <a:pt x="1156" y="824"/>
                  </a:lnTo>
                  <a:lnTo>
                    <a:pt x="1156" y="822"/>
                  </a:lnTo>
                  <a:lnTo>
                    <a:pt x="1156" y="820"/>
                  </a:lnTo>
                  <a:lnTo>
                    <a:pt x="1154" y="818"/>
                  </a:lnTo>
                  <a:lnTo>
                    <a:pt x="1146" y="814"/>
                  </a:lnTo>
                  <a:lnTo>
                    <a:pt x="1146" y="813"/>
                  </a:lnTo>
                  <a:lnTo>
                    <a:pt x="1144" y="813"/>
                  </a:lnTo>
                  <a:lnTo>
                    <a:pt x="1144" y="811"/>
                  </a:lnTo>
                  <a:lnTo>
                    <a:pt x="1138" y="805"/>
                  </a:lnTo>
                  <a:lnTo>
                    <a:pt x="1133" y="797"/>
                  </a:lnTo>
                  <a:lnTo>
                    <a:pt x="1125" y="788"/>
                  </a:lnTo>
                  <a:lnTo>
                    <a:pt x="1123" y="778"/>
                  </a:lnTo>
                  <a:lnTo>
                    <a:pt x="1110" y="774"/>
                  </a:lnTo>
                  <a:lnTo>
                    <a:pt x="1098" y="770"/>
                  </a:lnTo>
                  <a:lnTo>
                    <a:pt x="1096" y="770"/>
                  </a:lnTo>
                  <a:lnTo>
                    <a:pt x="1094" y="770"/>
                  </a:lnTo>
                  <a:lnTo>
                    <a:pt x="1094" y="772"/>
                  </a:lnTo>
                  <a:lnTo>
                    <a:pt x="1092" y="774"/>
                  </a:lnTo>
                  <a:lnTo>
                    <a:pt x="1090" y="776"/>
                  </a:lnTo>
                  <a:lnTo>
                    <a:pt x="1089" y="778"/>
                  </a:lnTo>
                  <a:lnTo>
                    <a:pt x="1089" y="782"/>
                  </a:lnTo>
                  <a:lnTo>
                    <a:pt x="1087" y="782"/>
                  </a:lnTo>
                  <a:lnTo>
                    <a:pt x="1087" y="784"/>
                  </a:lnTo>
                  <a:lnTo>
                    <a:pt x="1083" y="786"/>
                  </a:lnTo>
                  <a:lnTo>
                    <a:pt x="1079" y="790"/>
                  </a:lnTo>
                  <a:lnTo>
                    <a:pt x="1077" y="791"/>
                  </a:lnTo>
                  <a:lnTo>
                    <a:pt x="1062" y="791"/>
                  </a:lnTo>
                  <a:lnTo>
                    <a:pt x="1058" y="793"/>
                  </a:lnTo>
                  <a:lnTo>
                    <a:pt x="1056" y="795"/>
                  </a:lnTo>
                  <a:lnTo>
                    <a:pt x="1056" y="797"/>
                  </a:lnTo>
                  <a:lnTo>
                    <a:pt x="1056" y="799"/>
                  </a:lnTo>
                  <a:lnTo>
                    <a:pt x="1054" y="801"/>
                  </a:lnTo>
                  <a:lnTo>
                    <a:pt x="1052" y="801"/>
                  </a:lnTo>
                  <a:lnTo>
                    <a:pt x="1050" y="801"/>
                  </a:lnTo>
                  <a:lnTo>
                    <a:pt x="1042" y="811"/>
                  </a:lnTo>
                  <a:lnTo>
                    <a:pt x="1035" y="818"/>
                  </a:lnTo>
                  <a:lnTo>
                    <a:pt x="1016" y="811"/>
                  </a:lnTo>
                  <a:lnTo>
                    <a:pt x="1012" y="809"/>
                  </a:lnTo>
                  <a:lnTo>
                    <a:pt x="1004" y="807"/>
                  </a:lnTo>
                  <a:lnTo>
                    <a:pt x="993" y="803"/>
                  </a:lnTo>
                  <a:lnTo>
                    <a:pt x="991" y="803"/>
                  </a:lnTo>
                  <a:lnTo>
                    <a:pt x="989" y="801"/>
                  </a:lnTo>
                  <a:lnTo>
                    <a:pt x="983" y="799"/>
                  </a:lnTo>
                  <a:lnTo>
                    <a:pt x="979" y="799"/>
                  </a:lnTo>
                  <a:lnTo>
                    <a:pt x="973" y="797"/>
                  </a:lnTo>
                  <a:lnTo>
                    <a:pt x="973" y="799"/>
                  </a:lnTo>
                  <a:lnTo>
                    <a:pt x="973" y="801"/>
                  </a:lnTo>
                  <a:lnTo>
                    <a:pt x="971" y="801"/>
                  </a:lnTo>
                  <a:lnTo>
                    <a:pt x="971" y="803"/>
                  </a:lnTo>
                  <a:lnTo>
                    <a:pt x="971" y="805"/>
                  </a:lnTo>
                  <a:lnTo>
                    <a:pt x="970" y="805"/>
                  </a:lnTo>
                  <a:lnTo>
                    <a:pt x="970" y="807"/>
                  </a:lnTo>
                  <a:lnTo>
                    <a:pt x="970" y="809"/>
                  </a:lnTo>
                  <a:lnTo>
                    <a:pt x="970" y="811"/>
                  </a:lnTo>
                  <a:lnTo>
                    <a:pt x="968" y="811"/>
                  </a:lnTo>
                  <a:lnTo>
                    <a:pt x="968" y="813"/>
                  </a:lnTo>
                  <a:lnTo>
                    <a:pt x="966" y="813"/>
                  </a:lnTo>
                  <a:lnTo>
                    <a:pt x="964" y="813"/>
                  </a:lnTo>
                  <a:lnTo>
                    <a:pt x="952" y="813"/>
                  </a:lnTo>
                  <a:lnTo>
                    <a:pt x="946" y="813"/>
                  </a:lnTo>
                  <a:lnTo>
                    <a:pt x="931" y="813"/>
                  </a:lnTo>
                  <a:lnTo>
                    <a:pt x="927" y="813"/>
                  </a:lnTo>
                  <a:lnTo>
                    <a:pt x="918" y="811"/>
                  </a:lnTo>
                  <a:lnTo>
                    <a:pt x="900" y="805"/>
                  </a:lnTo>
                  <a:lnTo>
                    <a:pt x="893" y="807"/>
                  </a:lnTo>
                  <a:lnTo>
                    <a:pt x="877" y="811"/>
                  </a:lnTo>
                  <a:lnTo>
                    <a:pt x="875" y="809"/>
                  </a:lnTo>
                  <a:lnTo>
                    <a:pt x="868" y="799"/>
                  </a:lnTo>
                  <a:lnTo>
                    <a:pt x="870" y="793"/>
                  </a:lnTo>
                  <a:lnTo>
                    <a:pt x="874" y="784"/>
                  </a:lnTo>
                  <a:lnTo>
                    <a:pt x="881" y="759"/>
                  </a:lnTo>
                  <a:lnTo>
                    <a:pt x="885" y="749"/>
                  </a:lnTo>
                  <a:lnTo>
                    <a:pt x="852" y="724"/>
                  </a:lnTo>
                  <a:lnTo>
                    <a:pt x="851" y="722"/>
                  </a:lnTo>
                  <a:lnTo>
                    <a:pt x="847" y="726"/>
                  </a:lnTo>
                  <a:lnTo>
                    <a:pt x="845" y="726"/>
                  </a:lnTo>
                  <a:lnTo>
                    <a:pt x="841" y="726"/>
                  </a:lnTo>
                  <a:lnTo>
                    <a:pt x="829" y="728"/>
                  </a:lnTo>
                  <a:lnTo>
                    <a:pt x="826" y="730"/>
                  </a:lnTo>
                  <a:lnTo>
                    <a:pt x="816" y="738"/>
                  </a:lnTo>
                  <a:lnTo>
                    <a:pt x="812" y="736"/>
                  </a:lnTo>
                  <a:lnTo>
                    <a:pt x="804" y="734"/>
                  </a:lnTo>
                  <a:lnTo>
                    <a:pt x="791" y="728"/>
                  </a:lnTo>
                  <a:lnTo>
                    <a:pt x="793" y="697"/>
                  </a:lnTo>
                  <a:lnTo>
                    <a:pt x="793" y="684"/>
                  </a:lnTo>
                  <a:lnTo>
                    <a:pt x="791" y="682"/>
                  </a:lnTo>
                  <a:lnTo>
                    <a:pt x="789" y="680"/>
                  </a:lnTo>
                  <a:lnTo>
                    <a:pt x="787" y="680"/>
                  </a:lnTo>
                  <a:lnTo>
                    <a:pt x="787" y="678"/>
                  </a:lnTo>
                  <a:lnTo>
                    <a:pt x="783" y="672"/>
                  </a:lnTo>
                  <a:lnTo>
                    <a:pt x="781" y="663"/>
                  </a:lnTo>
                  <a:lnTo>
                    <a:pt x="774" y="655"/>
                  </a:lnTo>
                  <a:lnTo>
                    <a:pt x="768" y="647"/>
                  </a:lnTo>
                  <a:lnTo>
                    <a:pt x="749" y="622"/>
                  </a:lnTo>
                  <a:lnTo>
                    <a:pt x="745" y="617"/>
                  </a:lnTo>
                  <a:lnTo>
                    <a:pt x="766" y="580"/>
                  </a:lnTo>
                  <a:lnTo>
                    <a:pt x="768" y="576"/>
                  </a:lnTo>
                  <a:lnTo>
                    <a:pt x="774" y="569"/>
                  </a:lnTo>
                  <a:lnTo>
                    <a:pt x="778" y="565"/>
                  </a:lnTo>
                  <a:lnTo>
                    <a:pt x="772" y="549"/>
                  </a:lnTo>
                  <a:lnTo>
                    <a:pt x="760" y="511"/>
                  </a:lnTo>
                  <a:lnTo>
                    <a:pt x="758" y="507"/>
                  </a:lnTo>
                  <a:lnTo>
                    <a:pt x="756" y="507"/>
                  </a:lnTo>
                  <a:lnTo>
                    <a:pt x="755" y="507"/>
                  </a:lnTo>
                  <a:lnTo>
                    <a:pt x="753" y="507"/>
                  </a:lnTo>
                  <a:lnTo>
                    <a:pt x="733" y="505"/>
                  </a:lnTo>
                  <a:lnTo>
                    <a:pt x="730" y="505"/>
                  </a:lnTo>
                  <a:lnTo>
                    <a:pt x="730" y="503"/>
                  </a:lnTo>
                  <a:lnTo>
                    <a:pt x="728" y="501"/>
                  </a:lnTo>
                  <a:lnTo>
                    <a:pt x="728" y="499"/>
                  </a:lnTo>
                  <a:lnTo>
                    <a:pt x="726" y="498"/>
                  </a:lnTo>
                  <a:lnTo>
                    <a:pt x="726" y="496"/>
                  </a:lnTo>
                  <a:lnTo>
                    <a:pt x="724" y="496"/>
                  </a:lnTo>
                  <a:lnTo>
                    <a:pt x="724" y="494"/>
                  </a:lnTo>
                  <a:lnTo>
                    <a:pt x="724" y="492"/>
                  </a:lnTo>
                  <a:lnTo>
                    <a:pt x="726" y="486"/>
                  </a:lnTo>
                  <a:lnTo>
                    <a:pt x="726" y="484"/>
                  </a:lnTo>
                  <a:lnTo>
                    <a:pt x="726" y="482"/>
                  </a:lnTo>
                  <a:lnTo>
                    <a:pt x="722" y="482"/>
                  </a:lnTo>
                  <a:lnTo>
                    <a:pt x="720" y="482"/>
                  </a:lnTo>
                  <a:lnTo>
                    <a:pt x="720" y="484"/>
                  </a:lnTo>
                  <a:lnTo>
                    <a:pt x="718" y="484"/>
                  </a:lnTo>
                  <a:lnTo>
                    <a:pt x="718" y="486"/>
                  </a:lnTo>
                  <a:lnTo>
                    <a:pt x="716" y="486"/>
                  </a:lnTo>
                  <a:lnTo>
                    <a:pt x="714" y="486"/>
                  </a:lnTo>
                  <a:lnTo>
                    <a:pt x="714" y="488"/>
                  </a:lnTo>
                  <a:lnTo>
                    <a:pt x="712" y="488"/>
                  </a:lnTo>
                  <a:lnTo>
                    <a:pt x="710" y="490"/>
                  </a:lnTo>
                  <a:lnTo>
                    <a:pt x="708" y="490"/>
                  </a:lnTo>
                  <a:lnTo>
                    <a:pt x="708" y="492"/>
                  </a:lnTo>
                  <a:lnTo>
                    <a:pt x="708" y="494"/>
                  </a:lnTo>
                  <a:lnTo>
                    <a:pt x="707" y="494"/>
                  </a:lnTo>
                  <a:lnTo>
                    <a:pt x="707" y="496"/>
                  </a:lnTo>
                  <a:lnTo>
                    <a:pt x="705" y="498"/>
                  </a:lnTo>
                  <a:lnTo>
                    <a:pt x="703" y="499"/>
                  </a:lnTo>
                  <a:lnTo>
                    <a:pt x="699" y="501"/>
                  </a:lnTo>
                  <a:lnTo>
                    <a:pt x="699" y="503"/>
                  </a:lnTo>
                  <a:lnTo>
                    <a:pt x="697" y="505"/>
                  </a:lnTo>
                  <a:lnTo>
                    <a:pt x="697" y="509"/>
                  </a:lnTo>
                  <a:lnTo>
                    <a:pt x="695" y="513"/>
                  </a:lnTo>
                  <a:lnTo>
                    <a:pt x="695" y="515"/>
                  </a:lnTo>
                  <a:lnTo>
                    <a:pt x="695" y="517"/>
                  </a:lnTo>
                  <a:lnTo>
                    <a:pt x="697" y="517"/>
                  </a:lnTo>
                  <a:lnTo>
                    <a:pt x="697" y="519"/>
                  </a:lnTo>
                  <a:lnTo>
                    <a:pt x="697" y="521"/>
                  </a:lnTo>
                  <a:lnTo>
                    <a:pt x="697" y="523"/>
                  </a:lnTo>
                  <a:lnTo>
                    <a:pt x="697" y="524"/>
                  </a:lnTo>
                  <a:lnTo>
                    <a:pt x="697" y="526"/>
                  </a:lnTo>
                  <a:lnTo>
                    <a:pt x="697" y="528"/>
                  </a:lnTo>
                  <a:lnTo>
                    <a:pt x="695" y="530"/>
                  </a:lnTo>
                  <a:lnTo>
                    <a:pt x="693" y="530"/>
                  </a:lnTo>
                  <a:lnTo>
                    <a:pt x="693" y="532"/>
                  </a:lnTo>
                  <a:lnTo>
                    <a:pt x="691" y="532"/>
                  </a:lnTo>
                  <a:lnTo>
                    <a:pt x="691" y="534"/>
                  </a:lnTo>
                  <a:lnTo>
                    <a:pt x="693" y="534"/>
                  </a:lnTo>
                  <a:lnTo>
                    <a:pt x="691" y="538"/>
                  </a:lnTo>
                  <a:lnTo>
                    <a:pt x="691" y="540"/>
                  </a:lnTo>
                  <a:lnTo>
                    <a:pt x="691" y="542"/>
                  </a:lnTo>
                  <a:lnTo>
                    <a:pt x="689" y="542"/>
                  </a:lnTo>
                  <a:lnTo>
                    <a:pt x="687" y="542"/>
                  </a:lnTo>
                  <a:lnTo>
                    <a:pt x="687" y="544"/>
                  </a:lnTo>
                  <a:lnTo>
                    <a:pt x="685" y="546"/>
                  </a:lnTo>
                  <a:lnTo>
                    <a:pt x="684" y="547"/>
                  </a:lnTo>
                  <a:lnTo>
                    <a:pt x="682" y="547"/>
                  </a:lnTo>
                  <a:lnTo>
                    <a:pt x="672" y="555"/>
                  </a:lnTo>
                  <a:lnTo>
                    <a:pt x="662" y="561"/>
                  </a:lnTo>
                  <a:lnTo>
                    <a:pt x="653" y="569"/>
                  </a:lnTo>
                  <a:lnTo>
                    <a:pt x="649" y="572"/>
                  </a:lnTo>
                  <a:lnTo>
                    <a:pt x="637" y="584"/>
                  </a:lnTo>
                  <a:lnTo>
                    <a:pt x="637" y="586"/>
                  </a:lnTo>
                  <a:lnTo>
                    <a:pt x="628" y="595"/>
                  </a:lnTo>
                  <a:lnTo>
                    <a:pt x="622" y="601"/>
                  </a:lnTo>
                  <a:lnTo>
                    <a:pt x="620" y="603"/>
                  </a:lnTo>
                  <a:lnTo>
                    <a:pt x="620" y="597"/>
                  </a:lnTo>
                  <a:lnTo>
                    <a:pt x="618" y="599"/>
                  </a:lnTo>
                  <a:lnTo>
                    <a:pt x="616" y="599"/>
                  </a:lnTo>
                  <a:lnTo>
                    <a:pt x="616" y="601"/>
                  </a:lnTo>
                  <a:lnTo>
                    <a:pt x="616" y="603"/>
                  </a:lnTo>
                  <a:lnTo>
                    <a:pt x="620" y="605"/>
                  </a:lnTo>
                  <a:lnTo>
                    <a:pt x="613" y="607"/>
                  </a:lnTo>
                  <a:lnTo>
                    <a:pt x="607" y="603"/>
                  </a:lnTo>
                  <a:lnTo>
                    <a:pt x="609" y="603"/>
                  </a:lnTo>
                  <a:lnTo>
                    <a:pt x="611" y="601"/>
                  </a:lnTo>
                  <a:lnTo>
                    <a:pt x="616" y="601"/>
                  </a:lnTo>
                  <a:lnTo>
                    <a:pt x="616" y="599"/>
                  </a:lnTo>
                  <a:lnTo>
                    <a:pt x="613" y="599"/>
                  </a:lnTo>
                  <a:lnTo>
                    <a:pt x="611" y="599"/>
                  </a:lnTo>
                  <a:lnTo>
                    <a:pt x="609" y="599"/>
                  </a:lnTo>
                  <a:lnTo>
                    <a:pt x="611" y="597"/>
                  </a:lnTo>
                  <a:lnTo>
                    <a:pt x="605" y="594"/>
                  </a:lnTo>
                  <a:lnTo>
                    <a:pt x="603" y="590"/>
                  </a:lnTo>
                  <a:lnTo>
                    <a:pt x="605" y="586"/>
                  </a:lnTo>
                  <a:lnTo>
                    <a:pt x="603" y="586"/>
                  </a:lnTo>
                  <a:lnTo>
                    <a:pt x="603" y="584"/>
                  </a:lnTo>
                  <a:lnTo>
                    <a:pt x="601" y="584"/>
                  </a:lnTo>
                  <a:lnTo>
                    <a:pt x="601" y="582"/>
                  </a:lnTo>
                  <a:lnTo>
                    <a:pt x="599" y="582"/>
                  </a:lnTo>
                  <a:lnTo>
                    <a:pt x="601" y="580"/>
                  </a:lnTo>
                  <a:lnTo>
                    <a:pt x="601" y="578"/>
                  </a:lnTo>
                  <a:lnTo>
                    <a:pt x="599" y="580"/>
                  </a:lnTo>
                  <a:lnTo>
                    <a:pt x="599" y="582"/>
                  </a:lnTo>
                  <a:lnTo>
                    <a:pt x="597" y="582"/>
                  </a:lnTo>
                  <a:lnTo>
                    <a:pt x="597" y="580"/>
                  </a:lnTo>
                  <a:lnTo>
                    <a:pt x="597" y="578"/>
                  </a:lnTo>
                  <a:lnTo>
                    <a:pt x="599" y="578"/>
                  </a:lnTo>
                  <a:lnTo>
                    <a:pt x="599" y="576"/>
                  </a:lnTo>
                  <a:lnTo>
                    <a:pt x="597" y="578"/>
                  </a:lnTo>
                  <a:lnTo>
                    <a:pt x="597" y="576"/>
                  </a:lnTo>
                  <a:lnTo>
                    <a:pt x="595" y="576"/>
                  </a:lnTo>
                  <a:lnTo>
                    <a:pt x="597" y="576"/>
                  </a:lnTo>
                  <a:lnTo>
                    <a:pt x="595" y="576"/>
                  </a:lnTo>
                  <a:lnTo>
                    <a:pt x="595" y="578"/>
                  </a:lnTo>
                  <a:lnTo>
                    <a:pt x="595" y="580"/>
                  </a:lnTo>
                  <a:lnTo>
                    <a:pt x="593" y="580"/>
                  </a:lnTo>
                  <a:lnTo>
                    <a:pt x="593" y="578"/>
                  </a:lnTo>
                  <a:lnTo>
                    <a:pt x="591" y="578"/>
                  </a:lnTo>
                  <a:lnTo>
                    <a:pt x="589" y="576"/>
                  </a:lnTo>
                  <a:lnTo>
                    <a:pt x="589" y="574"/>
                  </a:lnTo>
                  <a:lnTo>
                    <a:pt x="588" y="574"/>
                  </a:lnTo>
                  <a:lnTo>
                    <a:pt x="586" y="574"/>
                  </a:lnTo>
                  <a:lnTo>
                    <a:pt x="586" y="572"/>
                  </a:lnTo>
                  <a:lnTo>
                    <a:pt x="584" y="572"/>
                  </a:lnTo>
                  <a:lnTo>
                    <a:pt x="582" y="572"/>
                  </a:lnTo>
                  <a:lnTo>
                    <a:pt x="582" y="574"/>
                  </a:lnTo>
                  <a:lnTo>
                    <a:pt x="580" y="574"/>
                  </a:lnTo>
                  <a:lnTo>
                    <a:pt x="578" y="574"/>
                  </a:lnTo>
                  <a:lnTo>
                    <a:pt x="578" y="572"/>
                  </a:lnTo>
                  <a:lnTo>
                    <a:pt x="576" y="574"/>
                  </a:lnTo>
                  <a:lnTo>
                    <a:pt x="574" y="574"/>
                  </a:lnTo>
                  <a:lnTo>
                    <a:pt x="574" y="576"/>
                  </a:lnTo>
                  <a:lnTo>
                    <a:pt x="572" y="576"/>
                  </a:lnTo>
                  <a:lnTo>
                    <a:pt x="572" y="574"/>
                  </a:lnTo>
                  <a:lnTo>
                    <a:pt x="572" y="576"/>
                  </a:lnTo>
                  <a:lnTo>
                    <a:pt x="570" y="576"/>
                  </a:lnTo>
                  <a:lnTo>
                    <a:pt x="568" y="576"/>
                  </a:lnTo>
                  <a:lnTo>
                    <a:pt x="568" y="578"/>
                  </a:lnTo>
                  <a:lnTo>
                    <a:pt x="566" y="578"/>
                  </a:lnTo>
                  <a:lnTo>
                    <a:pt x="568" y="578"/>
                  </a:lnTo>
                  <a:lnTo>
                    <a:pt x="566" y="578"/>
                  </a:lnTo>
                  <a:lnTo>
                    <a:pt x="568" y="578"/>
                  </a:lnTo>
                  <a:lnTo>
                    <a:pt x="568" y="580"/>
                  </a:lnTo>
                  <a:lnTo>
                    <a:pt x="568" y="578"/>
                  </a:lnTo>
                  <a:lnTo>
                    <a:pt x="568" y="580"/>
                  </a:lnTo>
                  <a:lnTo>
                    <a:pt x="568" y="582"/>
                  </a:lnTo>
                  <a:lnTo>
                    <a:pt x="566" y="580"/>
                  </a:lnTo>
                  <a:lnTo>
                    <a:pt x="563" y="578"/>
                  </a:lnTo>
                  <a:lnTo>
                    <a:pt x="561" y="578"/>
                  </a:lnTo>
                  <a:lnTo>
                    <a:pt x="563" y="578"/>
                  </a:lnTo>
                  <a:lnTo>
                    <a:pt x="563" y="576"/>
                  </a:lnTo>
                  <a:lnTo>
                    <a:pt x="563" y="574"/>
                  </a:lnTo>
                  <a:lnTo>
                    <a:pt x="561" y="574"/>
                  </a:lnTo>
                  <a:lnTo>
                    <a:pt x="561" y="576"/>
                  </a:lnTo>
                  <a:lnTo>
                    <a:pt x="561" y="574"/>
                  </a:lnTo>
                  <a:lnTo>
                    <a:pt x="561" y="576"/>
                  </a:lnTo>
                  <a:lnTo>
                    <a:pt x="559" y="576"/>
                  </a:lnTo>
                  <a:lnTo>
                    <a:pt x="559" y="574"/>
                  </a:lnTo>
                  <a:lnTo>
                    <a:pt x="557" y="574"/>
                  </a:lnTo>
                  <a:lnTo>
                    <a:pt x="555" y="574"/>
                  </a:lnTo>
                  <a:lnTo>
                    <a:pt x="555" y="572"/>
                  </a:lnTo>
                  <a:lnTo>
                    <a:pt x="555" y="574"/>
                  </a:lnTo>
                  <a:lnTo>
                    <a:pt x="553" y="574"/>
                  </a:lnTo>
                  <a:lnTo>
                    <a:pt x="553" y="572"/>
                  </a:lnTo>
                  <a:lnTo>
                    <a:pt x="553" y="574"/>
                  </a:lnTo>
                  <a:lnTo>
                    <a:pt x="551" y="574"/>
                  </a:lnTo>
                  <a:lnTo>
                    <a:pt x="549" y="574"/>
                  </a:lnTo>
                  <a:lnTo>
                    <a:pt x="543" y="572"/>
                  </a:lnTo>
                  <a:lnTo>
                    <a:pt x="534" y="572"/>
                  </a:lnTo>
                  <a:lnTo>
                    <a:pt x="518" y="574"/>
                  </a:lnTo>
                  <a:lnTo>
                    <a:pt x="513" y="574"/>
                  </a:lnTo>
                  <a:lnTo>
                    <a:pt x="505" y="576"/>
                  </a:lnTo>
                  <a:lnTo>
                    <a:pt x="503" y="576"/>
                  </a:lnTo>
                  <a:lnTo>
                    <a:pt x="503" y="574"/>
                  </a:lnTo>
                  <a:lnTo>
                    <a:pt x="499" y="576"/>
                  </a:lnTo>
                  <a:lnTo>
                    <a:pt x="497" y="574"/>
                  </a:lnTo>
                  <a:lnTo>
                    <a:pt x="495" y="574"/>
                  </a:lnTo>
                  <a:lnTo>
                    <a:pt x="494" y="572"/>
                  </a:lnTo>
                  <a:lnTo>
                    <a:pt x="492" y="572"/>
                  </a:lnTo>
                  <a:lnTo>
                    <a:pt x="492" y="571"/>
                  </a:lnTo>
                  <a:lnTo>
                    <a:pt x="490" y="569"/>
                  </a:lnTo>
                  <a:lnTo>
                    <a:pt x="488" y="569"/>
                  </a:lnTo>
                  <a:lnTo>
                    <a:pt x="486" y="569"/>
                  </a:lnTo>
                  <a:lnTo>
                    <a:pt x="486" y="567"/>
                  </a:lnTo>
                  <a:lnTo>
                    <a:pt x="486" y="565"/>
                  </a:lnTo>
                  <a:lnTo>
                    <a:pt x="484" y="565"/>
                  </a:lnTo>
                  <a:lnTo>
                    <a:pt x="484" y="563"/>
                  </a:lnTo>
                  <a:lnTo>
                    <a:pt x="484" y="561"/>
                  </a:lnTo>
                  <a:lnTo>
                    <a:pt x="484" y="563"/>
                  </a:lnTo>
                  <a:lnTo>
                    <a:pt x="484" y="561"/>
                  </a:lnTo>
                  <a:lnTo>
                    <a:pt x="484" y="559"/>
                  </a:lnTo>
                  <a:lnTo>
                    <a:pt x="484" y="557"/>
                  </a:lnTo>
                  <a:lnTo>
                    <a:pt x="486" y="557"/>
                  </a:lnTo>
                  <a:lnTo>
                    <a:pt x="486" y="555"/>
                  </a:lnTo>
                  <a:lnTo>
                    <a:pt x="484" y="555"/>
                  </a:lnTo>
                  <a:lnTo>
                    <a:pt x="486" y="555"/>
                  </a:lnTo>
                  <a:lnTo>
                    <a:pt x="484" y="555"/>
                  </a:lnTo>
                  <a:lnTo>
                    <a:pt x="484" y="553"/>
                  </a:lnTo>
                  <a:lnTo>
                    <a:pt x="486" y="553"/>
                  </a:lnTo>
                  <a:lnTo>
                    <a:pt x="484" y="553"/>
                  </a:lnTo>
                  <a:lnTo>
                    <a:pt x="484" y="551"/>
                  </a:lnTo>
                  <a:lnTo>
                    <a:pt x="486" y="551"/>
                  </a:lnTo>
                  <a:lnTo>
                    <a:pt x="484" y="551"/>
                  </a:lnTo>
                  <a:lnTo>
                    <a:pt x="484" y="549"/>
                  </a:lnTo>
                  <a:lnTo>
                    <a:pt x="484" y="547"/>
                  </a:lnTo>
                  <a:lnTo>
                    <a:pt x="484" y="546"/>
                  </a:lnTo>
                  <a:lnTo>
                    <a:pt x="482" y="546"/>
                  </a:lnTo>
                  <a:lnTo>
                    <a:pt x="484" y="546"/>
                  </a:lnTo>
                  <a:lnTo>
                    <a:pt x="486" y="546"/>
                  </a:lnTo>
                  <a:lnTo>
                    <a:pt x="488" y="546"/>
                  </a:lnTo>
                  <a:lnTo>
                    <a:pt x="488" y="544"/>
                  </a:lnTo>
                  <a:lnTo>
                    <a:pt x="490" y="544"/>
                  </a:lnTo>
                  <a:lnTo>
                    <a:pt x="492" y="544"/>
                  </a:lnTo>
                  <a:lnTo>
                    <a:pt x="495" y="544"/>
                  </a:lnTo>
                  <a:lnTo>
                    <a:pt x="497" y="544"/>
                  </a:lnTo>
                  <a:lnTo>
                    <a:pt x="499" y="544"/>
                  </a:lnTo>
                  <a:lnTo>
                    <a:pt x="501" y="544"/>
                  </a:lnTo>
                  <a:lnTo>
                    <a:pt x="501" y="547"/>
                  </a:lnTo>
                  <a:lnTo>
                    <a:pt x="503" y="547"/>
                  </a:lnTo>
                  <a:lnTo>
                    <a:pt x="505" y="547"/>
                  </a:lnTo>
                  <a:lnTo>
                    <a:pt x="503" y="547"/>
                  </a:lnTo>
                  <a:lnTo>
                    <a:pt x="505" y="549"/>
                  </a:lnTo>
                  <a:lnTo>
                    <a:pt x="507" y="549"/>
                  </a:lnTo>
                  <a:lnTo>
                    <a:pt x="509" y="549"/>
                  </a:lnTo>
                  <a:lnTo>
                    <a:pt x="511" y="549"/>
                  </a:lnTo>
                  <a:lnTo>
                    <a:pt x="513" y="549"/>
                  </a:lnTo>
                  <a:lnTo>
                    <a:pt x="513" y="551"/>
                  </a:lnTo>
                  <a:lnTo>
                    <a:pt x="513" y="549"/>
                  </a:lnTo>
                  <a:lnTo>
                    <a:pt x="513" y="551"/>
                  </a:lnTo>
                  <a:lnTo>
                    <a:pt x="515" y="551"/>
                  </a:lnTo>
                  <a:lnTo>
                    <a:pt x="517" y="551"/>
                  </a:lnTo>
                  <a:lnTo>
                    <a:pt x="517" y="549"/>
                  </a:lnTo>
                  <a:lnTo>
                    <a:pt x="517" y="551"/>
                  </a:lnTo>
                  <a:lnTo>
                    <a:pt x="518" y="551"/>
                  </a:lnTo>
                  <a:lnTo>
                    <a:pt x="518" y="553"/>
                  </a:lnTo>
                  <a:lnTo>
                    <a:pt x="520" y="553"/>
                  </a:lnTo>
                  <a:lnTo>
                    <a:pt x="522" y="555"/>
                  </a:lnTo>
                  <a:lnTo>
                    <a:pt x="522" y="553"/>
                  </a:lnTo>
                  <a:lnTo>
                    <a:pt x="522" y="555"/>
                  </a:lnTo>
                  <a:lnTo>
                    <a:pt x="524" y="555"/>
                  </a:lnTo>
                  <a:lnTo>
                    <a:pt x="526" y="555"/>
                  </a:lnTo>
                  <a:lnTo>
                    <a:pt x="526" y="557"/>
                  </a:lnTo>
                  <a:lnTo>
                    <a:pt x="528" y="557"/>
                  </a:lnTo>
                  <a:lnTo>
                    <a:pt x="528" y="559"/>
                  </a:lnTo>
                  <a:lnTo>
                    <a:pt x="530" y="559"/>
                  </a:lnTo>
                  <a:lnTo>
                    <a:pt x="532" y="559"/>
                  </a:lnTo>
                  <a:lnTo>
                    <a:pt x="534" y="559"/>
                  </a:lnTo>
                  <a:lnTo>
                    <a:pt x="534" y="561"/>
                  </a:lnTo>
                  <a:lnTo>
                    <a:pt x="534" y="563"/>
                  </a:lnTo>
                  <a:lnTo>
                    <a:pt x="536" y="563"/>
                  </a:lnTo>
                  <a:lnTo>
                    <a:pt x="538" y="563"/>
                  </a:lnTo>
                  <a:lnTo>
                    <a:pt x="540" y="565"/>
                  </a:lnTo>
                  <a:lnTo>
                    <a:pt x="542" y="567"/>
                  </a:lnTo>
                  <a:lnTo>
                    <a:pt x="542" y="565"/>
                  </a:lnTo>
                  <a:lnTo>
                    <a:pt x="542" y="567"/>
                  </a:lnTo>
                  <a:lnTo>
                    <a:pt x="542" y="569"/>
                  </a:lnTo>
                  <a:lnTo>
                    <a:pt x="543" y="567"/>
                  </a:lnTo>
                  <a:lnTo>
                    <a:pt x="545" y="565"/>
                  </a:lnTo>
                  <a:lnTo>
                    <a:pt x="545" y="563"/>
                  </a:lnTo>
                  <a:lnTo>
                    <a:pt x="547" y="561"/>
                  </a:lnTo>
                  <a:lnTo>
                    <a:pt x="545" y="561"/>
                  </a:lnTo>
                  <a:lnTo>
                    <a:pt x="545" y="563"/>
                  </a:lnTo>
                  <a:lnTo>
                    <a:pt x="545" y="561"/>
                  </a:lnTo>
                  <a:lnTo>
                    <a:pt x="543" y="563"/>
                  </a:lnTo>
                  <a:lnTo>
                    <a:pt x="542" y="563"/>
                  </a:lnTo>
                  <a:lnTo>
                    <a:pt x="540" y="563"/>
                  </a:lnTo>
                  <a:lnTo>
                    <a:pt x="538" y="563"/>
                  </a:lnTo>
                  <a:lnTo>
                    <a:pt x="538" y="561"/>
                  </a:lnTo>
                  <a:lnTo>
                    <a:pt x="536" y="561"/>
                  </a:lnTo>
                  <a:lnTo>
                    <a:pt x="536" y="559"/>
                  </a:lnTo>
                  <a:lnTo>
                    <a:pt x="534" y="549"/>
                  </a:lnTo>
                  <a:lnTo>
                    <a:pt x="534" y="544"/>
                  </a:lnTo>
                  <a:lnTo>
                    <a:pt x="534" y="542"/>
                  </a:lnTo>
                  <a:lnTo>
                    <a:pt x="534" y="538"/>
                  </a:lnTo>
                  <a:lnTo>
                    <a:pt x="534" y="524"/>
                  </a:lnTo>
                  <a:lnTo>
                    <a:pt x="536" y="523"/>
                  </a:lnTo>
                  <a:lnTo>
                    <a:pt x="538" y="521"/>
                  </a:lnTo>
                  <a:lnTo>
                    <a:pt x="540" y="521"/>
                  </a:lnTo>
                  <a:lnTo>
                    <a:pt x="540" y="519"/>
                  </a:lnTo>
                  <a:lnTo>
                    <a:pt x="540" y="517"/>
                  </a:lnTo>
                  <a:lnTo>
                    <a:pt x="542" y="517"/>
                  </a:lnTo>
                  <a:lnTo>
                    <a:pt x="542" y="515"/>
                  </a:lnTo>
                  <a:lnTo>
                    <a:pt x="543" y="513"/>
                  </a:lnTo>
                  <a:lnTo>
                    <a:pt x="543" y="511"/>
                  </a:lnTo>
                  <a:lnTo>
                    <a:pt x="545" y="511"/>
                  </a:lnTo>
                  <a:lnTo>
                    <a:pt x="547" y="513"/>
                  </a:lnTo>
                  <a:lnTo>
                    <a:pt x="547" y="515"/>
                  </a:lnTo>
                  <a:lnTo>
                    <a:pt x="549" y="513"/>
                  </a:lnTo>
                  <a:lnTo>
                    <a:pt x="551" y="513"/>
                  </a:lnTo>
                  <a:lnTo>
                    <a:pt x="551" y="511"/>
                  </a:lnTo>
                  <a:lnTo>
                    <a:pt x="553" y="511"/>
                  </a:lnTo>
                  <a:lnTo>
                    <a:pt x="553" y="509"/>
                  </a:lnTo>
                  <a:lnTo>
                    <a:pt x="551" y="509"/>
                  </a:lnTo>
                  <a:lnTo>
                    <a:pt x="551" y="507"/>
                  </a:lnTo>
                  <a:lnTo>
                    <a:pt x="547" y="507"/>
                  </a:lnTo>
                  <a:lnTo>
                    <a:pt x="545" y="507"/>
                  </a:lnTo>
                  <a:lnTo>
                    <a:pt x="547" y="498"/>
                  </a:lnTo>
                  <a:lnTo>
                    <a:pt x="547" y="496"/>
                  </a:lnTo>
                  <a:lnTo>
                    <a:pt x="549" y="496"/>
                  </a:lnTo>
                  <a:lnTo>
                    <a:pt x="549" y="494"/>
                  </a:lnTo>
                  <a:lnTo>
                    <a:pt x="549" y="492"/>
                  </a:lnTo>
                  <a:lnTo>
                    <a:pt x="551" y="490"/>
                  </a:lnTo>
                  <a:lnTo>
                    <a:pt x="551" y="482"/>
                  </a:lnTo>
                  <a:lnTo>
                    <a:pt x="553" y="480"/>
                  </a:lnTo>
                  <a:lnTo>
                    <a:pt x="551" y="478"/>
                  </a:lnTo>
                  <a:lnTo>
                    <a:pt x="549" y="478"/>
                  </a:lnTo>
                  <a:lnTo>
                    <a:pt x="547" y="476"/>
                  </a:lnTo>
                  <a:lnTo>
                    <a:pt x="547" y="478"/>
                  </a:lnTo>
                  <a:lnTo>
                    <a:pt x="545" y="478"/>
                  </a:lnTo>
                  <a:lnTo>
                    <a:pt x="543" y="478"/>
                  </a:lnTo>
                  <a:lnTo>
                    <a:pt x="542" y="478"/>
                  </a:lnTo>
                  <a:lnTo>
                    <a:pt x="542" y="476"/>
                  </a:lnTo>
                  <a:lnTo>
                    <a:pt x="538" y="476"/>
                  </a:lnTo>
                  <a:lnTo>
                    <a:pt x="536" y="476"/>
                  </a:lnTo>
                  <a:lnTo>
                    <a:pt x="536" y="474"/>
                  </a:lnTo>
                  <a:lnTo>
                    <a:pt x="536" y="473"/>
                  </a:lnTo>
                  <a:lnTo>
                    <a:pt x="534" y="471"/>
                  </a:lnTo>
                  <a:lnTo>
                    <a:pt x="534" y="469"/>
                  </a:lnTo>
                  <a:lnTo>
                    <a:pt x="534" y="467"/>
                  </a:lnTo>
                  <a:lnTo>
                    <a:pt x="532" y="467"/>
                  </a:lnTo>
                  <a:lnTo>
                    <a:pt x="534" y="465"/>
                  </a:lnTo>
                  <a:lnTo>
                    <a:pt x="534" y="463"/>
                  </a:lnTo>
                  <a:lnTo>
                    <a:pt x="534" y="461"/>
                  </a:lnTo>
                  <a:lnTo>
                    <a:pt x="532" y="459"/>
                  </a:lnTo>
                  <a:lnTo>
                    <a:pt x="530" y="457"/>
                  </a:lnTo>
                  <a:lnTo>
                    <a:pt x="528" y="457"/>
                  </a:lnTo>
                  <a:lnTo>
                    <a:pt x="526" y="457"/>
                  </a:lnTo>
                  <a:lnTo>
                    <a:pt x="526" y="455"/>
                  </a:lnTo>
                  <a:lnTo>
                    <a:pt x="524" y="455"/>
                  </a:lnTo>
                  <a:lnTo>
                    <a:pt x="522" y="455"/>
                  </a:lnTo>
                  <a:lnTo>
                    <a:pt x="522" y="453"/>
                  </a:lnTo>
                  <a:lnTo>
                    <a:pt x="520" y="453"/>
                  </a:lnTo>
                  <a:lnTo>
                    <a:pt x="518" y="451"/>
                  </a:lnTo>
                  <a:lnTo>
                    <a:pt x="517" y="451"/>
                  </a:lnTo>
                  <a:lnTo>
                    <a:pt x="517" y="450"/>
                  </a:lnTo>
                  <a:lnTo>
                    <a:pt x="517" y="451"/>
                  </a:lnTo>
                  <a:lnTo>
                    <a:pt x="515" y="451"/>
                  </a:lnTo>
                  <a:lnTo>
                    <a:pt x="515" y="450"/>
                  </a:lnTo>
                  <a:lnTo>
                    <a:pt x="513" y="450"/>
                  </a:lnTo>
                  <a:lnTo>
                    <a:pt x="513" y="451"/>
                  </a:lnTo>
                  <a:lnTo>
                    <a:pt x="511" y="451"/>
                  </a:lnTo>
                  <a:lnTo>
                    <a:pt x="509" y="451"/>
                  </a:lnTo>
                  <a:lnTo>
                    <a:pt x="507" y="451"/>
                  </a:lnTo>
                  <a:lnTo>
                    <a:pt x="507" y="450"/>
                  </a:lnTo>
                  <a:lnTo>
                    <a:pt x="505" y="450"/>
                  </a:lnTo>
                  <a:lnTo>
                    <a:pt x="503" y="450"/>
                  </a:lnTo>
                  <a:lnTo>
                    <a:pt x="503" y="448"/>
                  </a:lnTo>
                  <a:lnTo>
                    <a:pt x="503" y="446"/>
                  </a:lnTo>
                  <a:lnTo>
                    <a:pt x="503" y="444"/>
                  </a:lnTo>
                  <a:lnTo>
                    <a:pt x="503" y="446"/>
                  </a:lnTo>
                  <a:lnTo>
                    <a:pt x="503" y="444"/>
                  </a:lnTo>
                  <a:lnTo>
                    <a:pt x="501" y="444"/>
                  </a:lnTo>
                  <a:lnTo>
                    <a:pt x="501" y="442"/>
                  </a:lnTo>
                  <a:lnTo>
                    <a:pt x="499" y="442"/>
                  </a:lnTo>
                  <a:lnTo>
                    <a:pt x="497" y="442"/>
                  </a:lnTo>
                  <a:lnTo>
                    <a:pt x="495" y="442"/>
                  </a:lnTo>
                  <a:lnTo>
                    <a:pt x="484" y="444"/>
                  </a:lnTo>
                  <a:lnTo>
                    <a:pt x="484" y="446"/>
                  </a:lnTo>
                  <a:lnTo>
                    <a:pt x="482" y="448"/>
                  </a:lnTo>
                  <a:lnTo>
                    <a:pt x="480" y="448"/>
                  </a:lnTo>
                  <a:lnTo>
                    <a:pt x="480" y="446"/>
                  </a:lnTo>
                  <a:lnTo>
                    <a:pt x="478" y="448"/>
                  </a:lnTo>
                  <a:lnTo>
                    <a:pt x="476" y="448"/>
                  </a:lnTo>
                  <a:lnTo>
                    <a:pt x="474" y="451"/>
                  </a:lnTo>
                  <a:lnTo>
                    <a:pt x="474" y="453"/>
                  </a:lnTo>
                  <a:lnTo>
                    <a:pt x="474" y="455"/>
                  </a:lnTo>
                  <a:lnTo>
                    <a:pt x="472" y="459"/>
                  </a:lnTo>
                  <a:lnTo>
                    <a:pt x="470" y="461"/>
                  </a:lnTo>
                  <a:lnTo>
                    <a:pt x="469" y="463"/>
                  </a:lnTo>
                  <a:lnTo>
                    <a:pt x="459" y="467"/>
                  </a:lnTo>
                  <a:lnTo>
                    <a:pt x="457" y="467"/>
                  </a:lnTo>
                  <a:lnTo>
                    <a:pt x="455" y="469"/>
                  </a:lnTo>
                  <a:lnTo>
                    <a:pt x="451" y="474"/>
                  </a:lnTo>
                  <a:lnTo>
                    <a:pt x="447" y="482"/>
                  </a:lnTo>
                  <a:lnTo>
                    <a:pt x="446" y="484"/>
                  </a:lnTo>
                  <a:lnTo>
                    <a:pt x="442" y="486"/>
                  </a:lnTo>
                  <a:lnTo>
                    <a:pt x="444" y="488"/>
                  </a:lnTo>
                  <a:lnTo>
                    <a:pt x="442" y="488"/>
                  </a:lnTo>
                  <a:lnTo>
                    <a:pt x="436" y="490"/>
                  </a:lnTo>
                  <a:lnTo>
                    <a:pt x="430" y="490"/>
                  </a:lnTo>
                  <a:lnTo>
                    <a:pt x="430" y="492"/>
                  </a:lnTo>
                  <a:lnTo>
                    <a:pt x="432" y="492"/>
                  </a:lnTo>
                  <a:lnTo>
                    <a:pt x="430" y="494"/>
                  </a:lnTo>
                  <a:lnTo>
                    <a:pt x="428" y="496"/>
                  </a:lnTo>
                  <a:lnTo>
                    <a:pt x="426" y="498"/>
                  </a:lnTo>
                  <a:lnTo>
                    <a:pt x="426" y="499"/>
                  </a:lnTo>
                  <a:lnTo>
                    <a:pt x="421" y="511"/>
                  </a:lnTo>
                  <a:lnTo>
                    <a:pt x="415" y="511"/>
                  </a:lnTo>
                  <a:lnTo>
                    <a:pt x="411" y="513"/>
                  </a:lnTo>
                  <a:lnTo>
                    <a:pt x="409" y="513"/>
                  </a:lnTo>
                  <a:lnTo>
                    <a:pt x="409" y="515"/>
                  </a:lnTo>
                  <a:lnTo>
                    <a:pt x="398" y="519"/>
                  </a:lnTo>
                  <a:lnTo>
                    <a:pt x="398" y="523"/>
                  </a:lnTo>
                  <a:lnTo>
                    <a:pt x="398" y="530"/>
                  </a:lnTo>
                  <a:lnTo>
                    <a:pt x="398" y="546"/>
                  </a:lnTo>
                  <a:lnTo>
                    <a:pt x="394" y="546"/>
                  </a:lnTo>
                  <a:lnTo>
                    <a:pt x="390" y="546"/>
                  </a:lnTo>
                  <a:lnTo>
                    <a:pt x="388" y="546"/>
                  </a:lnTo>
                  <a:lnTo>
                    <a:pt x="386" y="546"/>
                  </a:lnTo>
                  <a:lnTo>
                    <a:pt x="384" y="544"/>
                  </a:lnTo>
                  <a:lnTo>
                    <a:pt x="382" y="544"/>
                  </a:lnTo>
                  <a:lnTo>
                    <a:pt x="380" y="544"/>
                  </a:lnTo>
                  <a:lnTo>
                    <a:pt x="380" y="546"/>
                  </a:lnTo>
                  <a:lnTo>
                    <a:pt x="378" y="546"/>
                  </a:lnTo>
                  <a:lnTo>
                    <a:pt x="378" y="547"/>
                  </a:lnTo>
                  <a:lnTo>
                    <a:pt x="376" y="547"/>
                  </a:lnTo>
                  <a:lnTo>
                    <a:pt x="375" y="547"/>
                  </a:lnTo>
                  <a:lnTo>
                    <a:pt x="373" y="547"/>
                  </a:lnTo>
                  <a:lnTo>
                    <a:pt x="373" y="549"/>
                  </a:lnTo>
                  <a:lnTo>
                    <a:pt x="371" y="549"/>
                  </a:lnTo>
                  <a:lnTo>
                    <a:pt x="369" y="547"/>
                  </a:lnTo>
                  <a:lnTo>
                    <a:pt x="367" y="546"/>
                  </a:lnTo>
                  <a:lnTo>
                    <a:pt x="367" y="544"/>
                  </a:lnTo>
                  <a:lnTo>
                    <a:pt x="363" y="544"/>
                  </a:lnTo>
                  <a:lnTo>
                    <a:pt x="359" y="542"/>
                  </a:lnTo>
                  <a:lnTo>
                    <a:pt x="357" y="542"/>
                  </a:lnTo>
                  <a:lnTo>
                    <a:pt x="346" y="538"/>
                  </a:lnTo>
                  <a:lnTo>
                    <a:pt x="334" y="534"/>
                  </a:lnTo>
                  <a:lnTo>
                    <a:pt x="327" y="532"/>
                  </a:lnTo>
                  <a:lnTo>
                    <a:pt x="323" y="532"/>
                  </a:lnTo>
                  <a:lnTo>
                    <a:pt x="321" y="530"/>
                  </a:lnTo>
                  <a:lnTo>
                    <a:pt x="315" y="530"/>
                  </a:lnTo>
                  <a:lnTo>
                    <a:pt x="313" y="530"/>
                  </a:lnTo>
                  <a:lnTo>
                    <a:pt x="300" y="534"/>
                  </a:lnTo>
                  <a:lnTo>
                    <a:pt x="294" y="536"/>
                  </a:lnTo>
                  <a:lnTo>
                    <a:pt x="280" y="540"/>
                  </a:lnTo>
                  <a:lnTo>
                    <a:pt x="280" y="530"/>
                  </a:lnTo>
                  <a:lnTo>
                    <a:pt x="280" y="528"/>
                  </a:lnTo>
                  <a:lnTo>
                    <a:pt x="279" y="523"/>
                  </a:lnTo>
                  <a:lnTo>
                    <a:pt x="279" y="521"/>
                  </a:lnTo>
                  <a:lnTo>
                    <a:pt x="279" y="519"/>
                  </a:lnTo>
                  <a:lnTo>
                    <a:pt x="279" y="507"/>
                  </a:lnTo>
                  <a:lnTo>
                    <a:pt x="279" y="503"/>
                  </a:lnTo>
                  <a:lnTo>
                    <a:pt x="282" y="498"/>
                  </a:lnTo>
                  <a:lnTo>
                    <a:pt x="286" y="490"/>
                  </a:lnTo>
                  <a:lnTo>
                    <a:pt x="294" y="476"/>
                  </a:lnTo>
                  <a:lnTo>
                    <a:pt x="298" y="471"/>
                  </a:lnTo>
                  <a:lnTo>
                    <a:pt x="294" y="467"/>
                  </a:lnTo>
                  <a:lnTo>
                    <a:pt x="292" y="463"/>
                  </a:lnTo>
                  <a:lnTo>
                    <a:pt x="292" y="461"/>
                  </a:lnTo>
                  <a:lnTo>
                    <a:pt x="290" y="459"/>
                  </a:lnTo>
                  <a:lnTo>
                    <a:pt x="290" y="457"/>
                  </a:lnTo>
                  <a:lnTo>
                    <a:pt x="288" y="457"/>
                  </a:lnTo>
                  <a:lnTo>
                    <a:pt x="282" y="459"/>
                  </a:lnTo>
                  <a:lnTo>
                    <a:pt x="280" y="459"/>
                  </a:lnTo>
                  <a:lnTo>
                    <a:pt x="275" y="459"/>
                  </a:lnTo>
                  <a:lnTo>
                    <a:pt x="250" y="461"/>
                  </a:lnTo>
                  <a:lnTo>
                    <a:pt x="246" y="461"/>
                  </a:lnTo>
                  <a:lnTo>
                    <a:pt x="244" y="461"/>
                  </a:lnTo>
                  <a:lnTo>
                    <a:pt x="240" y="461"/>
                  </a:lnTo>
                  <a:lnTo>
                    <a:pt x="238" y="459"/>
                  </a:lnTo>
                  <a:lnTo>
                    <a:pt x="236" y="459"/>
                  </a:lnTo>
                  <a:lnTo>
                    <a:pt x="234" y="459"/>
                  </a:lnTo>
                  <a:lnTo>
                    <a:pt x="234" y="461"/>
                  </a:lnTo>
                  <a:lnTo>
                    <a:pt x="232" y="461"/>
                  </a:lnTo>
                  <a:lnTo>
                    <a:pt x="231" y="461"/>
                  </a:lnTo>
                  <a:lnTo>
                    <a:pt x="231" y="463"/>
                  </a:lnTo>
                  <a:lnTo>
                    <a:pt x="229" y="463"/>
                  </a:lnTo>
                  <a:lnTo>
                    <a:pt x="229" y="465"/>
                  </a:lnTo>
                  <a:lnTo>
                    <a:pt x="227" y="465"/>
                  </a:lnTo>
                  <a:lnTo>
                    <a:pt x="227" y="467"/>
                  </a:lnTo>
                  <a:lnTo>
                    <a:pt x="225" y="469"/>
                  </a:lnTo>
                  <a:lnTo>
                    <a:pt x="223" y="469"/>
                  </a:lnTo>
                  <a:lnTo>
                    <a:pt x="219" y="469"/>
                  </a:lnTo>
                  <a:lnTo>
                    <a:pt x="217" y="471"/>
                  </a:lnTo>
                  <a:lnTo>
                    <a:pt x="209" y="471"/>
                  </a:lnTo>
                  <a:lnTo>
                    <a:pt x="208" y="471"/>
                  </a:lnTo>
                  <a:lnTo>
                    <a:pt x="204" y="471"/>
                  </a:lnTo>
                  <a:lnTo>
                    <a:pt x="198" y="474"/>
                  </a:lnTo>
                  <a:lnTo>
                    <a:pt x="169" y="486"/>
                  </a:lnTo>
                  <a:lnTo>
                    <a:pt x="167" y="486"/>
                  </a:lnTo>
                  <a:lnTo>
                    <a:pt x="165" y="488"/>
                  </a:lnTo>
                  <a:lnTo>
                    <a:pt x="160" y="490"/>
                  </a:lnTo>
                  <a:lnTo>
                    <a:pt x="160" y="492"/>
                  </a:lnTo>
                  <a:lnTo>
                    <a:pt x="158" y="492"/>
                  </a:lnTo>
                  <a:lnTo>
                    <a:pt x="154" y="494"/>
                  </a:lnTo>
                  <a:lnTo>
                    <a:pt x="152" y="494"/>
                  </a:lnTo>
                  <a:lnTo>
                    <a:pt x="150" y="492"/>
                  </a:lnTo>
                  <a:lnTo>
                    <a:pt x="150" y="496"/>
                  </a:lnTo>
                  <a:lnTo>
                    <a:pt x="148" y="496"/>
                  </a:lnTo>
                  <a:lnTo>
                    <a:pt x="148" y="498"/>
                  </a:lnTo>
                  <a:lnTo>
                    <a:pt x="152" y="499"/>
                  </a:lnTo>
                  <a:lnTo>
                    <a:pt x="154" y="499"/>
                  </a:lnTo>
                  <a:lnTo>
                    <a:pt x="158" y="498"/>
                  </a:lnTo>
                  <a:lnTo>
                    <a:pt x="160" y="499"/>
                  </a:lnTo>
                  <a:lnTo>
                    <a:pt x="160" y="501"/>
                  </a:lnTo>
                  <a:lnTo>
                    <a:pt x="161" y="503"/>
                  </a:lnTo>
                  <a:lnTo>
                    <a:pt x="161" y="505"/>
                  </a:lnTo>
                  <a:lnTo>
                    <a:pt x="161" y="507"/>
                  </a:lnTo>
                  <a:lnTo>
                    <a:pt x="161" y="509"/>
                  </a:lnTo>
                  <a:lnTo>
                    <a:pt x="160" y="509"/>
                  </a:lnTo>
                  <a:lnTo>
                    <a:pt x="160" y="511"/>
                  </a:lnTo>
                  <a:lnTo>
                    <a:pt x="160" y="513"/>
                  </a:lnTo>
                  <a:lnTo>
                    <a:pt x="163" y="515"/>
                  </a:lnTo>
                  <a:lnTo>
                    <a:pt x="161" y="519"/>
                  </a:lnTo>
                  <a:lnTo>
                    <a:pt x="160" y="519"/>
                  </a:lnTo>
                  <a:lnTo>
                    <a:pt x="158" y="517"/>
                  </a:lnTo>
                  <a:lnTo>
                    <a:pt x="158" y="519"/>
                  </a:lnTo>
                  <a:lnTo>
                    <a:pt x="160" y="519"/>
                  </a:lnTo>
                  <a:lnTo>
                    <a:pt x="160" y="521"/>
                  </a:lnTo>
                  <a:lnTo>
                    <a:pt x="158" y="523"/>
                  </a:lnTo>
                  <a:lnTo>
                    <a:pt x="160" y="523"/>
                  </a:lnTo>
                  <a:lnTo>
                    <a:pt x="158" y="524"/>
                  </a:lnTo>
                  <a:lnTo>
                    <a:pt x="160" y="524"/>
                  </a:lnTo>
                  <a:lnTo>
                    <a:pt x="160" y="526"/>
                  </a:lnTo>
                  <a:lnTo>
                    <a:pt x="156" y="524"/>
                  </a:lnTo>
                  <a:lnTo>
                    <a:pt x="156" y="526"/>
                  </a:lnTo>
                  <a:lnTo>
                    <a:pt x="156" y="528"/>
                  </a:lnTo>
                  <a:lnTo>
                    <a:pt x="154" y="528"/>
                  </a:lnTo>
                  <a:lnTo>
                    <a:pt x="148" y="534"/>
                  </a:lnTo>
                  <a:lnTo>
                    <a:pt x="154" y="551"/>
                  </a:lnTo>
                  <a:lnTo>
                    <a:pt x="161" y="563"/>
                  </a:lnTo>
                  <a:lnTo>
                    <a:pt x="165" y="571"/>
                  </a:lnTo>
                  <a:lnTo>
                    <a:pt x="179" y="592"/>
                  </a:lnTo>
                  <a:lnTo>
                    <a:pt x="185" y="601"/>
                  </a:lnTo>
                  <a:lnTo>
                    <a:pt x="179" y="605"/>
                  </a:lnTo>
                  <a:lnTo>
                    <a:pt x="181" y="609"/>
                  </a:lnTo>
                  <a:lnTo>
                    <a:pt x="183" y="611"/>
                  </a:lnTo>
                  <a:lnTo>
                    <a:pt x="183" y="615"/>
                  </a:lnTo>
                  <a:lnTo>
                    <a:pt x="183" y="617"/>
                  </a:lnTo>
                  <a:lnTo>
                    <a:pt x="175" y="615"/>
                  </a:lnTo>
                  <a:lnTo>
                    <a:pt x="173" y="615"/>
                  </a:lnTo>
                  <a:lnTo>
                    <a:pt x="165" y="619"/>
                  </a:lnTo>
                  <a:lnTo>
                    <a:pt x="161" y="620"/>
                  </a:lnTo>
                  <a:lnTo>
                    <a:pt x="158" y="622"/>
                  </a:lnTo>
                  <a:lnTo>
                    <a:pt x="156" y="622"/>
                  </a:lnTo>
                  <a:lnTo>
                    <a:pt x="154" y="624"/>
                  </a:lnTo>
                  <a:lnTo>
                    <a:pt x="152" y="624"/>
                  </a:lnTo>
                  <a:lnTo>
                    <a:pt x="150" y="624"/>
                  </a:lnTo>
                  <a:lnTo>
                    <a:pt x="148" y="626"/>
                  </a:lnTo>
                  <a:lnTo>
                    <a:pt x="146" y="626"/>
                  </a:lnTo>
                  <a:lnTo>
                    <a:pt x="142" y="626"/>
                  </a:lnTo>
                  <a:lnTo>
                    <a:pt x="142" y="624"/>
                  </a:lnTo>
                  <a:lnTo>
                    <a:pt x="137" y="626"/>
                  </a:lnTo>
                  <a:lnTo>
                    <a:pt x="129" y="622"/>
                  </a:lnTo>
                  <a:lnTo>
                    <a:pt x="127" y="622"/>
                  </a:lnTo>
                  <a:lnTo>
                    <a:pt x="127" y="620"/>
                  </a:lnTo>
                  <a:lnTo>
                    <a:pt x="125" y="620"/>
                  </a:lnTo>
                  <a:lnTo>
                    <a:pt x="123" y="620"/>
                  </a:lnTo>
                  <a:lnTo>
                    <a:pt x="121" y="620"/>
                  </a:lnTo>
                  <a:lnTo>
                    <a:pt x="119" y="620"/>
                  </a:lnTo>
                  <a:lnTo>
                    <a:pt x="114" y="619"/>
                  </a:lnTo>
                  <a:lnTo>
                    <a:pt x="112" y="619"/>
                  </a:lnTo>
                  <a:lnTo>
                    <a:pt x="110" y="619"/>
                  </a:lnTo>
                  <a:lnTo>
                    <a:pt x="106" y="619"/>
                  </a:lnTo>
                  <a:lnTo>
                    <a:pt x="104" y="619"/>
                  </a:lnTo>
                  <a:lnTo>
                    <a:pt x="104" y="617"/>
                  </a:lnTo>
                  <a:lnTo>
                    <a:pt x="104" y="613"/>
                  </a:lnTo>
                  <a:lnTo>
                    <a:pt x="102" y="601"/>
                  </a:lnTo>
                  <a:lnTo>
                    <a:pt x="100" y="594"/>
                  </a:lnTo>
                  <a:lnTo>
                    <a:pt x="100" y="590"/>
                  </a:lnTo>
                  <a:lnTo>
                    <a:pt x="98" y="590"/>
                  </a:lnTo>
                  <a:lnTo>
                    <a:pt x="94" y="590"/>
                  </a:lnTo>
                  <a:lnTo>
                    <a:pt x="79" y="590"/>
                  </a:lnTo>
                  <a:lnTo>
                    <a:pt x="75" y="590"/>
                  </a:lnTo>
                  <a:lnTo>
                    <a:pt x="69" y="590"/>
                  </a:lnTo>
                  <a:lnTo>
                    <a:pt x="58" y="590"/>
                  </a:lnTo>
                  <a:lnTo>
                    <a:pt x="50" y="590"/>
                  </a:lnTo>
                  <a:lnTo>
                    <a:pt x="48" y="580"/>
                  </a:lnTo>
                  <a:lnTo>
                    <a:pt x="48" y="578"/>
                  </a:lnTo>
                  <a:lnTo>
                    <a:pt x="44" y="578"/>
                  </a:lnTo>
                  <a:lnTo>
                    <a:pt x="42" y="572"/>
                  </a:lnTo>
                  <a:lnTo>
                    <a:pt x="44" y="571"/>
                  </a:lnTo>
                  <a:lnTo>
                    <a:pt x="44" y="569"/>
                  </a:lnTo>
                  <a:lnTo>
                    <a:pt x="46" y="561"/>
                  </a:lnTo>
                  <a:lnTo>
                    <a:pt x="46" y="555"/>
                  </a:lnTo>
                  <a:lnTo>
                    <a:pt x="46" y="553"/>
                  </a:lnTo>
                  <a:lnTo>
                    <a:pt x="44" y="546"/>
                  </a:lnTo>
                  <a:lnTo>
                    <a:pt x="44" y="544"/>
                  </a:lnTo>
                  <a:lnTo>
                    <a:pt x="44" y="540"/>
                  </a:lnTo>
                  <a:lnTo>
                    <a:pt x="42" y="534"/>
                  </a:lnTo>
                  <a:lnTo>
                    <a:pt x="42" y="532"/>
                  </a:lnTo>
                  <a:lnTo>
                    <a:pt x="44" y="528"/>
                  </a:lnTo>
                  <a:lnTo>
                    <a:pt x="46" y="526"/>
                  </a:lnTo>
                  <a:lnTo>
                    <a:pt x="54" y="521"/>
                  </a:lnTo>
                  <a:lnTo>
                    <a:pt x="52" y="515"/>
                  </a:lnTo>
                  <a:lnTo>
                    <a:pt x="48" y="499"/>
                  </a:lnTo>
                  <a:lnTo>
                    <a:pt x="41" y="482"/>
                  </a:lnTo>
                  <a:lnTo>
                    <a:pt x="23" y="432"/>
                  </a:lnTo>
                  <a:lnTo>
                    <a:pt x="23" y="428"/>
                  </a:lnTo>
                  <a:lnTo>
                    <a:pt x="19" y="417"/>
                  </a:lnTo>
                  <a:lnTo>
                    <a:pt x="16" y="405"/>
                  </a:lnTo>
                  <a:lnTo>
                    <a:pt x="14" y="405"/>
                  </a:lnTo>
                  <a:lnTo>
                    <a:pt x="14" y="401"/>
                  </a:lnTo>
                  <a:lnTo>
                    <a:pt x="14" y="400"/>
                  </a:lnTo>
                  <a:lnTo>
                    <a:pt x="16" y="396"/>
                  </a:lnTo>
                  <a:lnTo>
                    <a:pt x="16" y="394"/>
                  </a:lnTo>
                  <a:lnTo>
                    <a:pt x="16" y="392"/>
                  </a:lnTo>
                  <a:lnTo>
                    <a:pt x="18" y="390"/>
                  </a:lnTo>
                  <a:lnTo>
                    <a:pt x="21" y="380"/>
                  </a:lnTo>
                  <a:lnTo>
                    <a:pt x="23" y="377"/>
                  </a:lnTo>
                  <a:lnTo>
                    <a:pt x="25" y="373"/>
                  </a:lnTo>
                  <a:lnTo>
                    <a:pt x="29" y="363"/>
                  </a:lnTo>
                  <a:lnTo>
                    <a:pt x="31" y="361"/>
                  </a:lnTo>
                  <a:lnTo>
                    <a:pt x="31" y="357"/>
                  </a:lnTo>
                  <a:lnTo>
                    <a:pt x="33" y="355"/>
                  </a:lnTo>
                  <a:lnTo>
                    <a:pt x="33" y="352"/>
                  </a:lnTo>
                  <a:lnTo>
                    <a:pt x="33" y="350"/>
                  </a:lnTo>
                  <a:lnTo>
                    <a:pt x="35" y="348"/>
                  </a:lnTo>
                  <a:lnTo>
                    <a:pt x="35" y="346"/>
                  </a:lnTo>
                  <a:lnTo>
                    <a:pt x="35" y="342"/>
                  </a:lnTo>
                  <a:lnTo>
                    <a:pt x="35" y="340"/>
                  </a:lnTo>
                  <a:lnTo>
                    <a:pt x="35" y="338"/>
                  </a:lnTo>
                  <a:lnTo>
                    <a:pt x="33" y="336"/>
                  </a:lnTo>
                  <a:lnTo>
                    <a:pt x="33" y="332"/>
                  </a:lnTo>
                  <a:lnTo>
                    <a:pt x="33" y="330"/>
                  </a:lnTo>
                  <a:lnTo>
                    <a:pt x="31" y="328"/>
                  </a:lnTo>
                  <a:lnTo>
                    <a:pt x="31" y="325"/>
                  </a:lnTo>
                  <a:lnTo>
                    <a:pt x="29" y="323"/>
                  </a:lnTo>
                  <a:lnTo>
                    <a:pt x="27" y="323"/>
                  </a:lnTo>
                  <a:lnTo>
                    <a:pt x="19" y="309"/>
                  </a:lnTo>
                  <a:lnTo>
                    <a:pt x="18" y="305"/>
                  </a:lnTo>
                  <a:lnTo>
                    <a:pt x="14" y="302"/>
                  </a:lnTo>
                  <a:lnTo>
                    <a:pt x="12" y="298"/>
                  </a:lnTo>
                  <a:lnTo>
                    <a:pt x="10" y="298"/>
                  </a:lnTo>
                  <a:lnTo>
                    <a:pt x="6" y="290"/>
                  </a:lnTo>
                  <a:lnTo>
                    <a:pt x="4" y="288"/>
                  </a:lnTo>
                  <a:lnTo>
                    <a:pt x="4" y="286"/>
                  </a:lnTo>
                  <a:lnTo>
                    <a:pt x="2" y="284"/>
                  </a:lnTo>
                  <a:lnTo>
                    <a:pt x="2" y="280"/>
                  </a:lnTo>
                  <a:lnTo>
                    <a:pt x="0" y="279"/>
                  </a:lnTo>
                  <a:lnTo>
                    <a:pt x="0" y="277"/>
                  </a:lnTo>
                  <a:lnTo>
                    <a:pt x="0" y="273"/>
                  </a:lnTo>
                  <a:lnTo>
                    <a:pt x="0" y="271"/>
                  </a:lnTo>
                  <a:lnTo>
                    <a:pt x="0" y="269"/>
                  </a:lnTo>
                  <a:lnTo>
                    <a:pt x="0" y="267"/>
                  </a:lnTo>
                  <a:lnTo>
                    <a:pt x="0" y="263"/>
                  </a:lnTo>
                  <a:lnTo>
                    <a:pt x="0" y="261"/>
                  </a:lnTo>
                  <a:lnTo>
                    <a:pt x="2" y="259"/>
                  </a:lnTo>
                  <a:lnTo>
                    <a:pt x="2" y="257"/>
                  </a:lnTo>
                  <a:lnTo>
                    <a:pt x="4" y="254"/>
                  </a:lnTo>
                  <a:lnTo>
                    <a:pt x="4" y="252"/>
                  </a:lnTo>
                  <a:lnTo>
                    <a:pt x="6" y="250"/>
                  </a:lnTo>
                  <a:lnTo>
                    <a:pt x="8" y="248"/>
                  </a:lnTo>
                  <a:lnTo>
                    <a:pt x="8" y="246"/>
                  </a:lnTo>
                  <a:lnTo>
                    <a:pt x="10" y="244"/>
                  </a:lnTo>
                  <a:lnTo>
                    <a:pt x="12" y="242"/>
                  </a:lnTo>
                  <a:lnTo>
                    <a:pt x="14" y="238"/>
                  </a:lnTo>
                  <a:lnTo>
                    <a:pt x="16" y="238"/>
                  </a:lnTo>
                  <a:lnTo>
                    <a:pt x="18" y="236"/>
                  </a:lnTo>
                  <a:lnTo>
                    <a:pt x="19" y="234"/>
                  </a:lnTo>
                  <a:lnTo>
                    <a:pt x="21" y="234"/>
                  </a:lnTo>
                  <a:lnTo>
                    <a:pt x="23" y="232"/>
                  </a:lnTo>
                  <a:lnTo>
                    <a:pt x="27" y="232"/>
                  </a:lnTo>
                  <a:lnTo>
                    <a:pt x="33" y="231"/>
                  </a:lnTo>
                  <a:lnTo>
                    <a:pt x="37" y="229"/>
                  </a:lnTo>
                  <a:lnTo>
                    <a:pt x="41" y="227"/>
                  </a:lnTo>
                  <a:lnTo>
                    <a:pt x="44" y="227"/>
                  </a:lnTo>
                  <a:lnTo>
                    <a:pt x="46" y="227"/>
                  </a:lnTo>
                  <a:lnTo>
                    <a:pt x="48" y="227"/>
                  </a:lnTo>
                  <a:lnTo>
                    <a:pt x="44" y="229"/>
                  </a:lnTo>
                  <a:lnTo>
                    <a:pt x="46" y="229"/>
                  </a:lnTo>
                  <a:lnTo>
                    <a:pt x="46" y="227"/>
                  </a:lnTo>
                  <a:lnTo>
                    <a:pt x="46" y="229"/>
                  </a:lnTo>
                  <a:lnTo>
                    <a:pt x="48" y="229"/>
                  </a:lnTo>
                  <a:lnTo>
                    <a:pt x="50" y="229"/>
                  </a:lnTo>
                  <a:lnTo>
                    <a:pt x="52" y="229"/>
                  </a:lnTo>
                  <a:lnTo>
                    <a:pt x="54" y="229"/>
                  </a:lnTo>
                  <a:lnTo>
                    <a:pt x="54" y="231"/>
                  </a:lnTo>
                  <a:lnTo>
                    <a:pt x="56" y="229"/>
                  </a:lnTo>
                  <a:lnTo>
                    <a:pt x="56" y="231"/>
                  </a:lnTo>
                  <a:lnTo>
                    <a:pt x="56" y="229"/>
                  </a:lnTo>
                  <a:lnTo>
                    <a:pt x="58" y="231"/>
                  </a:lnTo>
                  <a:lnTo>
                    <a:pt x="58" y="229"/>
                  </a:lnTo>
                  <a:lnTo>
                    <a:pt x="58" y="231"/>
                  </a:lnTo>
                  <a:lnTo>
                    <a:pt x="58" y="232"/>
                  </a:lnTo>
                  <a:lnTo>
                    <a:pt x="58" y="234"/>
                  </a:lnTo>
                  <a:lnTo>
                    <a:pt x="56" y="234"/>
                  </a:lnTo>
                  <a:lnTo>
                    <a:pt x="56" y="236"/>
                  </a:lnTo>
                  <a:lnTo>
                    <a:pt x="54" y="234"/>
                  </a:lnTo>
                  <a:lnTo>
                    <a:pt x="54" y="236"/>
                  </a:lnTo>
                  <a:lnTo>
                    <a:pt x="56" y="236"/>
                  </a:lnTo>
                  <a:lnTo>
                    <a:pt x="56" y="234"/>
                  </a:lnTo>
                  <a:lnTo>
                    <a:pt x="58" y="234"/>
                  </a:lnTo>
                  <a:lnTo>
                    <a:pt x="58" y="238"/>
                  </a:lnTo>
                  <a:lnTo>
                    <a:pt x="60" y="238"/>
                  </a:lnTo>
                  <a:lnTo>
                    <a:pt x="60" y="240"/>
                  </a:lnTo>
                  <a:lnTo>
                    <a:pt x="60" y="238"/>
                  </a:lnTo>
                  <a:lnTo>
                    <a:pt x="60" y="236"/>
                  </a:lnTo>
                  <a:lnTo>
                    <a:pt x="60" y="238"/>
                  </a:lnTo>
                  <a:lnTo>
                    <a:pt x="62" y="238"/>
                  </a:lnTo>
                  <a:lnTo>
                    <a:pt x="60" y="238"/>
                  </a:lnTo>
                  <a:lnTo>
                    <a:pt x="60" y="236"/>
                  </a:lnTo>
                  <a:lnTo>
                    <a:pt x="64" y="236"/>
                  </a:lnTo>
                  <a:lnTo>
                    <a:pt x="66" y="236"/>
                  </a:lnTo>
                  <a:lnTo>
                    <a:pt x="66" y="238"/>
                  </a:lnTo>
                  <a:lnTo>
                    <a:pt x="67" y="238"/>
                  </a:lnTo>
                  <a:lnTo>
                    <a:pt x="67" y="240"/>
                  </a:lnTo>
                  <a:lnTo>
                    <a:pt x="69" y="240"/>
                  </a:lnTo>
                  <a:lnTo>
                    <a:pt x="67" y="240"/>
                  </a:lnTo>
                  <a:lnTo>
                    <a:pt x="69" y="240"/>
                  </a:lnTo>
                  <a:lnTo>
                    <a:pt x="67" y="240"/>
                  </a:lnTo>
                  <a:lnTo>
                    <a:pt x="67" y="238"/>
                  </a:lnTo>
                  <a:lnTo>
                    <a:pt x="66" y="238"/>
                  </a:lnTo>
                  <a:lnTo>
                    <a:pt x="66" y="236"/>
                  </a:lnTo>
                  <a:lnTo>
                    <a:pt x="64" y="236"/>
                  </a:lnTo>
                  <a:lnTo>
                    <a:pt x="62" y="236"/>
                  </a:lnTo>
                  <a:lnTo>
                    <a:pt x="60" y="236"/>
                  </a:lnTo>
                  <a:lnTo>
                    <a:pt x="60" y="234"/>
                  </a:lnTo>
                  <a:lnTo>
                    <a:pt x="62" y="234"/>
                  </a:lnTo>
                  <a:lnTo>
                    <a:pt x="60" y="234"/>
                  </a:lnTo>
                  <a:lnTo>
                    <a:pt x="60" y="232"/>
                  </a:lnTo>
                  <a:lnTo>
                    <a:pt x="58" y="232"/>
                  </a:lnTo>
                  <a:lnTo>
                    <a:pt x="58" y="231"/>
                  </a:lnTo>
                  <a:lnTo>
                    <a:pt x="58" y="232"/>
                  </a:lnTo>
                  <a:lnTo>
                    <a:pt x="60" y="231"/>
                  </a:lnTo>
                  <a:lnTo>
                    <a:pt x="62" y="231"/>
                  </a:lnTo>
                  <a:lnTo>
                    <a:pt x="64" y="231"/>
                  </a:lnTo>
                  <a:lnTo>
                    <a:pt x="66" y="231"/>
                  </a:lnTo>
                  <a:lnTo>
                    <a:pt x="67" y="231"/>
                  </a:lnTo>
                  <a:lnTo>
                    <a:pt x="69" y="231"/>
                  </a:lnTo>
                  <a:lnTo>
                    <a:pt x="67" y="231"/>
                  </a:lnTo>
                  <a:lnTo>
                    <a:pt x="66" y="231"/>
                  </a:lnTo>
                  <a:lnTo>
                    <a:pt x="64" y="231"/>
                  </a:lnTo>
                  <a:lnTo>
                    <a:pt x="64" y="229"/>
                  </a:lnTo>
                  <a:lnTo>
                    <a:pt x="66" y="227"/>
                  </a:lnTo>
                  <a:lnTo>
                    <a:pt x="67" y="225"/>
                  </a:lnTo>
                  <a:lnTo>
                    <a:pt x="69" y="225"/>
                  </a:lnTo>
                  <a:lnTo>
                    <a:pt x="71" y="225"/>
                  </a:lnTo>
                  <a:lnTo>
                    <a:pt x="71" y="223"/>
                  </a:lnTo>
                  <a:lnTo>
                    <a:pt x="73" y="223"/>
                  </a:lnTo>
                  <a:lnTo>
                    <a:pt x="75" y="223"/>
                  </a:lnTo>
                  <a:lnTo>
                    <a:pt x="77" y="223"/>
                  </a:lnTo>
                  <a:lnTo>
                    <a:pt x="79" y="223"/>
                  </a:lnTo>
                  <a:lnTo>
                    <a:pt x="79" y="225"/>
                  </a:lnTo>
                  <a:lnTo>
                    <a:pt x="77" y="225"/>
                  </a:lnTo>
                  <a:lnTo>
                    <a:pt x="75" y="227"/>
                  </a:lnTo>
                  <a:lnTo>
                    <a:pt x="77" y="227"/>
                  </a:lnTo>
                  <a:lnTo>
                    <a:pt x="77" y="229"/>
                  </a:lnTo>
                  <a:lnTo>
                    <a:pt x="77" y="231"/>
                  </a:lnTo>
                  <a:lnTo>
                    <a:pt x="77" y="229"/>
                  </a:lnTo>
                  <a:lnTo>
                    <a:pt x="77" y="227"/>
                  </a:lnTo>
                  <a:lnTo>
                    <a:pt x="79" y="225"/>
                  </a:lnTo>
                  <a:lnTo>
                    <a:pt x="79" y="227"/>
                  </a:lnTo>
                  <a:lnTo>
                    <a:pt x="81" y="229"/>
                  </a:lnTo>
                  <a:lnTo>
                    <a:pt x="81" y="227"/>
                  </a:lnTo>
                  <a:lnTo>
                    <a:pt x="79" y="227"/>
                  </a:lnTo>
                  <a:lnTo>
                    <a:pt x="81" y="227"/>
                  </a:lnTo>
                  <a:lnTo>
                    <a:pt x="83" y="227"/>
                  </a:lnTo>
                  <a:lnTo>
                    <a:pt x="81" y="227"/>
                  </a:lnTo>
                  <a:lnTo>
                    <a:pt x="79" y="227"/>
                  </a:lnTo>
                  <a:lnTo>
                    <a:pt x="79" y="225"/>
                  </a:lnTo>
                  <a:lnTo>
                    <a:pt x="81" y="225"/>
                  </a:lnTo>
                  <a:lnTo>
                    <a:pt x="79" y="225"/>
                  </a:lnTo>
                  <a:lnTo>
                    <a:pt x="79" y="223"/>
                  </a:lnTo>
                  <a:lnTo>
                    <a:pt x="81" y="223"/>
                  </a:lnTo>
                  <a:lnTo>
                    <a:pt x="83" y="221"/>
                  </a:lnTo>
                  <a:lnTo>
                    <a:pt x="85" y="221"/>
                  </a:lnTo>
                  <a:lnTo>
                    <a:pt x="87" y="221"/>
                  </a:lnTo>
                  <a:lnTo>
                    <a:pt x="89" y="221"/>
                  </a:lnTo>
                  <a:lnTo>
                    <a:pt x="90" y="221"/>
                  </a:lnTo>
                  <a:lnTo>
                    <a:pt x="92" y="221"/>
                  </a:lnTo>
                  <a:lnTo>
                    <a:pt x="92" y="219"/>
                  </a:lnTo>
                  <a:lnTo>
                    <a:pt x="94" y="219"/>
                  </a:lnTo>
                  <a:lnTo>
                    <a:pt x="94" y="217"/>
                  </a:lnTo>
                  <a:lnTo>
                    <a:pt x="94" y="219"/>
                  </a:lnTo>
                  <a:lnTo>
                    <a:pt x="92" y="219"/>
                  </a:lnTo>
                  <a:lnTo>
                    <a:pt x="92" y="221"/>
                  </a:lnTo>
                  <a:lnTo>
                    <a:pt x="94" y="221"/>
                  </a:lnTo>
                  <a:lnTo>
                    <a:pt x="94" y="219"/>
                  </a:lnTo>
                  <a:lnTo>
                    <a:pt x="94" y="221"/>
                  </a:lnTo>
                  <a:lnTo>
                    <a:pt x="92" y="221"/>
                  </a:lnTo>
                  <a:lnTo>
                    <a:pt x="94" y="221"/>
                  </a:lnTo>
                  <a:lnTo>
                    <a:pt x="94" y="219"/>
                  </a:lnTo>
                  <a:lnTo>
                    <a:pt x="94" y="221"/>
                  </a:lnTo>
                  <a:lnTo>
                    <a:pt x="92" y="221"/>
                  </a:lnTo>
                  <a:lnTo>
                    <a:pt x="92" y="223"/>
                  </a:lnTo>
                  <a:lnTo>
                    <a:pt x="92" y="221"/>
                  </a:lnTo>
                  <a:lnTo>
                    <a:pt x="92" y="223"/>
                  </a:lnTo>
                  <a:lnTo>
                    <a:pt x="92" y="225"/>
                  </a:lnTo>
                  <a:lnTo>
                    <a:pt x="92" y="227"/>
                  </a:lnTo>
                  <a:lnTo>
                    <a:pt x="90" y="227"/>
                  </a:lnTo>
                  <a:lnTo>
                    <a:pt x="92" y="227"/>
                  </a:lnTo>
                  <a:lnTo>
                    <a:pt x="92" y="225"/>
                  </a:lnTo>
                  <a:lnTo>
                    <a:pt x="92" y="223"/>
                  </a:lnTo>
                  <a:lnTo>
                    <a:pt x="94" y="223"/>
                  </a:lnTo>
                  <a:lnTo>
                    <a:pt x="94" y="225"/>
                  </a:lnTo>
                  <a:lnTo>
                    <a:pt x="96" y="225"/>
                  </a:lnTo>
                  <a:lnTo>
                    <a:pt x="98" y="225"/>
                  </a:lnTo>
                  <a:lnTo>
                    <a:pt x="100" y="225"/>
                  </a:lnTo>
                  <a:lnTo>
                    <a:pt x="98" y="225"/>
                  </a:lnTo>
                  <a:lnTo>
                    <a:pt x="96" y="225"/>
                  </a:lnTo>
                  <a:lnTo>
                    <a:pt x="94" y="225"/>
                  </a:lnTo>
                  <a:lnTo>
                    <a:pt x="94" y="223"/>
                  </a:lnTo>
                  <a:lnTo>
                    <a:pt x="96" y="223"/>
                  </a:lnTo>
                  <a:lnTo>
                    <a:pt x="94" y="223"/>
                  </a:lnTo>
                  <a:lnTo>
                    <a:pt x="94" y="221"/>
                  </a:lnTo>
                  <a:lnTo>
                    <a:pt x="96" y="221"/>
                  </a:lnTo>
                  <a:lnTo>
                    <a:pt x="94" y="219"/>
                  </a:lnTo>
                  <a:lnTo>
                    <a:pt x="96" y="221"/>
                  </a:lnTo>
                  <a:lnTo>
                    <a:pt x="96" y="219"/>
                  </a:lnTo>
                  <a:lnTo>
                    <a:pt x="98" y="219"/>
                  </a:lnTo>
                  <a:lnTo>
                    <a:pt x="98" y="221"/>
                  </a:lnTo>
                  <a:lnTo>
                    <a:pt x="98" y="219"/>
                  </a:lnTo>
                  <a:lnTo>
                    <a:pt x="102" y="217"/>
                  </a:lnTo>
                  <a:lnTo>
                    <a:pt x="108" y="215"/>
                  </a:lnTo>
                  <a:lnTo>
                    <a:pt x="112" y="215"/>
                  </a:lnTo>
                  <a:lnTo>
                    <a:pt x="114" y="215"/>
                  </a:lnTo>
                  <a:lnTo>
                    <a:pt x="115" y="213"/>
                  </a:lnTo>
                  <a:lnTo>
                    <a:pt x="115" y="215"/>
                  </a:lnTo>
                  <a:lnTo>
                    <a:pt x="115" y="217"/>
                  </a:lnTo>
                  <a:lnTo>
                    <a:pt x="115" y="219"/>
                  </a:lnTo>
                  <a:lnTo>
                    <a:pt x="114" y="219"/>
                  </a:lnTo>
                  <a:lnTo>
                    <a:pt x="115" y="219"/>
                  </a:lnTo>
                  <a:lnTo>
                    <a:pt x="115" y="217"/>
                  </a:lnTo>
                  <a:lnTo>
                    <a:pt x="115" y="215"/>
                  </a:lnTo>
                  <a:lnTo>
                    <a:pt x="117" y="215"/>
                  </a:lnTo>
                  <a:lnTo>
                    <a:pt x="119" y="215"/>
                  </a:lnTo>
                  <a:lnTo>
                    <a:pt x="121" y="215"/>
                  </a:lnTo>
                  <a:lnTo>
                    <a:pt x="119" y="215"/>
                  </a:lnTo>
                  <a:lnTo>
                    <a:pt x="119" y="217"/>
                  </a:lnTo>
                  <a:lnTo>
                    <a:pt x="117" y="217"/>
                  </a:lnTo>
                  <a:lnTo>
                    <a:pt x="117" y="219"/>
                  </a:lnTo>
                  <a:lnTo>
                    <a:pt x="117" y="217"/>
                  </a:lnTo>
                  <a:lnTo>
                    <a:pt x="119" y="217"/>
                  </a:lnTo>
                  <a:lnTo>
                    <a:pt x="121" y="217"/>
                  </a:lnTo>
                  <a:lnTo>
                    <a:pt x="121" y="215"/>
                  </a:lnTo>
                  <a:lnTo>
                    <a:pt x="123" y="215"/>
                  </a:lnTo>
                  <a:lnTo>
                    <a:pt x="125" y="217"/>
                  </a:lnTo>
                  <a:lnTo>
                    <a:pt x="127" y="217"/>
                  </a:lnTo>
                  <a:lnTo>
                    <a:pt x="129" y="217"/>
                  </a:lnTo>
                  <a:lnTo>
                    <a:pt x="131" y="217"/>
                  </a:lnTo>
                  <a:lnTo>
                    <a:pt x="133" y="217"/>
                  </a:lnTo>
                  <a:lnTo>
                    <a:pt x="135" y="217"/>
                  </a:lnTo>
                  <a:lnTo>
                    <a:pt x="138" y="215"/>
                  </a:lnTo>
                  <a:lnTo>
                    <a:pt x="140" y="215"/>
                  </a:lnTo>
                  <a:lnTo>
                    <a:pt x="144" y="213"/>
                  </a:lnTo>
                  <a:lnTo>
                    <a:pt x="150" y="211"/>
                  </a:lnTo>
                  <a:lnTo>
                    <a:pt x="152" y="209"/>
                  </a:lnTo>
                  <a:lnTo>
                    <a:pt x="154" y="209"/>
                  </a:lnTo>
                  <a:lnTo>
                    <a:pt x="158" y="206"/>
                  </a:lnTo>
                  <a:lnTo>
                    <a:pt x="160" y="204"/>
                  </a:lnTo>
                  <a:lnTo>
                    <a:pt x="160" y="202"/>
                  </a:lnTo>
                  <a:lnTo>
                    <a:pt x="160" y="200"/>
                  </a:lnTo>
                  <a:lnTo>
                    <a:pt x="161" y="200"/>
                  </a:lnTo>
                  <a:lnTo>
                    <a:pt x="161" y="202"/>
                  </a:lnTo>
                  <a:lnTo>
                    <a:pt x="160" y="202"/>
                  </a:lnTo>
                  <a:lnTo>
                    <a:pt x="161" y="202"/>
                  </a:lnTo>
                  <a:lnTo>
                    <a:pt x="163" y="204"/>
                  </a:lnTo>
                  <a:lnTo>
                    <a:pt x="163" y="206"/>
                  </a:lnTo>
                  <a:lnTo>
                    <a:pt x="165" y="207"/>
                  </a:lnTo>
                  <a:lnTo>
                    <a:pt x="165" y="209"/>
                  </a:lnTo>
                  <a:lnTo>
                    <a:pt x="167" y="209"/>
                  </a:lnTo>
                  <a:lnTo>
                    <a:pt x="165" y="207"/>
                  </a:lnTo>
                  <a:lnTo>
                    <a:pt x="167" y="207"/>
                  </a:lnTo>
                  <a:lnTo>
                    <a:pt x="167" y="209"/>
                  </a:lnTo>
                  <a:lnTo>
                    <a:pt x="169" y="209"/>
                  </a:lnTo>
                  <a:lnTo>
                    <a:pt x="167" y="207"/>
                  </a:lnTo>
                  <a:lnTo>
                    <a:pt x="165" y="206"/>
                  </a:lnTo>
                  <a:lnTo>
                    <a:pt x="165" y="204"/>
                  </a:lnTo>
                  <a:lnTo>
                    <a:pt x="165" y="202"/>
                  </a:lnTo>
                  <a:lnTo>
                    <a:pt x="165" y="204"/>
                  </a:lnTo>
                  <a:lnTo>
                    <a:pt x="165" y="202"/>
                  </a:lnTo>
                  <a:lnTo>
                    <a:pt x="167" y="202"/>
                  </a:lnTo>
                  <a:lnTo>
                    <a:pt x="169" y="200"/>
                  </a:lnTo>
                  <a:lnTo>
                    <a:pt x="167" y="200"/>
                  </a:lnTo>
                  <a:lnTo>
                    <a:pt x="167" y="198"/>
                  </a:lnTo>
                  <a:lnTo>
                    <a:pt x="163" y="200"/>
                  </a:lnTo>
                  <a:lnTo>
                    <a:pt x="161" y="200"/>
                  </a:lnTo>
                  <a:lnTo>
                    <a:pt x="163" y="200"/>
                  </a:lnTo>
                  <a:lnTo>
                    <a:pt x="167" y="198"/>
                  </a:lnTo>
                  <a:lnTo>
                    <a:pt x="169" y="198"/>
                  </a:lnTo>
                  <a:lnTo>
                    <a:pt x="171" y="196"/>
                  </a:lnTo>
                  <a:lnTo>
                    <a:pt x="171" y="194"/>
                  </a:lnTo>
                  <a:lnTo>
                    <a:pt x="171" y="196"/>
                  </a:lnTo>
                  <a:lnTo>
                    <a:pt x="171" y="194"/>
                  </a:lnTo>
                  <a:lnTo>
                    <a:pt x="173" y="192"/>
                  </a:lnTo>
                  <a:lnTo>
                    <a:pt x="175" y="192"/>
                  </a:lnTo>
                  <a:lnTo>
                    <a:pt x="177" y="188"/>
                  </a:lnTo>
                  <a:lnTo>
                    <a:pt x="179" y="188"/>
                  </a:lnTo>
                  <a:lnTo>
                    <a:pt x="181" y="183"/>
                  </a:lnTo>
                  <a:lnTo>
                    <a:pt x="183" y="179"/>
                  </a:lnTo>
                  <a:lnTo>
                    <a:pt x="185" y="175"/>
                  </a:lnTo>
                  <a:lnTo>
                    <a:pt x="185" y="173"/>
                  </a:lnTo>
                  <a:lnTo>
                    <a:pt x="185" y="171"/>
                  </a:lnTo>
                  <a:lnTo>
                    <a:pt x="190" y="167"/>
                  </a:lnTo>
                  <a:lnTo>
                    <a:pt x="192" y="167"/>
                  </a:lnTo>
                  <a:lnTo>
                    <a:pt x="194" y="165"/>
                  </a:lnTo>
                  <a:lnTo>
                    <a:pt x="198" y="163"/>
                  </a:lnTo>
                  <a:lnTo>
                    <a:pt x="198" y="161"/>
                  </a:lnTo>
                  <a:lnTo>
                    <a:pt x="198" y="159"/>
                  </a:lnTo>
                  <a:lnTo>
                    <a:pt x="196" y="161"/>
                  </a:lnTo>
                  <a:lnTo>
                    <a:pt x="196" y="159"/>
                  </a:lnTo>
                  <a:lnTo>
                    <a:pt x="198" y="159"/>
                  </a:lnTo>
                  <a:lnTo>
                    <a:pt x="196" y="159"/>
                  </a:lnTo>
                  <a:lnTo>
                    <a:pt x="190" y="163"/>
                  </a:lnTo>
                  <a:lnTo>
                    <a:pt x="188" y="163"/>
                  </a:lnTo>
                  <a:lnTo>
                    <a:pt x="188" y="165"/>
                  </a:lnTo>
                  <a:lnTo>
                    <a:pt x="183" y="167"/>
                  </a:lnTo>
                  <a:lnTo>
                    <a:pt x="183" y="169"/>
                  </a:lnTo>
                  <a:lnTo>
                    <a:pt x="183" y="167"/>
                  </a:lnTo>
                  <a:lnTo>
                    <a:pt x="185" y="165"/>
                  </a:lnTo>
                  <a:lnTo>
                    <a:pt x="188" y="163"/>
                  </a:lnTo>
                  <a:lnTo>
                    <a:pt x="190" y="163"/>
                  </a:lnTo>
                  <a:lnTo>
                    <a:pt x="192" y="159"/>
                  </a:lnTo>
                  <a:lnTo>
                    <a:pt x="194" y="158"/>
                  </a:lnTo>
                  <a:lnTo>
                    <a:pt x="196" y="156"/>
                  </a:lnTo>
                  <a:lnTo>
                    <a:pt x="198" y="156"/>
                  </a:lnTo>
                  <a:lnTo>
                    <a:pt x="200" y="154"/>
                  </a:lnTo>
                  <a:lnTo>
                    <a:pt x="202" y="154"/>
                  </a:lnTo>
                  <a:lnTo>
                    <a:pt x="202" y="152"/>
                  </a:lnTo>
                  <a:lnTo>
                    <a:pt x="204" y="152"/>
                  </a:lnTo>
                  <a:lnTo>
                    <a:pt x="211" y="148"/>
                  </a:lnTo>
                  <a:lnTo>
                    <a:pt x="213" y="146"/>
                  </a:lnTo>
                  <a:lnTo>
                    <a:pt x="215" y="146"/>
                  </a:lnTo>
                  <a:lnTo>
                    <a:pt x="219" y="146"/>
                  </a:lnTo>
                  <a:lnTo>
                    <a:pt x="217" y="146"/>
                  </a:lnTo>
                  <a:lnTo>
                    <a:pt x="215" y="146"/>
                  </a:lnTo>
                  <a:lnTo>
                    <a:pt x="213" y="146"/>
                  </a:lnTo>
                  <a:lnTo>
                    <a:pt x="202" y="156"/>
                  </a:lnTo>
                  <a:lnTo>
                    <a:pt x="198" y="159"/>
                  </a:lnTo>
                  <a:lnTo>
                    <a:pt x="202" y="156"/>
                  </a:lnTo>
                  <a:lnTo>
                    <a:pt x="202" y="158"/>
                  </a:lnTo>
                  <a:lnTo>
                    <a:pt x="198" y="159"/>
                  </a:lnTo>
                  <a:lnTo>
                    <a:pt x="202" y="158"/>
                  </a:lnTo>
                  <a:lnTo>
                    <a:pt x="198" y="161"/>
                  </a:lnTo>
                  <a:lnTo>
                    <a:pt x="202" y="158"/>
                  </a:lnTo>
                  <a:lnTo>
                    <a:pt x="204" y="158"/>
                  </a:lnTo>
                  <a:lnTo>
                    <a:pt x="208" y="154"/>
                  </a:lnTo>
                  <a:lnTo>
                    <a:pt x="209" y="154"/>
                  </a:lnTo>
                  <a:lnTo>
                    <a:pt x="213" y="152"/>
                  </a:lnTo>
                  <a:lnTo>
                    <a:pt x="215" y="150"/>
                  </a:lnTo>
                  <a:lnTo>
                    <a:pt x="217" y="150"/>
                  </a:lnTo>
                  <a:lnTo>
                    <a:pt x="217" y="152"/>
                  </a:lnTo>
                  <a:lnTo>
                    <a:pt x="219" y="152"/>
                  </a:lnTo>
                  <a:lnTo>
                    <a:pt x="221" y="152"/>
                  </a:lnTo>
                  <a:lnTo>
                    <a:pt x="223" y="152"/>
                  </a:lnTo>
                  <a:lnTo>
                    <a:pt x="225" y="150"/>
                  </a:lnTo>
                  <a:lnTo>
                    <a:pt x="225" y="152"/>
                  </a:lnTo>
                  <a:lnTo>
                    <a:pt x="223" y="152"/>
                  </a:lnTo>
                  <a:lnTo>
                    <a:pt x="225" y="152"/>
                  </a:lnTo>
                  <a:lnTo>
                    <a:pt x="227" y="152"/>
                  </a:lnTo>
                  <a:lnTo>
                    <a:pt x="229" y="154"/>
                  </a:lnTo>
                  <a:lnTo>
                    <a:pt x="231" y="154"/>
                  </a:lnTo>
                  <a:lnTo>
                    <a:pt x="229" y="154"/>
                  </a:lnTo>
                  <a:lnTo>
                    <a:pt x="227" y="156"/>
                  </a:lnTo>
                  <a:lnTo>
                    <a:pt x="229" y="156"/>
                  </a:lnTo>
                  <a:lnTo>
                    <a:pt x="227" y="156"/>
                  </a:lnTo>
                  <a:lnTo>
                    <a:pt x="229" y="154"/>
                  </a:lnTo>
                  <a:lnTo>
                    <a:pt x="229" y="156"/>
                  </a:lnTo>
                  <a:lnTo>
                    <a:pt x="229" y="158"/>
                  </a:lnTo>
                  <a:lnTo>
                    <a:pt x="229" y="159"/>
                  </a:lnTo>
                  <a:lnTo>
                    <a:pt x="227" y="159"/>
                  </a:lnTo>
                  <a:lnTo>
                    <a:pt x="229" y="159"/>
                  </a:lnTo>
                  <a:lnTo>
                    <a:pt x="229" y="161"/>
                  </a:lnTo>
                  <a:lnTo>
                    <a:pt x="229" y="159"/>
                  </a:lnTo>
                  <a:lnTo>
                    <a:pt x="231" y="159"/>
                  </a:lnTo>
                  <a:lnTo>
                    <a:pt x="229" y="158"/>
                  </a:lnTo>
                  <a:lnTo>
                    <a:pt x="231" y="158"/>
                  </a:lnTo>
                  <a:lnTo>
                    <a:pt x="231" y="156"/>
                  </a:lnTo>
                  <a:lnTo>
                    <a:pt x="229" y="154"/>
                  </a:lnTo>
                  <a:lnTo>
                    <a:pt x="231" y="154"/>
                  </a:lnTo>
                  <a:lnTo>
                    <a:pt x="231" y="156"/>
                  </a:lnTo>
                  <a:lnTo>
                    <a:pt x="232" y="156"/>
                  </a:lnTo>
                  <a:lnTo>
                    <a:pt x="234" y="158"/>
                  </a:lnTo>
                  <a:lnTo>
                    <a:pt x="236" y="159"/>
                  </a:lnTo>
                  <a:lnTo>
                    <a:pt x="238" y="159"/>
                  </a:lnTo>
                  <a:lnTo>
                    <a:pt x="238" y="161"/>
                  </a:lnTo>
                  <a:lnTo>
                    <a:pt x="240" y="161"/>
                  </a:lnTo>
                  <a:lnTo>
                    <a:pt x="240" y="163"/>
                  </a:lnTo>
                  <a:lnTo>
                    <a:pt x="240" y="161"/>
                  </a:lnTo>
                  <a:lnTo>
                    <a:pt x="242" y="163"/>
                  </a:lnTo>
                  <a:lnTo>
                    <a:pt x="244" y="163"/>
                  </a:lnTo>
                  <a:lnTo>
                    <a:pt x="246" y="165"/>
                  </a:lnTo>
                  <a:lnTo>
                    <a:pt x="248" y="165"/>
                  </a:lnTo>
                  <a:lnTo>
                    <a:pt x="248" y="167"/>
                  </a:lnTo>
                  <a:lnTo>
                    <a:pt x="250" y="167"/>
                  </a:lnTo>
                  <a:lnTo>
                    <a:pt x="252" y="167"/>
                  </a:lnTo>
                  <a:lnTo>
                    <a:pt x="252" y="169"/>
                  </a:lnTo>
                  <a:lnTo>
                    <a:pt x="252" y="167"/>
                  </a:lnTo>
                  <a:lnTo>
                    <a:pt x="254" y="169"/>
                  </a:lnTo>
                  <a:lnTo>
                    <a:pt x="256" y="169"/>
                  </a:lnTo>
                  <a:lnTo>
                    <a:pt x="257" y="169"/>
                  </a:lnTo>
                  <a:lnTo>
                    <a:pt x="257" y="171"/>
                  </a:lnTo>
                  <a:lnTo>
                    <a:pt x="259" y="171"/>
                  </a:lnTo>
                  <a:lnTo>
                    <a:pt x="261" y="171"/>
                  </a:lnTo>
                  <a:lnTo>
                    <a:pt x="263" y="171"/>
                  </a:lnTo>
                  <a:lnTo>
                    <a:pt x="261" y="171"/>
                  </a:lnTo>
                  <a:lnTo>
                    <a:pt x="263" y="171"/>
                  </a:lnTo>
                  <a:lnTo>
                    <a:pt x="263" y="173"/>
                  </a:lnTo>
                  <a:lnTo>
                    <a:pt x="265" y="173"/>
                  </a:lnTo>
                  <a:lnTo>
                    <a:pt x="267" y="173"/>
                  </a:lnTo>
                  <a:lnTo>
                    <a:pt x="267" y="175"/>
                  </a:lnTo>
                  <a:lnTo>
                    <a:pt x="269" y="175"/>
                  </a:lnTo>
                  <a:lnTo>
                    <a:pt x="271" y="175"/>
                  </a:lnTo>
                  <a:lnTo>
                    <a:pt x="271" y="177"/>
                  </a:lnTo>
                  <a:lnTo>
                    <a:pt x="271" y="179"/>
                  </a:lnTo>
                  <a:lnTo>
                    <a:pt x="271" y="181"/>
                  </a:lnTo>
                  <a:lnTo>
                    <a:pt x="271" y="179"/>
                  </a:lnTo>
                  <a:lnTo>
                    <a:pt x="271" y="177"/>
                  </a:lnTo>
                  <a:lnTo>
                    <a:pt x="271" y="175"/>
                  </a:lnTo>
                  <a:lnTo>
                    <a:pt x="271" y="173"/>
                  </a:lnTo>
                  <a:lnTo>
                    <a:pt x="273" y="175"/>
                  </a:lnTo>
                  <a:lnTo>
                    <a:pt x="275" y="175"/>
                  </a:lnTo>
                  <a:lnTo>
                    <a:pt x="280" y="177"/>
                  </a:lnTo>
                  <a:lnTo>
                    <a:pt x="282" y="177"/>
                  </a:lnTo>
                  <a:lnTo>
                    <a:pt x="284" y="177"/>
                  </a:lnTo>
                  <a:lnTo>
                    <a:pt x="284" y="175"/>
                  </a:lnTo>
                  <a:lnTo>
                    <a:pt x="286" y="175"/>
                  </a:lnTo>
                  <a:lnTo>
                    <a:pt x="288" y="175"/>
                  </a:lnTo>
                  <a:lnTo>
                    <a:pt x="296" y="175"/>
                  </a:lnTo>
                  <a:lnTo>
                    <a:pt x="298" y="175"/>
                  </a:lnTo>
                  <a:lnTo>
                    <a:pt x="300" y="175"/>
                  </a:lnTo>
                  <a:lnTo>
                    <a:pt x="300" y="173"/>
                  </a:lnTo>
                  <a:lnTo>
                    <a:pt x="302" y="175"/>
                  </a:lnTo>
                  <a:lnTo>
                    <a:pt x="300" y="175"/>
                  </a:lnTo>
                  <a:lnTo>
                    <a:pt x="302" y="177"/>
                  </a:lnTo>
                  <a:lnTo>
                    <a:pt x="300" y="179"/>
                  </a:lnTo>
                  <a:lnTo>
                    <a:pt x="300" y="181"/>
                  </a:lnTo>
                  <a:lnTo>
                    <a:pt x="302" y="181"/>
                  </a:lnTo>
                  <a:lnTo>
                    <a:pt x="300" y="179"/>
                  </a:lnTo>
                  <a:lnTo>
                    <a:pt x="302" y="179"/>
                  </a:lnTo>
                  <a:lnTo>
                    <a:pt x="302" y="177"/>
                  </a:lnTo>
                  <a:lnTo>
                    <a:pt x="302" y="175"/>
                  </a:lnTo>
                  <a:lnTo>
                    <a:pt x="304" y="175"/>
                  </a:lnTo>
                  <a:lnTo>
                    <a:pt x="302" y="175"/>
                  </a:lnTo>
                  <a:lnTo>
                    <a:pt x="304" y="175"/>
                  </a:lnTo>
                  <a:lnTo>
                    <a:pt x="304" y="173"/>
                  </a:lnTo>
                  <a:lnTo>
                    <a:pt x="302" y="173"/>
                  </a:lnTo>
                  <a:lnTo>
                    <a:pt x="304" y="173"/>
                  </a:lnTo>
                  <a:lnTo>
                    <a:pt x="305" y="173"/>
                  </a:lnTo>
                  <a:lnTo>
                    <a:pt x="305" y="175"/>
                  </a:lnTo>
                  <a:lnTo>
                    <a:pt x="307" y="175"/>
                  </a:lnTo>
                  <a:lnTo>
                    <a:pt x="309" y="175"/>
                  </a:lnTo>
                  <a:lnTo>
                    <a:pt x="311" y="175"/>
                  </a:lnTo>
                  <a:lnTo>
                    <a:pt x="311" y="173"/>
                  </a:lnTo>
                  <a:lnTo>
                    <a:pt x="311" y="171"/>
                  </a:lnTo>
                  <a:lnTo>
                    <a:pt x="317" y="171"/>
                  </a:lnTo>
                  <a:lnTo>
                    <a:pt x="319" y="171"/>
                  </a:lnTo>
                  <a:lnTo>
                    <a:pt x="321" y="171"/>
                  </a:lnTo>
                  <a:lnTo>
                    <a:pt x="327" y="169"/>
                  </a:lnTo>
                  <a:lnTo>
                    <a:pt x="328" y="169"/>
                  </a:lnTo>
                  <a:lnTo>
                    <a:pt x="328" y="171"/>
                  </a:lnTo>
                  <a:lnTo>
                    <a:pt x="330" y="171"/>
                  </a:lnTo>
                  <a:lnTo>
                    <a:pt x="328" y="169"/>
                  </a:lnTo>
                  <a:lnTo>
                    <a:pt x="332" y="169"/>
                  </a:lnTo>
                  <a:lnTo>
                    <a:pt x="332" y="167"/>
                  </a:lnTo>
                  <a:lnTo>
                    <a:pt x="330" y="167"/>
                  </a:lnTo>
                  <a:lnTo>
                    <a:pt x="332" y="167"/>
                  </a:lnTo>
                  <a:lnTo>
                    <a:pt x="334" y="167"/>
                  </a:lnTo>
                  <a:lnTo>
                    <a:pt x="336" y="167"/>
                  </a:lnTo>
                  <a:lnTo>
                    <a:pt x="338" y="167"/>
                  </a:lnTo>
                  <a:lnTo>
                    <a:pt x="340" y="167"/>
                  </a:lnTo>
                  <a:lnTo>
                    <a:pt x="342" y="167"/>
                  </a:lnTo>
                  <a:lnTo>
                    <a:pt x="344" y="167"/>
                  </a:lnTo>
                  <a:lnTo>
                    <a:pt x="348" y="165"/>
                  </a:lnTo>
                  <a:lnTo>
                    <a:pt x="353" y="165"/>
                  </a:lnTo>
                  <a:lnTo>
                    <a:pt x="355" y="165"/>
                  </a:lnTo>
                  <a:lnTo>
                    <a:pt x="357" y="165"/>
                  </a:lnTo>
                  <a:lnTo>
                    <a:pt x="357" y="163"/>
                  </a:lnTo>
                  <a:lnTo>
                    <a:pt x="365" y="163"/>
                  </a:lnTo>
                  <a:lnTo>
                    <a:pt x="367" y="163"/>
                  </a:lnTo>
                  <a:lnTo>
                    <a:pt x="371" y="159"/>
                  </a:lnTo>
                  <a:lnTo>
                    <a:pt x="373" y="159"/>
                  </a:lnTo>
                  <a:lnTo>
                    <a:pt x="375" y="158"/>
                  </a:lnTo>
                  <a:lnTo>
                    <a:pt x="378" y="156"/>
                  </a:lnTo>
                  <a:lnTo>
                    <a:pt x="380" y="154"/>
                  </a:lnTo>
                  <a:lnTo>
                    <a:pt x="378" y="154"/>
                  </a:lnTo>
                  <a:lnTo>
                    <a:pt x="380" y="154"/>
                  </a:lnTo>
                  <a:lnTo>
                    <a:pt x="382" y="152"/>
                  </a:lnTo>
                  <a:lnTo>
                    <a:pt x="384" y="152"/>
                  </a:lnTo>
                  <a:lnTo>
                    <a:pt x="386" y="154"/>
                  </a:lnTo>
                  <a:lnTo>
                    <a:pt x="386" y="152"/>
                  </a:lnTo>
                  <a:lnTo>
                    <a:pt x="384" y="152"/>
                  </a:lnTo>
                  <a:lnTo>
                    <a:pt x="384" y="150"/>
                  </a:lnTo>
                  <a:lnTo>
                    <a:pt x="382" y="150"/>
                  </a:lnTo>
                  <a:lnTo>
                    <a:pt x="384" y="150"/>
                  </a:lnTo>
                  <a:lnTo>
                    <a:pt x="386" y="150"/>
                  </a:lnTo>
                  <a:lnTo>
                    <a:pt x="386" y="148"/>
                  </a:lnTo>
                  <a:lnTo>
                    <a:pt x="388" y="148"/>
                  </a:lnTo>
                  <a:lnTo>
                    <a:pt x="390" y="148"/>
                  </a:lnTo>
                  <a:lnTo>
                    <a:pt x="390" y="146"/>
                  </a:lnTo>
                  <a:lnTo>
                    <a:pt x="390" y="148"/>
                  </a:lnTo>
                  <a:lnTo>
                    <a:pt x="390" y="146"/>
                  </a:lnTo>
                  <a:lnTo>
                    <a:pt x="392" y="146"/>
                  </a:lnTo>
                  <a:lnTo>
                    <a:pt x="394" y="146"/>
                  </a:lnTo>
                  <a:lnTo>
                    <a:pt x="394" y="144"/>
                  </a:lnTo>
                  <a:lnTo>
                    <a:pt x="394" y="146"/>
                  </a:lnTo>
                  <a:lnTo>
                    <a:pt x="398" y="144"/>
                  </a:lnTo>
                  <a:lnTo>
                    <a:pt x="396" y="144"/>
                  </a:lnTo>
                  <a:lnTo>
                    <a:pt x="398" y="144"/>
                  </a:lnTo>
                  <a:lnTo>
                    <a:pt x="399" y="144"/>
                  </a:lnTo>
                  <a:lnTo>
                    <a:pt x="401" y="144"/>
                  </a:lnTo>
                  <a:lnTo>
                    <a:pt x="399" y="142"/>
                  </a:lnTo>
                  <a:lnTo>
                    <a:pt x="401" y="142"/>
                  </a:lnTo>
                  <a:lnTo>
                    <a:pt x="403" y="142"/>
                  </a:lnTo>
                  <a:lnTo>
                    <a:pt x="405" y="142"/>
                  </a:lnTo>
                  <a:lnTo>
                    <a:pt x="407" y="142"/>
                  </a:lnTo>
                  <a:lnTo>
                    <a:pt x="409" y="142"/>
                  </a:lnTo>
                  <a:lnTo>
                    <a:pt x="407" y="142"/>
                  </a:lnTo>
                  <a:lnTo>
                    <a:pt x="407" y="140"/>
                  </a:lnTo>
                  <a:lnTo>
                    <a:pt x="409" y="140"/>
                  </a:lnTo>
                  <a:lnTo>
                    <a:pt x="409" y="142"/>
                  </a:lnTo>
                  <a:lnTo>
                    <a:pt x="411" y="142"/>
                  </a:lnTo>
                  <a:lnTo>
                    <a:pt x="411" y="144"/>
                  </a:lnTo>
                  <a:lnTo>
                    <a:pt x="413" y="144"/>
                  </a:lnTo>
                  <a:lnTo>
                    <a:pt x="415" y="144"/>
                  </a:lnTo>
                  <a:lnTo>
                    <a:pt x="417" y="144"/>
                  </a:lnTo>
                  <a:lnTo>
                    <a:pt x="419" y="144"/>
                  </a:lnTo>
                  <a:lnTo>
                    <a:pt x="421" y="144"/>
                  </a:lnTo>
                  <a:lnTo>
                    <a:pt x="423" y="144"/>
                  </a:lnTo>
                  <a:lnTo>
                    <a:pt x="423" y="142"/>
                  </a:lnTo>
                  <a:lnTo>
                    <a:pt x="424" y="142"/>
                  </a:lnTo>
                  <a:lnTo>
                    <a:pt x="423" y="142"/>
                  </a:lnTo>
                  <a:lnTo>
                    <a:pt x="424" y="142"/>
                  </a:lnTo>
                  <a:lnTo>
                    <a:pt x="426" y="142"/>
                  </a:lnTo>
                  <a:lnTo>
                    <a:pt x="428" y="142"/>
                  </a:lnTo>
                  <a:lnTo>
                    <a:pt x="430" y="140"/>
                  </a:lnTo>
                  <a:lnTo>
                    <a:pt x="432" y="140"/>
                  </a:lnTo>
                  <a:lnTo>
                    <a:pt x="430" y="140"/>
                  </a:lnTo>
                  <a:lnTo>
                    <a:pt x="430" y="142"/>
                  </a:lnTo>
                  <a:lnTo>
                    <a:pt x="432" y="142"/>
                  </a:lnTo>
                  <a:lnTo>
                    <a:pt x="432" y="140"/>
                  </a:lnTo>
                  <a:lnTo>
                    <a:pt x="434" y="140"/>
                  </a:lnTo>
                  <a:lnTo>
                    <a:pt x="438" y="140"/>
                  </a:lnTo>
                  <a:lnTo>
                    <a:pt x="442" y="140"/>
                  </a:lnTo>
                  <a:lnTo>
                    <a:pt x="444" y="140"/>
                  </a:lnTo>
                  <a:lnTo>
                    <a:pt x="446" y="138"/>
                  </a:lnTo>
                  <a:lnTo>
                    <a:pt x="447" y="138"/>
                  </a:lnTo>
                  <a:lnTo>
                    <a:pt x="451" y="138"/>
                  </a:lnTo>
                  <a:lnTo>
                    <a:pt x="453" y="138"/>
                  </a:lnTo>
                  <a:lnTo>
                    <a:pt x="455" y="138"/>
                  </a:lnTo>
                  <a:lnTo>
                    <a:pt x="459" y="138"/>
                  </a:lnTo>
                  <a:lnTo>
                    <a:pt x="461" y="138"/>
                  </a:lnTo>
                  <a:lnTo>
                    <a:pt x="463" y="140"/>
                  </a:lnTo>
                  <a:lnTo>
                    <a:pt x="465" y="140"/>
                  </a:lnTo>
                  <a:lnTo>
                    <a:pt x="465" y="138"/>
                  </a:lnTo>
                  <a:lnTo>
                    <a:pt x="465" y="140"/>
                  </a:lnTo>
                  <a:lnTo>
                    <a:pt x="467" y="138"/>
                  </a:lnTo>
                  <a:lnTo>
                    <a:pt x="469" y="138"/>
                  </a:lnTo>
                  <a:lnTo>
                    <a:pt x="470" y="138"/>
                  </a:lnTo>
                  <a:lnTo>
                    <a:pt x="472" y="138"/>
                  </a:lnTo>
                  <a:lnTo>
                    <a:pt x="474" y="138"/>
                  </a:lnTo>
                  <a:lnTo>
                    <a:pt x="476" y="136"/>
                  </a:lnTo>
                  <a:lnTo>
                    <a:pt x="480" y="136"/>
                  </a:lnTo>
                  <a:lnTo>
                    <a:pt x="482" y="136"/>
                  </a:lnTo>
                  <a:lnTo>
                    <a:pt x="484" y="136"/>
                  </a:lnTo>
                  <a:lnTo>
                    <a:pt x="486" y="134"/>
                  </a:lnTo>
                  <a:lnTo>
                    <a:pt x="490" y="134"/>
                  </a:lnTo>
                  <a:lnTo>
                    <a:pt x="490" y="136"/>
                  </a:lnTo>
                  <a:lnTo>
                    <a:pt x="492" y="136"/>
                  </a:lnTo>
                  <a:lnTo>
                    <a:pt x="492" y="134"/>
                  </a:lnTo>
                  <a:lnTo>
                    <a:pt x="494" y="134"/>
                  </a:lnTo>
                  <a:lnTo>
                    <a:pt x="495" y="134"/>
                  </a:lnTo>
                  <a:lnTo>
                    <a:pt x="497" y="134"/>
                  </a:lnTo>
                  <a:lnTo>
                    <a:pt x="497" y="136"/>
                  </a:lnTo>
                  <a:lnTo>
                    <a:pt x="499" y="136"/>
                  </a:lnTo>
                  <a:lnTo>
                    <a:pt x="499" y="134"/>
                  </a:lnTo>
                  <a:lnTo>
                    <a:pt x="499" y="136"/>
                  </a:lnTo>
                  <a:lnTo>
                    <a:pt x="501" y="136"/>
                  </a:lnTo>
                  <a:lnTo>
                    <a:pt x="503" y="136"/>
                  </a:lnTo>
                  <a:lnTo>
                    <a:pt x="503" y="138"/>
                  </a:lnTo>
                  <a:lnTo>
                    <a:pt x="505" y="136"/>
                  </a:lnTo>
                  <a:lnTo>
                    <a:pt x="505" y="138"/>
                  </a:lnTo>
                  <a:lnTo>
                    <a:pt x="505" y="136"/>
                  </a:lnTo>
                  <a:lnTo>
                    <a:pt x="505" y="138"/>
                  </a:lnTo>
                  <a:lnTo>
                    <a:pt x="507" y="138"/>
                  </a:lnTo>
                  <a:lnTo>
                    <a:pt x="509" y="138"/>
                  </a:lnTo>
                  <a:lnTo>
                    <a:pt x="511" y="140"/>
                  </a:lnTo>
                  <a:lnTo>
                    <a:pt x="513" y="140"/>
                  </a:lnTo>
                  <a:lnTo>
                    <a:pt x="513" y="142"/>
                  </a:lnTo>
                  <a:lnTo>
                    <a:pt x="515" y="142"/>
                  </a:lnTo>
                  <a:lnTo>
                    <a:pt x="517" y="142"/>
                  </a:lnTo>
                  <a:lnTo>
                    <a:pt x="517" y="144"/>
                  </a:lnTo>
                  <a:lnTo>
                    <a:pt x="518" y="144"/>
                  </a:lnTo>
                  <a:lnTo>
                    <a:pt x="524" y="148"/>
                  </a:lnTo>
                  <a:lnTo>
                    <a:pt x="526" y="150"/>
                  </a:lnTo>
                  <a:lnTo>
                    <a:pt x="526" y="148"/>
                  </a:lnTo>
                  <a:lnTo>
                    <a:pt x="530" y="150"/>
                  </a:lnTo>
                  <a:lnTo>
                    <a:pt x="534" y="152"/>
                  </a:lnTo>
                  <a:lnTo>
                    <a:pt x="536" y="154"/>
                  </a:lnTo>
                  <a:lnTo>
                    <a:pt x="538" y="154"/>
                  </a:lnTo>
                  <a:lnTo>
                    <a:pt x="540" y="154"/>
                  </a:lnTo>
                  <a:lnTo>
                    <a:pt x="540" y="156"/>
                  </a:lnTo>
                  <a:lnTo>
                    <a:pt x="542" y="156"/>
                  </a:lnTo>
                  <a:lnTo>
                    <a:pt x="543" y="156"/>
                  </a:lnTo>
                  <a:lnTo>
                    <a:pt x="545" y="156"/>
                  </a:lnTo>
                  <a:lnTo>
                    <a:pt x="545" y="158"/>
                  </a:lnTo>
                  <a:lnTo>
                    <a:pt x="545" y="156"/>
                  </a:lnTo>
                  <a:lnTo>
                    <a:pt x="545" y="158"/>
                  </a:lnTo>
                  <a:lnTo>
                    <a:pt x="545" y="156"/>
                  </a:lnTo>
                  <a:lnTo>
                    <a:pt x="547" y="158"/>
                  </a:lnTo>
                  <a:lnTo>
                    <a:pt x="549" y="158"/>
                  </a:lnTo>
                  <a:lnTo>
                    <a:pt x="551" y="158"/>
                  </a:lnTo>
                  <a:lnTo>
                    <a:pt x="553" y="158"/>
                  </a:lnTo>
                  <a:lnTo>
                    <a:pt x="553" y="159"/>
                  </a:lnTo>
                  <a:lnTo>
                    <a:pt x="553" y="158"/>
                  </a:lnTo>
                  <a:lnTo>
                    <a:pt x="555" y="158"/>
                  </a:lnTo>
                  <a:lnTo>
                    <a:pt x="555" y="159"/>
                  </a:lnTo>
                  <a:lnTo>
                    <a:pt x="557" y="159"/>
                  </a:lnTo>
                  <a:lnTo>
                    <a:pt x="559" y="159"/>
                  </a:lnTo>
                  <a:lnTo>
                    <a:pt x="561" y="159"/>
                  </a:lnTo>
                  <a:lnTo>
                    <a:pt x="563" y="161"/>
                  </a:lnTo>
                  <a:lnTo>
                    <a:pt x="563" y="159"/>
                  </a:lnTo>
                  <a:lnTo>
                    <a:pt x="563" y="158"/>
                  </a:lnTo>
                  <a:lnTo>
                    <a:pt x="565" y="158"/>
                  </a:lnTo>
                  <a:lnTo>
                    <a:pt x="566" y="158"/>
                  </a:lnTo>
                  <a:lnTo>
                    <a:pt x="568" y="158"/>
                  </a:lnTo>
                  <a:lnTo>
                    <a:pt x="568" y="159"/>
                  </a:lnTo>
                  <a:lnTo>
                    <a:pt x="570" y="159"/>
                  </a:lnTo>
                  <a:lnTo>
                    <a:pt x="568" y="158"/>
                  </a:lnTo>
                  <a:lnTo>
                    <a:pt x="570" y="159"/>
                  </a:lnTo>
                  <a:lnTo>
                    <a:pt x="570" y="158"/>
                  </a:lnTo>
                  <a:lnTo>
                    <a:pt x="572" y="158"/>
                  </a:lnTo>
                  <a:lnTo>
                    <a:pt x="574" y="158"/>
                  </a:lnTo>
                  <a:lnTo>
                    <a:pt x="580" y="156"/>
                  </a:lnTo>
                  <a:lnTo>
                    <a:pt x="580" y="158"/>
                  </a:lnTo>
                  <a:lnTo>
                    <a:pt x="580" y="159"/>
                  </a:lnTo>
                  <a:lnTo>
                    <a:pt x="582" y="159"/>
                  </a:lnTo>
                  <a:lnTo>
                    <a:pt x="580" y="159"/>
                  </a:lnTo>
                  <a:lnTo>
                    <a:pt x="582" y="161"/>
                  </a:lnTo>
                  <a:lnTo>
                    <a:pt x="582" y="163"/>
                  </a:lnTo>
                  <a:lnTo>
                    <a:pt x="584" y="163"/>
                  </a:lnTo>
                  <a:lnTo>
                    <a:pt x="586" y="163"/>
                  </a:lnTo>
                  <a:lnTo>
                    <a:pt x="586" y="158"/>
                  </a:lnTo>
                  <a:lnTo>
                    <a:pt x="584" y="158"/>
                  </a:lnTo>
                  <a:lnTo>
                    <a:pt x="582" y="158"/>
                  </a:lnTo>
                  <a:lnTo>
                    <a:pt x="582" y="156"/>
                  </a:lnTo>
                  <a:lnTo>
                    <a:pt x="584" y="154"/>
                  </a:lnTo>
                  <a:lnTo>
                    <a:pt x="586" y="154"/>
                  </a:lnTo>
                  <a:lnTo>
                    <a:pt x="588" y="154"/>
                  </a:lnTo>
                  <a:lnTo>
                    <a:pt x="588" y="152"/>
                  </a:lnTo>
                  <a:lnTo>
                    <a:pt x="589" y="152"/>
                  </a:lnTo>
                  <a:lnTo>
                    <a:pt x="591" y="152"/>
                  </a:lnTo>
                  <a:lnTo>
                    <a:pt x="593" y="152"/>
                  </a:lnTo>
                  <a:lnTo>
                    <a:pt x="595" y="152"/>
                  </a:lnTo>
                  <a:lnTo>
                    <a:pt x="595" y="150"/>
                  </a:lnTo>
                  <a:lnTo>
                    <a:pt x="597" y="150"/>
                  </a:lnTo>
                  <a:lnTo>
                    <a:pt x="599" y="150"/>
                  </a:lnTo>
                  <a:lnTo>
                    <a:pt x="601" y="150"/>
                  </a:lnTo>
                  <a:lnTo>
                    <a:pt x="605" y="150"/>
                  </a:lnTo>
                  <a:lnTo>
                    <a:pt x="605" y="148"/>
                  </a:lnTo>
                  <a:lnTo>
                    <a:pt x="605" y="146"/>
                  </a:lnTo>
                  <a:lnTo>
                    <a:pt x="603" y="146"/>
                  </a:lnTo>
                  <a:lnTo>
                    <a:pt x="601" y="146"/>
                  </a:lnTo>
                  <a:lnTo>
                    <a:pt x="599" y="146"/>
                  </a:lnTo>
                  <a:lnTo>
                    <a:pt x="597" y="146"/>
                  </a:lnTo>
                  <a:lnTo>
                    <a:pt x="595" y="146"/>
                  </a:lnTo>
                  <a:lnTo>
                    <a:pt x="595" y="148"/>
                  </a:lnTo>
                  <a:lnTo>
                    <a:pt x="591" y="148"/>
                  </a:lnTo>
                  <a:lnTo>
                    <a:pt x="589" y="148"/>
                  </a:lnTo>
                  <a:lnTo>
                    <a:pt x="588" y="148"/>
                  </a:lnTo>
                  <a:lnTo>
                    <a:pt x="586" y="148"/>
                  </a:lnTo>
                  <a:lnTo>
                    <a:pt x="586" y="150"/>
                  </a:lnTo>
                  <a:lnTo>
                    <a:pt x="584" y="150"/>
                  </a:lnTo>
                  <a:lnTo>
                    <a:pt x="582" y="150"/>
                  </a:lnTo>
                  <a:lnTo>
                    <a:pt x="580" y="152"/>
                  </a:lnTo>
                  <a:lnTo>
                    <a:pt x="578" y="152"/>
                  </a:lnTo>
                  <a:lnTo>
                    <a:pt x="580" y="152"/>
                  </a:lnTo>
                  <a:lnTo>
                    <a:pt x="578" y="152"/>
                  </a:lnTo>
                  <a:lnTo>
                    <a:pt x="576" y="152"/>
                  </a:lnTo>
                  <a:lnTo>
                    <a:pt x="574" y="154"/>
                  </a:lnTo>
                  <a:lnTo>
                    <a:pt x="574" y="152"/>
                  </a:lnTo>
                  <a:lnTo>
                    <a:pt x="572" y="152"/>
                  </a:lnTo>
                  <a:lnTo>
                    <a:pt x="566" y="154"/>
                  </a:lnTo>
                  <a:lnTo>
                    <a:pt x="565" y="154"/>
                  </a:lnTo>
                  <a:lnTo>
                    <a:pt x="561" y="154"/>
                  </a:lnTo>
                  <a:lnTo>
                    <a:pt x="559" y="154"/>
                  </a:lnTo>
                  <a:lnTo>
                    <a:pt x="555" y="154"/>
                  </a:lnTo>
                  <a:lnTo>
                    <a:pt x="545" y="152"/>
                  </a:lnTo>
                  <a:lnTo>
                    <a:pt x="542" y="150"/>
                  </a:lnTo>
                  <a:lnTo>
                    <a:pt x="538" y="150"/>
                  </a:lnTo>
                  <a:lnTo>
                    <a:pt x="534" y="148"/>
                  </a:lnTo>
                  <a:lnTo>
                    <a:pt x="526" y="144"/>
                  </a:lnTo>
                  <a:lnTo>
                    <a:pt x="528" y="142"/>
                  </a:lnTo>
                  <a:lnTo>
                    <a:pt x="526" y="142"/>
                  </a:lnTo>
                  <a:lnTo>
                    <a:pt x="524" y="142"/>
                  </a:lnTo>
                  <a:lnTo>
                    <a:pt x="524" y="140"/>
                  </a:lnTo>
                  <a:lnTo>
                    <a:pt x="522" y="140"/>
                  </a:lnTo>
                  <a:lnTo>
                    <a:pt x="522" y="138"/>
                  </a:lnTo>
                  <a:lnTo>
                    <a:pt x="520" y="138"/>
                  </a:lnTo>
                  <a:lnTo>
                    <a:pt x="520" y="140"/>
                  </a:lnTo>
                  <a:lnTo>
                    <a:pt x="515" y="134"/>
                  </a:lnTo>
                  <a:lnTo>
                    <a:pt x="513" y="134"/>
                  </a:lnTo>
                  <a:lnTo>
                    <a:pt x="507" y="133"/>
                  </a:lnTo>
                  <a:lnTo>
                    <a:pt x="505" y="131"/>
                  </a:lnTo>
                  <a:lnTo>
                    <a:pt x="503" y="131"/>
                  </a:lnTo>
                  <a:lnTo>
                    <a:pt x="503" y="129"/>
                  </a:lnTo>
                  <a:lnTo>
                    <a:pt x="505" y="129"/>
                  </a:lnTo>
                  <a:lnTo>
                    <a:pt x="505" y="127"/>
                  </a:lnTo>
                  <a:lnTo>
                    <a:pt x="505" y="125"/>
                  </a:lnTo>
                  <a:lnTo>
                    <a:pt x="505" y="123"/>
                  </a:lnTo>
                  <a:lnTo>
                    <a:pt x="507" y="123"/>
                  </a:lnTo>
                  <a:lnTo>
                    <a:pt x="507" y="121"/>
                  </a:lnTo>
                  <a:lnTo>
                    <a:pt x="509" y="121"/>
                  </a:lnTo>
                  <a:lnTo>
                    <a:pt x="507" y="121"/>
                  </a:lnTo>
                  <a:lnTo>
                    <a:pt x="509" y="121"/>
                  </a:lnTo>
                  <a:lnTo>
                    <a:pt x="509" y="119"/>
                  </a:lnTo>
                  <a:lnTo>
                    <a:pt x="511" y="119"/>
                  </a:lnTo>
                  <a:lnTo>
                    <a:pt x="511" y="117"/>
                  </a:lnTo>
                  <a:lnTo>
                    <a:pt x="513" y="117"/>
                  </a:lnTo>
                  <a:lnTo>
                    <a:pt x="515" y="115"/>
                  </a:lnTo>
                  <a:lnTo>
                    <a:pt x="517" y="115"/>
                  </a:lnTo>
                  <a:lnTo>
                    <a:pt x="517" y="113"/>
                  </a:lnTo>
                  <a:lnTo>
                    <a:pt x="515" y="113"/>
                  </a:lnTo>
                  <a:lnTo>
                    <a:pt x="513" y="113"/>
                  </a:lnTo>
                  <a:lnTo>
                    <a:pt x="513" y="111"/>
                  </a:lnTo>
                  <a:lnTo>
                    <a:pt x="515" y="111"/>
                  </a:lnTo>
                  <a:lnTo>
                    <a:pt x="517" y="111"/>
                  </a:lnTo>
                  <a:lnTo>
                    <a:pt x="518" y="111"/>
                  </a:lnTo>
                  <a:lnTo>
                    <a:pt x="520" y="111"/>
                  </a:lnTo>
                  <a:lnTo>
                    <a:pt x="522" y="110"/>
                  </a:lnTo>
                  <a:lnTo>
                    <a:pt x="524" y="110"/>
                  </a:lnTo>
                  <a:lnTo>
                    <a:pt x="524" y="108"/>
                  </a:lnTo>
                  <a:lnTo>
                    <a:pt x="524" y="106"/>
                  </a:lnTo>
                  <a:lnTo>
                    <a:pt x="526" y="106"/>
                  </a:lnTo>
                  <a:lnTo>
                    <a:pt x="528" y="104"/>
                  </a:lnTo>
                  <a:lnTo>
                    <a:pt x="530" y="104"/>
                  </a:lnTo>
                  <a:lnTo>
                    <a:pt x="530" y="102"/>
                  </a:lnTo>
                  <a:lnTo>
                    <a:pt x="530" y="100"/>
                  </a:lnTo>
                  <a:lnTo>
                    <a:pt x="530" y="98"/>
                  </a:lnTo>
                  <a:lnTo>
                    <a:pt x="532" y="98"/>
                  </a:lnTo>
                  <a:lnTo>
                    <a:pt x="532" y="96"/>
                  </a:lnTo>
                  <a:lnTo>
                    <a:pt x="534" y="96"/>
                  </a:lnTo>
                  <a:lnTo>
                    <a:pt x="534" y="94"/>
                  </a:lnTo>
                  <a:lnTo>
                    <a:pt x="536" y="94"/>
                  </a:lnTo>
                  <a:lnTo>
                    <a:pt x="538" y="92"/>
                  </a:lnTo>
                  <a:lnTo>
                    <a:pt x="540" y="92"/>
                  </a:lnTo>
                  <a:lnTo>
                    <a:pt x="542" y="92"/>
                  </a:lnTo>
                  <a:lnTo>
                    <a:pt x="543" y="92"/>
                  </a:lnTo>
                  <a:lnTo>
                    <a:pt x="545" y="92"/>
                  </a:lnTo>
                  <a:lnTo>
                    <a:pt x="547" y="92"/>
                  </a:lnTo>
                  <a:lnTo>
                    <a:pt x="549" y="92"/>
                  </a:lnTo>
                  <a:lnTo>
                    <a:pt x="555" y="94"/>
                  </a:lnTo>
                  <a:lnTo>
                    <a:pt x="557" y="94"/>
                  </a:lnTo>
                  <a:lnTo>
                    <a:pt x="559" y="96"/>
                  </a:lnTo>
                  <a:lnTo>
                    <a:pt x="561" y="96"/>
                  </a:lnTo>
                  <a:lnTo>
                    <a:pt x="561" y="98"/>
                  </a:lnTo>
                  <a:lnTo>
                    <a:pt x="563" y="96"/>
                  </a:lnTo>
                  <a:lnTo>
                    <a:pt x="563" y="94"/>
                  </a:lnTo>
                  <a:lnTo>
                    <a:pt x="561" y="94"/>
                  </a:lnTo>
                  <a:lnTo>
                    <a:pt x="561" y="92"/>
                  </a:lnTo>
                  <a:lnTo>
                    <a:pt x="563" y="92"/>
                  </a:lnTo>
                  <a:lnTo>
                    <a:pt x="563" y="90"/>
                  </a:lnTo>
                  <a:lnTo>
                    <a:pt x="561" y="90"/>
                  </a:lnTo>
                  <a:lnTo>
                    <a:pt x="561" y="92"/>
                  </a:lnTo>
                  <a:lnTo>
                    <a:pt x="559" y="92"/>
                  </a:lnTo>
                  <a:lnTo>
                    <a:pt x="557" y="92"/>
                  </a:lnTo>
                  <a:lnTo>
                    <a:pt x="557" y="90"/>
                  </a:lnTo>
                  <a:lnTo>
                    <a:pt x="555" y="90"/>
                  </a:lnTo>
                  <a:lnTo>
                    <a:pt x="553" y="90"/>
                  </a:lnTo>
                  <a:lnTo>
                    <a:pt x="553" y="88"/>
                  </a:lnTo>
                  <a:lnTo>
                    <a:pt x="553" y="90"/>
                  </a:lnTo>
                  <a:lnTo>
                    <a:pt x="551" y="88"/>
                  </a:lnTo>
                  <a:lnTo>
                    <a:pt x="549" y="88"/>
                  </a:lnTo>
                  <a:lnTo>
                    <a:pt x="547" y="88"/>
                  </a:lnTo>
                  <a:lnTo>
                    <a:pt x="545" y="88"/>
                  </a:lnTo>
                  <a:lnTo>
                    <a:pt x="543" y="88"/>
                  </a:lnTo>
                  <a:lnTo>
                    <a:pt x="542" y="88"/>
                  </a:lnTo>
                  <a:lnTo>
                    <a:pt x="540" y="88"/>
                  </a:lnTo>
                  <a:lnTo>
                    <a:pt x="540" y="90"/>
                  </a:lnTo>
                  <a:lnTo>
                    <a:pt x="540" y="88"/>
                  </a:lnTo>
                  <a:lnTo>
                    <a:pt x="540" y="90"/>
                  </a:lnTo>
                  <a:lnTo>
                    <a:pt x="538" y="90"/>
                  </a:lnTo>
                  <a:lnTo>
                    <a:pt x="536" y="90"/>
                  </a:lnTo>
                  <a:lnTo>
                    <a:pt x="534" y="90"/>
                  </a:lnTo>
                  <a:lnTo>
                    <a:pt x="532" y="90"/>
                  </a:lnTo>
                  <a:lnTo>
                    <a:pt x="532" y="92"/>
                  </a:lnTo>
                  <a:lnTo>
                    <a:pt x="530" y="92"/>
                  </a:lnTo>
                  <a:lnTo>
                    <a:pt x="530" y="94"/>
                  </a:lnTo>
                  <a:lnTo>
                    <a:pt x="528" y="94"/>
                  </a:lnTo>
                  <a:lnTo>
                    <a:pt x="528" y="96"/>
                  </a:lnTo>
                  <a:lnTo>
                    <a:pt x="526" y="96"/>
                  </a:lnTo>
                  <a:lnTo>
                    <a:pt x="526" y="98"/>
                  </a:lnTo>
                  <a:lnTo>
                    <a:pt x="524" y="98"/>
                  </a:lnTo>
                  <a:lnTo>
                    <a:pt x="524" y="100"/>
                  </a:lnTo>
                  <a:lnTo>
                    <a:pt x="522" y="100"/>
                  </a:lnTo>
                  <a:lnTo>
                    <a:pt x="520" y="100"/>
                  </a:lnTo>
                  <a:lnTo>
                    <a:pt x="518" y="98"/>
                  </a:lnTo>
                  <a:lnTo>
                    <a:pt x="518" y="100"/>
                  </a:lnTo>
                  <a:lnTo>
                    <a:pt x="518" y="98"/>
                  </a:lnTo>
                  <a:lnTo>
                    <a:pt x="517" y="98"/>
                  </a:lnTo>
                  <a:lnTo>
                    <a:pt x="517" y="100"/>
                  </a:lnTo>
                  <a:lnTo>
                    <a:pt x="515" y="100"/>
                  </a:lnTo>
                  <a:lnTo>
                    <a:pt x="513" y="102"/>
                  </a:lnTo>
                  <a:lnTo>
                    <a:pt x="511" y="102"/>
                  </a:lnTo>
                  <a:lnTo>
                    <a:pt x="509" y="102"/>
                  </a:lnTo>
                  <a:lnTo>
                    <a:pt x="507" y="104"/>
                  </a:lnTo>
                  <a:lnTo>
                    <a:pt x="507" y="106"/>
                  </a:lnTo>
                  <a:lnTo>
                    <a:pt x="505" y="106"/>
                  </a:lnTo>
                  <a:lnTo>
                    <a:pt x="503" y="108"/>
                  </a:lnTo>
                  <a:lnTo>
                    <a:pt x="501" y="108"/>
                  </a:lnTo>
                  <a:lnTo>
                    <a:pt x="499" y="108"/>
                  </a:lnTo>
                  <a:lnTo>
                    <a:pt x="497" y="110"/>
                  </a:lnTo>
                  <a:lnTo>
                    <a:pt x="497" y="111"/>
                  </a:lnTo>
                  <a:lnTo>
                    <a:pt x="495" y="111"/>
                  </a:lnTo>
                  <a:lnTo>
                    <a:pt x="495" y="113"/>
                  </a:lnTo>
                  <a:lnTo>
                    <a:pt x="494" y="113"/>
                  </a:lnTo>
                  <a:lnTo>
                    <a:pt x="492" y="113"/>
                  </a:lnTo>
                  <a:lnTo>
                    <a:pt x="492" y="111"/>
                  </a:lnTo>
                  <a:lnTo>
                    <a:pt x="492" y="110"/>
                  </a:lnTo>
                  <a:lnTo>
                    <a:pt x="494" y="108"/>
                  </a:lnTo>
                  <a:lnTo>
                    <a:pt x="495" y="106"/>
                  </a:lnTo>
                  <a:lnTo>
                    <a:pt x="497" y="106"/>
                  </a:lnTo>
                  <a:lnTo>
                    <a:pt x="499" y="104"/>
                  </a:lnTo>
                  <a:lnTo>
                    <a:pt x="499" y="102"/>
                  </a:lnTo>
                  <a:lnTo>
                    <a:pt x="501" y="102"/>
                  </a:lnTo>
                  <a:lnTo>
                    <a:pt x="501" y="100"/>
                  </a:lnTo>
                  <a:lnTo>
                    <a:pt x="503" y="98"/>
                  </a:lnTo>
                  <a:lnTo>
                    <a:pt x="505" y="98"/>
                  </a:lnTo>
                  <a:lnTo>
                    <a:pt x="507" y="96"/>
                  </a:lnTo>
                  <a:lnTo>
                    <a:pt x="509" y="94"/>
                  </a:lnTo>
                  <a:lnTo>
                    <a:pt x="509" y="92"/>
                  </a:lnTo>
                  <a:lnTo>
                    <a:pt x="511" y="92"/>
                  </a:lnTo>
                  <a:lnTo>
                    <a:pt x="511" y="90"/>
                  </a:lnTo>
                  <a:lnTo>
                    <a:pt x="511" y="88"/>
                  </a:lnTo>
                  <a:lnTo>
                    <a:pt x="513" y="88"/>
                  </a:lnTo>
                  <a:lnTo>
                    <a:pt x="513" y="86"/>
                  </a:lnTo>
                  <a:lnTo>
                    <a:pt x="515" y="86"/>
                  </a:lnTo>
                  <a:lnTo>
                    <a:pt x="515" y="85"/>
                  </a:lnTo>
                  <a:lnTo>
                    <a:pt x="517" y="83"/>
                  </a:lnTo>
                  <a:lnTo>
                    <a:pt x="518" y="83"/>
                  </a:lnTo>
                  <a:lnTo>
                    <a:pt x="518" y="81"/>
                  </a:lnTo>
                  <a:lnTo>
                    <a:pt x="520" y="79"/>
                  </a:lnTo>
                  <a:lnTo>
                    <a:pt x="522" y="79"/>
                  </a:lnTo>
                  <a:lnTo>
                    <a:pt x="520" y="79"/>
                  </a:lnTo>
                  <a:lnTo>
                    <a:pt x="518" y="79"/>
                  </a:lnTo>
                  <a:lnTo>
                    <a:pt x="520" y="79"/>
                  </a:lnTo>
                  <a:lnTo>
                    <a:pt x="520" y="77"/>
                  </a:lnTo>
                  <a:lnTo>
                    <a:pt x="518" y="77"/>
                  </a:lnTo>
                  <a:lnTo>
                    <a:pt x="517" y="79"/>
                  </a:lnTo>
                  <a:lnTo>
                    <a:pt x="515" y="79"/>
                  </a:lnTo>
                  <a:lnTo>
                    <a:pt x="513" y="81"/>
                  </a:lnTo>
                  <a:lnTo>
                    <a:pt x="513" y="83"/>
                  </a:lnTo>
                  <a:lnTo>
                    <a:pt x="511" y="85"/>
                  </a:lnTo>
                  <a:lnTo>
                    <a:pt x="511" y="86"/>
                  </a:lnTo>
                  <a:lnTo>
                    <a:pt x="509" y="88"/>
                  </a:lnTo>
                  <a:lnTo>
                    <a:pt x="507" y="88"/>
                  </a:lnTo>
                  <a:lnTo>
                    <a:pt x="507" y="90"/>
                  </a:lnTo>
                  <a:lnTo>
                    <a:pt x="507" y="88"/>
                  </a:lnTo>
                  <a:lnTo>
                    <a:pt x="505" y="90"/>
                  </a:lnTo>
                  <a:lnTo>
                    <a:pt x="503" y="92"/>
                  </a:lnTo>
                  <a:lnTo>
                    <a:pt x="501" y="92"/>
                  </a:lnTo>
                  <a:lnTo>
                    <a:pt x="501" y="94"/>
                  </a:lnTo>
                  <a:lnTo>
                    <a:pt x="499" y="94"/>
                  </a:lnTo>
                  <a:lnTo>
                    <a:pt x="501" y="96"/>
                  </a:lnTo>
                  <a:lnTo>
                    <a:pt x="499" y="96"/>
                  </a:lnTo>
                  <a:lnTo>
                    <a:pt x="499" y="98"/>
                  </a:lnTo>
                  <a:lnTo>
                    <a:pt x="497" y="98"/>
                  </a:lnTo>
                  <a:lnTo>
                    <a:pt x="497" y="100"/>
                  </a:lnTo>
                  <a:lnTo>
                    <a:pt x="497" y="102"/>
                  </a:lnTo>
                  <a:lnTo>
                    <a:pt x="495" y="102"/>
                  </a:lnTo>
                  <a:lnTo>
                    <a:pt x="494" y="104"/>
                  </a:lnTo>
                  <a:lnTo>
                    <a:pt x="494" y="106"/>
                  </a:lnTo>
                  <a:lnTo>
                    <a:pt x="492" y="106"/>
                  </a:lnTo>
                  <a:lnTo>
                    <a:pt x="490" y="108"/>
                  </a:lnTo>
                  <a:lnTo>
                    <a:pt x="488" y="110"/>
                  </a:lnTo>
                  <a:lnTo>
                    <a:pt x="488" y="111"/>
                  </a:lnTo>
                  <a:lnTo>
                    <a:pt x="486" y="111"/>
                  </a:lnTo>
                  <a:lnTo>
                    <a:pt x="486" y="113"/>
                  </a:lnTo>
                  <a:lnTo>
                    <a:pt x="484" y="113"/>
                  </a:lnTo>
                  <a:lnTo>
                    <a:pt x="482" y="113"/>
                  </a:lnTo>
                  <a:lnTo>
                    <a:pt x="482" y="115"/>
                  </a:lnTo>
                  <a:lnTo>
                    <a:pt x="480" y="115"/>
                  </a:lnTo>
                  <a:lnTo>
                    <a:pt x="478" y="115"/>
                  </a:lnTo>
                  <a:lnTo>
                    <a:pt x="476" y="115"/>
                  </a:lnTo>
                  <a:lnTo>
                    <a:pt x="474" y="115"/>
                  </a:lnTo>
                  <a:lnTo>
                    <a:pt x="472" y="115"/>
                  </a:lnTo>
                  <a:lnTo>
                    <a:pt x="472" y="113"/>
                  </a:lnTo>
                  <a:lnTo>
                    <a:pt x="470" y="113"/>
                  </a:lnTo>
                  <a:lnTo>
                    <a:pt x="469" y="113"/>
                  </a:lnTo>
                  <a:lnTo>
                    <a:pt x="467" y="113"/>
                  </a:lnTo>
                  <a:lnTo>
                    <a:pt x="455" y="125"/>
                  </a:lnTo>
                  <a:lnTo>
                    <a:pt x="453" y="127"/>
                  </a:lnTo>
                  <a:lnTo>
                    <a:pt x="451" y="129"/>
                  </a:lnTo>
                  <a:lnTo>
                    <a:pt x="449" y="129"/>
                  </a:lnTo>
                  <a:lnTo>
                    <a:pt x="451" y="131"/>
                  </a:lnTo>
                  <a:lnTo>
                    <a:pt x="447" y="129"/>
                  </a:lnTo>
                  <a:lnTo>
                    <a:pt x="447" y="131"/>
                  </a:lnTo>
                  <a:lnTo>
                    <a:pt x="447" y="129"/>
                  </a:lnTo>
                  <a:lnTo>
                    <a:pt x="444" y="131"/>
                  </a:lnTo>
                  <a:lnTo>
                    <a:pt x="442" y="131"/>
                  </a:lnTo>
                  <a:lnTo>
                    <a:pt x="442" y="129"/>
                  </a:lnTo>
                  <a:lnTo>
                    <a:pt x="444" y="129"/>
                  </a:lnTo>
                  <a:lnTo>
                    <a:pt x="446" y="127"/>
                  </a:lnTo>
                  <a:lnTo>
                    <a:pt x="449" y="125"/>
                  </a:lnTo>
                  <a:lnTo>
                    <a:pt x="447" y="125"/>
                  </a:lnTo>
                  <a:lnTo>
                    <a:pt x="449" y="125"/>
                  </a:lnTo>
                  <a:lnTo>
                    <a:pt x="451" y="125"/>
                  </a:lnTo>
                  <a:lnTo>
                    <a:pt x="453" y="125"/>
                  </a:lnTo>
                  <a:lnTo>
                    <a:pt x="451" y="123"/>
                  </a:lnTo>
                  <a:lnTo>
                    <a:pt x="453" y="125"/>
                  </a:lnTo>
                  <a:lnTo>
                    <a:pt x="459" y="121"/>
                  </a:lnTo>
                  <a:lnTo>
                    <a:pt x="457" y="119"/>
                  </a:lnTo>
                  <a:lnTo>
                    <a:pt x="459" y="121"/>
                  </a:lnTo>
                  <a:lnTo>
                    <a:pt x="463" y="117"/>
                  </a:lnTo>
                  <a:lnTo>
                    <a:pt x="461" y="117"/>
                  </a:lnTo>
                  <a:lnTo>
                    <a:pt x="463" y="117"/>
                  </a:lnTo>
                  <a:lnTo>
                    <a:pt x="467" y="113"/>
                  </a:lnTo>
                  <a:lnTo>
                    <a:pt x="469" y="111"/>
                  </a:lnTo>
                  <a:lnTo>
                    <a:pt x="470" y="111"/>
                  </a:lnTo>
                  <a:lnTo>
                    <a:pt x="470" y="110"/>
                  </a:lnTo>
                  <a:lnTo>
                    <a:pt x="472" y="110"/>
                  </a:lnTo>
                  <a:lnTo>
                    <a:pt x="474" y="108"/>
                  </a:lnTo>
                  <a:lnTo>
                    <a:pt x="476" y="108"/>
                  </a:lnTo>
                  <a:lnTo>
                    <a:pt x="476" y="106"/>
                  </a:lnTo>
                  <a:lnTo>
                    <a:pt x="478" y="106"/>
                  </a:lnTo>
                  <a:lnTo>
                    <a:pt x="480" y="104"/>
                  </a:lnTo>
                  <a:lnTo>
                    <a:pt x="482" y="102"/>
                  </a:lnTo>
                  <a:lnTo>
                    <a:pt x="484" y="100"/>
                  </a:lnTo>
                  <a:lnTo>
                    <a:pt x="482" y="100"/>
                  </a:lnTo>
                  <a:lnTo>
                    <a:pt x="484" y="100"/>
                  </a:lnTo>
                  <a:lnTo>
                    <a:pt x="486" y="98"/>
                  </a:lnTo>
                  <a:lnTo>
                    <a:pt x="488" y="98"/>
                  </a:lnTo>
                  <a:lnTo>
                    <a:pt x="490" y="98"/>
                  </a:lnTo>
                  <a:lnTo>
                    <a:pt x="490" y="96"/>
                  </a:lnTo>
                  <a:lnTo>
                    <a:pt x="492" y="96"/>
                  </a:lnTo>
                  <a:lnTo>
                    <a:pt x="492" y="98"/>
                  </a:lnTo>
                  <a:lnTo>
                    <a:pt x="492" y="96"/>
                  </a:lnTo>
                  <a:lnTo>
                    <a:pt x="494" y="96"/>
                  </a:lnTo>
                  <a:lnTo>
                    <a:pt x="495" y="96"/>
                  </a:lnTo>
                  <a:lnTo>
                    <a:pt x="495" y="94"/>
                  </a:lnTo>
                  <a:lnTo>
                    <a:pt x="499" y="94"/>
                  </a:lnTo>
                  <a:lnTo>
                    <a:pt x="497" y="94"/>
                  </a:lnTo>
                  <a:lnTo>
                    <a:pt x="495" y="94"/>
                  </a:lnTo>
                  <a:lnTo>
                    <a:pt x="494" y="94"/>
                  </a:lnTo>
                  <a:lnTo>
                    <a:pt x="494" y="96"/>
                  </a:lnTo>
                  <a:lnTo>
                    <a:pt x="492" y="96"/>
                  </a:lnTo>
                  <a:lnTo>
                    <a:pt x="490" y="96"/>
                  </a:lnTo>
                  <a:lnTo>
                    <a:pt x="490" y="94"/>
                  </a:lnTo>
                  <a:lnTo>
                    <a:pt x="492" y="92"/>
                  </a:lnTo>
                  <a:lnTo>
                    <a:pt x="494" y="92"/>
                  </a:lnTo>
                  <a:lnTo>
                    <a:pt x="494" y="90"/>
                  </a:lnTo>
                  <a:lnTo>
                    <a:pt x="495" y="88"/>
                  </a:lnTo>
                  <a:lnTo>
                    <a:pt x="497" y="88"/>
                  </a:lnTo>
                  <a:lnTo>
                    <a:pt x="499" y="86"/>
                  </a:lnTo>
                  <a:lnTo>
                    <a:pt x="499" y="85"/>
                  </a:lnTo>
                  <a:lnTo>
                    <a:pt x="501" y="81"/>
                  </a:lnTo>
                  <a:lnTo>
                    <a:pt x="503" y="81"/>
                  </a:lnTo>
                  <a:lnTo>
                    <a:pt x="503" y="79"/>
                  </a:lnTo>
                  <a:lnTo>
                    <a:pt x="503" y="77"/>
                  </a:lnTo>
                  <a:lnTo>
                    <a:pt x="503" y="75"/>
                  </a:lnTo>
                  <a:lnTo>
                    <a:pt x="503" y="73"/>
                  </a:lnTo>
                  <a:lnTo>
                    <a:pt x="505" y="73"/>
                  </a:lnTo>
                  <a:lnTo>
                    <a:pt x="505" y="71"/>
                  </a:lnTo>
                  <a:lnTo>
                    <a:pt x="505" y="69"/>
                  </a:lnTo>
                  <a:lnTo>
                    <a:pt x="505" y="67"/>
                  </a:lnTo>
                  <a:lnTo>
                    <a:pt x="507" y="67"/>
                  </a:lnTo>
                  <a:lnTo>
                    <a:pt x="505" y="67"/>
                  </a:lnTo>
                  <a:lnTo>
                    <a:pt x="507" y="63"/>
                  </a:lnTo>
                  <a:lnTo>
                    <a:pt x="509" y="60"/>
                  </a:lnTo>
                  <a:lnTo>
                    <a:pt x="509" y="58"/>
                  </a:lnTo>
                  <a:lnTo>
                    <a:pt x="511" y="56"/>
                  </a:lnTo>
                  <a:lnTo>
                    <a:pt x="513" y="56"/>
                  </a:lnTo>
                  <a:lnTo>
                    <a:pt x="513" y="54"/>
                  </a:lnTo>
                  <a:lnTo>
                    <a:pt x="515" y="52"/>
                  </a:lnTo>
                  <a:lnTo>
                    <a:pt x="518" y="50"/>
                  </a:lnTo>
                  <a:lnTo>
                    <a:pt x="517" y="48"/>
                  </a:lnTo>
                  <a:lnTo>
                    <a:pt x="518" y="48"/>
                  </a:lnTo>
                  <a:lnTo>
                    <a:pt x="518" y="50"/>
                  </a:lnTo>
                  <a:lnTo>
                    <a:pt x="520" y="48"/>
                  </a:lnTo>
                  <a:lnTo>
                    <a:pt x="520" y="46"/>
                  </a:lnTo>
                  <a:lnTo>
                    <a:pt x="524" y="44"/>
                  </a:lnTo>
                  <a:lnTo>
                    <a:pt x="528" y="40"/>
                  </a:lnTo>
                  <a:lnTo>
                    <a:pt x="532" y="38"/>
                  </a:lnTo>
                  <a:lnTo>
                    <a:pt x="534" y="38"/>
                  </a:lnTo>
                  <a:lnTo>
                    <a:pt x="536" y="38"/>
                  </a:lnTo>
                  <a:lnTo>
                    <a:pt x="538" y="38"/>
                  </a:lnTo>
                  <a:lnTo>
                    <a:pt x="538" y="37"/>
                  </a:lnTo>
                  <a:lnTo>
                    <a:pt x="540" y="37"/>
                  </a:lnTo>
                  <a:lnTo>
                    <a:pt x="542" y="37"/>
                  </a:lnTo>
                  <a:lnTo>
                    <a:pt x="543" y="37"/>
                  </a:lnTo>
                  <a:lnTo>
                    <a:pt x="545" y="35"/>
                  </a:lnTo>
                  <a:lnTo>
                    <a:pt x="547" y="35"/>
                  </a:lnTo>
                  <a:lnTo>
                    <a:pt x="549" y="35"/>
                  </a:lnTo>
                  <a:lnTo>
                    <a:pt x="551" y="35"/>
                  </a:lnTo>
                  <a:lnTo>
                    <a:pt x="553" y="35"/>
                  </a:lnTo>
                  <a:lnTo>
                    <a:pt x="555" y="35"/>
                  </a:lnTo>
                  <a:lnTo>
                    <a:pt x="559" y="35"/>
                  </a:lnTo>
                  <a:lnTo>
                    <a:pt x="561" y="35"/>
                  </a:lnTo>
                  <a:lnTo>
                    <a:pt x="561" y="37"/>
                  </a:lnTo>
                  <a:lnTo>
                    <a:pt x="565" y="37"/>
                  </a:lnTo>
                  <a:lnTo>
                    <a:pt x="568" y="38"/>
                  </a:lnTo>
                  <a:lnTo>
                    <a:pt x="570" y="38"/>
                  </a:lnTo>
                  <a:lnTo>
                    <a:pt x="572" y="38"/>
                  </a:lnTo>
                  <a:lnTo>
                    <a:pt x="574" y="40"/>
                  </a:lnTo>
                  <a:lnTo>
                    <a:pt x="576" y="40"/>
                  </a:lnTo>
                  <a:lnTo>
                    <a:pt x="578" y="40"/>
                  </a:lnTo>
                  <a:lnTo>
                    <a:pt x="580" y="40"/>
                  </a:lnTo>
                  <a:lnTo>
                    <a:pt x="584" y="38"/>
                  </a:lnTo>
                  <a:lnTo>
                    <a:pt x="586" y="38"/>
                  </a:lnTo>
                  <a:lnTo>
                    <a:pt x="588" y="38"/>
                  </a:lnTo>
                  <a:lnTo>
                    <a:pt x="586" y="38"/>
                  </a:lnTo>
                  <a:lnTo>
                    <a:pt x="588" y="38"/>
                  </a:lnTo>
                  <a:lnTo>
                    <a:pt x="589" y="38"/>
                  </a:lnTo>
                  <a:lnTo>
                    <a:pt x="591" y="38"/>
                  </a:lnTo>
                  <a:lnTo>
                    <a:pt x="593" y="37"/>
                  </a:lnTo>
                  <a:lnTo>
                    <a:pt x="595" y="37"/>
                  </a:lnTo>
                  <a:lnTo>
                    <a:pt x="597" y="37"/>
                  </a:lnTo>
                  <a:lnTo>
                    <a:pt x="597" y="35"/>
                  </a:lnTo>
                  <a:lnTo>
                    <a:pt x="599" y="35"/>
                  </a:lnTo>
                  <a:lnTo>
                    <a:pt x="601" y="35"/>
                  </a:lnTo>
                  <a:lnTo>
                    <a:pt x="603" y="33"/>
                  </a:lnTo>
                  <a:lnTo>
                    <a:pt x="605" y="31"/>
                  </a:lnTo>
                  <a:lnTo>
                    <a:pt x="611" y="29"/>
                  </a:lnTo>
                  <a:lnTo>
                    <a:pt x="611" y="27"/>
                  </a:lnTo>
                  <a:lnTo>
                    <a:pt x="613" y="25"/>
                  </a:lnTo>
                  <a:lnTo>
                    <a:pt x="614" y="25"/>
                  </a:lnTo>
                  <a:lnTo>
                    <a:pt x="614" y="27"/>
                  </a:lnTo>
                  <a:lnTo>
                    <a:pt x="614" y="29"/>
                  </a:lnTo>
                  <a:lnTo>
                    <a:pt x="616" y="29"/>
                  </a:lnTo>
                  <a:lnTo>
                    <a:pt x="616" y="27"/>
                  </a:lnTo>
                  <a:lnTo>
                    <a:pt x="618" y="25"/>
                  </a:lnTo>
                  <a:lnTo>
                    <a:pt x="620" y="23"/>
                  </a:lnTo>
                  <a:lnTo>
                    <a:pt x="616" y="25"/>
                  </a:lnTo>
                  <a:lnTo>
                    <a:pt x="614" y="25"/>
                  </a:lnTo>
                  <a:lnTo>
                    <a:pt x="614" y="23"/>
                  </a:lnTo>
                  <a:lnTo>
                    <a:pt x="618" y="19"/>
                  </a:lnTo>
                  <a:lnTo>
                    <a:pt x="620" y="19"/>
                  </a:lnTo>
                  <a:lnTo>
                    <a:pt x="618" y="19"/>
                  </a:lnTo>
                  <a:lnTo>
                    <a:pt x="614" y="23"/>
                  </a:lnTo>
                  <a:lnTo>
                    <a:pt x="614" y="25"/>
                  </a:lnTo>
                  <a:lnTo>
                    <a:pt x="616" y="23"/>
                  </a:lnTo>
                  <a:lnTo>
                    <a:pt x="618" y="23"/>
                  </a:lnTo>
                  <a:lnTo>
                    <a:pt x="620" y="21"/>
                  </a:lnTo>
                  <a:lnTo>
                    <a:pt x="622" y="19"/>
                  </a:lnTo>
                  <a:lnTo>
                    <a:pt x="622" y="21"/>
                  </a:lnTo>
                  <a:lnTo>
                    <a:pt x="622" y="19"/>
                  </a:lnTo>
                  <a:lnTo>
                    <a:pt x="624" y="17"/>
                  </a:lnTo>
                  <a:lnTo>
                    <a:pt x="622" y="17"/>
                  </a:lnTo>
                  <a:lnTo>
                    <a:pt x="620" y="17"/>
                  </a:lnTo>
                  <a:lnTo>
                    <a:pt x="622" y="17"/>
                  </a:lnTo>
                  <a:lnTo>
                    <a:pt x="624" y="17"/>
                  </a:lnTo>
                  <a:lnTo>
                    <a:pt x="626" y="15"/>
                  </a:lnTo>
                  <a:lnTo>
                    <a:pt x="628" y="15"/>
                  </a:lnTo>
                  <a:lnTo>
                    <a:pt x="628" y="13"/>
                  </a:lnTo>
                  <a:lnTo>
                    <a:pt x="624" y="13"/>
                  </a:lnTo>
                  <a:lnTo>
                    <a:pt x="626" y="12"/>
                  </a:lnTo>
                  <a:lnTo>
                    <a:pt x="628" y="10"/>
                  </a:lnTo>
                  <a:lnTo>
                    <a:pt x="632" y="8"/>
                  </a:lnTo>
                  <a:lnTo>
                    <a:pt x="636" y="8"/>
                  </a:lnTo>
                  <a:lnTo>
                    <a:pt x="637" y="6"/>
                  </a:lnTo>
                  <a:lnTo>
                    <a:pt x="641" y="4"/>
                  </a:lnTo>
                  <a:lnTo>
                    <a:pt x="645" y="2"/>
                  </a:lnTo>
                  <a:lnTo>
                    <a:pt x="647" y="2"/>
                  </a:lnTo>
                  <a:lnTo>
                    <a:pt x="649" y="2"/>
                  </a:lnTo>
                  <a:lnTo>
                    <a:pt x="651" y="0"/>
                  </a:lnTo>
                  <a:lnTo>
                    <a:pt x="655" y="0"/>
                  </a:lnTo>
                  <a:lnTo>
                    <a:pt x="657" y="0"/>
                  </a:lnTo>
                  <a:lnTo>
                    <a:pt x="659" y="0"/>
                  </a:lnTo>
                  <a:lnTo>
                    <a:pt x="661" y="0"/>
                  </a:lnTo>
                  <a:lnTo>
                    <a:pt x="662" y="0"/>
                  </a:lnTo>
                  <a:lnTo>
                    <a:pt x="664" y="0"/>
                  </a:lnTo>
                  <a:lnTo>
                    <a:pt x="670" y="0"/>
                  </a:lnTo>
                  <a:lnTo>
                    <a:pt x="672" y="0"/>
                  </a:lnTo>
                  <a:lnTo>
                    <a:pt x="674" y="2"/>
                  </a:lnTo>
                  <a:lnTo>
                    <a:pt x="680" y="4"/>
                  </a:lnTo>
                  <a:lnTo>
                    <a:pt x="684" y="4"/>
                  </a:lnTo>
                  <a:lnTo>
                    <a:pt x="687" y="6"/>
                  </a:lnTo>
                  <a:lnTo>
                    <a:pt x="689" y="6"/>
                  </a:lnTo>
                  <a:lnTo>
                    <a:pt x="697" y="8"/>
                  </a:lnTo>
                  <a:lnTo>
                    <a:pt x="703" y="10"/>
                  </a:lnTo>
                  <a:lnTo>
                    <a:pt x="708" y="12"/>
                  </a:lnTo>
                  <a:lnTo>
                    <a:pt x="712" y="13"/>
                  </a:lnTo>
                  <a:lnTo>
                    <a:pt x="718" y="13"/>
                  </a:lnTo>
                  <a:lnTo>
                    <a:pt x="720" y="13"/>
                  </a:lnTo>
                  <a:lnTo>
                    <a:pt x="724" y="13"/>
                  </a:lnTo>
                  <a:lnTo>
                    <a:pt x="726" y="15"/>
                  </a:lnTo>
                  <a:lnTo>
                    <a:pt x="728" y="17"/>
                  </a:lnTo>
                  <a:lnTo>
                    <a:pt x="730" y="17"/>
                  </a:lnTo>
                  <a:lnTo>
                    <a:pt x="730" y="19"/>
                  </a:lnTo>
                  <a:lnTo>
                    <a:pt x="732" y="19"/>
                  </a:lnTo>
                  <a:lnTo>
                    <a:pt x="732" y="21"/>
                  </a:lnTo>
                  <a:lnTo>
                    <a:pt x="732" y="25"/>
                  </a:lnTo>
                  <a:lnTo>
                    <a:pt x="732" y="27"/>
                  </a:lnTo>
                  <a:lnTo>
                    <a:pt x="733" y="27"/>
                  </a:lnTo>
                  <a:lnTo>
                    <a:pt x="733" y="29"/>
                  </a:lnTo>
                  <a:lnTo>
                    <a:pt x="735" y="31"/>
                  </a:lnTo>
                  <a:lnTo>
                    <a:pt x="735" y="33"/>
                  </a:lnTo>
                  <a:lnTo>
                    <a:pt x="739" y="35"/>
                  </a:lnTo>
                  <a:lnTo>
                    <a:pt x="741" y="37"/>
                  </a:lnTo>
                  <a:lnTo>
                    <a:pt x="743" y="38"/>
                  </a:lnTo>
                  <a:lnTo>
                    <a:pt x="745" y="40"/>
                  </a:lnTo>
                  <a:lnTo>
                    <a:pt x="747" y="40"/>
                  </a:lnTo>
                  <a:lnTo>
                    <a:pt x="753" y="42"/>
                  </a:lnTo>
                  <a:lnTo>
                    <a:pt x="755" y="44"/>
                  </a:lnTo>
                  <a:lnTo>
                    <a:pt x="756" y="44"/>
                  </a:lnTo>
                  <a:lnTo>
                    <a:pt x="758" y="46"/>
                  </a:lnTo>
                  <a:lnTo>
                    <a:pt x="760" y="48"/>
                  </a:lnTo>
                  <a:lnTo>
                    <a:pt x="762" y="48"/>
                  </a:lnTo>
                  <a:lnTo>
                    <a:pt x="764" y="50"/>
                  </a:lnTo>
                  <a:lnTo>
                    <a:pt x="766" y="52"/>
                  </a:lnTo>
                  <a:lnTo>
                    <a:pt x="766" y="54"/>
                  </a:lnTo>
                  <a:lnTo>
                    <a:pt x="768" y="56"/>
                  </a:lnTo>
                  <a:lnTo>
                    <a:pt x="768" y="58"/>
                  </a:lnTo>
                  <a:lnTo>
                    <a:pt x="770" y="60"/>
                  </a:lnTo>
                  <a:lnTo>
                    <a:pt x="770" y="62"/>
                  </a:lnTo>
                  <a:lnTo>
                    <a:pt x="772" y="62"/>
                  </a:lnTo>
                  <a:lnTo>
                    <a:pt x="772" y="63"/>
                  </a:lnTo>
                  <a:lnTo>
                    <a:pt x="772" y="65"/>
                  </a:lnTo>
                  <a:lnTo>
                    <a:pt x="774" y="67"/>
                  </a:lnTo>
                  <a:lnTo>
                    <a:pt x="774" y="69"/>
                  </a:lnTo>
                  <a:lnTo>
                    <a:pt x="774" y="71"/>
                  </a:lnTo>
                  <a:lnTo>
                    <a:pt x="776" y="71"/>
                  </a:lnTo>
                  <a:lnTo>
                    <a:pt x="778" y="73"/>
                  </a:lnTo>
                  <a:lnTo>
                    <a:pt x="778" y="75"/>
                  </a:lnTo>
                  <a:lnTo>
                    <a:pt x="779" y="75"/>
                  </a:lnTo>
                  <a:lnTo>
                    <a:pt x="779" y="77"/>
                  </a:lnTo>
                  <a:lnTo>
                    <a:pt x="781" y="77"/>
                  </a:lnTo>
                  <a:lnTo>
                    <a:pt x="783" y="77"/>
                  </a:lnTo>
                  <a:lnTo>
                    <a:pt x="785" y="77"/>
                  </a:lnTo>
                  <a:lnTo>
                    <a:pt x="787" y="77"/>
                  </a:lnTo>
                  <a:lnTo>
                    <a:pt x="789" y="77"/>
                  </a:lnTo>
                  <a:lnTo>
                    <a:pt x="791" y="75"/>
                  </a:lnTo>
                  <a:lnTo>
                    <a:pt x="793" y="73"/>
                  </a:lnTo>
                  <a:lnTo>
                    <a:pt x="795" y="71"/>
                  </a:lnTo>
                  <a:lnTo>
                    <a:pt x="795" y="69"/>
                  </a:lnTo>
                  <a:lnTo>
                    <a:pt x="797" y="69"/>
                  </a:lnTo>
                  <a:lnTo>
                    <a:pt x="799" y="67"/>
                  </a:lnTo>
                  <a:lnTo>
                    <a:pt x="801" y="67"/>
                  </a:lnTo>
                  <a:lnTo>
                    <a:pt x="803" y="65"/>
                  </a:lnTo>
                  <a:lnTo>
                    <a:pt x="804" y="67"/>
                  </a:lnTo>
                  <a:lnTo>
                    <a:pt x="806" y="67"/>
                  </a:lnTo>
                  <a:lnTo>
                    <a:pt x="808" y="67"/>
                  </a:lnTo>
                  <a:lnTo>
                    <a:pt x="810" y="69"/>
                  </a:lnTo>
                  <a:lnTo>
                    <a:pt x="812" y="71"/>
                  </a:lnTo>
                  <a:lnTo>
                    <a:pt x="814" y="73"/>
                  </a:lnTo>
                  <a:lnTo>
                    <a:pt x="818" y="77"/>
                  </a:lnTo>
                  <a:lnTo>
                    <a:pt x="818" y="79"/>
                  </a:lnTo>
                  <a:lnTo>
                    <a:pt x="820" y="81"/>
                  </a:lnTo>
                  <a:lnTo>
                    <a:pt x="822" y="81"/>
                  </a:lnTo>
                  <a:lnTo>
                    <a:pt x="824" y="83"/>
                  </a:lnTo>
                  <a:lnTo>
                    <a:pt x="827" y="85"/>
                  </a:lnTo>
                  <a:lnTo>
                    <a:pt x="829" y="86"/>
                  </a:lnTo>
                  <a:lnTo>
                    <a:pt x="831" y="86"/>
                  </a:lnTo>
                  <a:lnTo>
                    <a:pt x="833" y="86"/>
                  </a:lnTo>
                  <a:lnTo>
                    <a:pt x="835" y="86"/>
                  </a:lnTo>
                  <a:lnTo>
                    <a:pt x="835" y="88"/>
                  </a:lnTo>
                  <a:lnTo>
                    <a:pt x="837" y="88"/>
                  </a:lnTo>
                  <a:lnTo>
                    <a:pt x="839" y="90"/>
                  </a:lnTo>
                  <a:lnTo>
                    <a:pt x="839" y="92"/>
                  </a:lnTo>
                  <a:lnTo>
                    <a:pt x="839" y="94"/>
                  </a:lnTo>
                  <a:lnTo>
                    <a:pt x="839" y="96"/>
                  </a:lnTo>
                  <a:lnTo>
                    <a:pt x="837" y="100"/>
                  </a:lnTo>
                  <a:lnTo>
                    <a:pt x="835" y="102"/>
                  </a:lnTo>
                  <a:lnTo>
                    <a:pt x="835" y="104"/>
                  </a:lnTo>
                  <a:lnTo>
                    <a:pt x="835" y="106"/>
                  </a:lnTo>
                  <a:lnTo>
                    <a:pt x="835" y="108"/>
                  </a:lnTo>
                  <a:lnTo>
                    <a:pt x="835" y="110"/>
                  </a:lnTo>
                  <a:lnTo>
                    <a:pt x="837" y="111"/>
                  </a:lnTo>
                  <a:lnTo>
                    <a:pt x="837" y="113"/>
                  </a:lnTo>
                  <a:lnTo>
                    <a:pt x="839" y="113"/>
                  </a:lnTo>
                  <a:lnTo>
                    <a:pt x="841" y="115"/>
                  </a:lnTo>
                  <a:lnTo>
                    <a:pt x="839" y="115"/>
                  </a:lnTo>
                  <a:lnTo>
                    <a:pt x="839" y="117"/>
                  </a:lnTo>
                  <a:lnTo>
                    <a:pt x="839" y="119"/>
                  </a:lnTo>
                  <a:lnTo>
                    <a:pt x="837" y="119"/>
                  </a:lnTo>
                  <a:lnTo>
                    <a:pt x="835" y="121"/>
                  </a:lnTo>
                  <a:lnTo>
                    <a:pt x="833" y="123"/>
                  </a:lnTo>
                  <a:lnTo>
                    <a:pt x="831" y="123"/>
                  </a:lnTo>
                  <a:lnTo>
                    <a:pt x="831" y="125"/>
                  </a:lnTo>
                  <a:lnTo>
                    <a:pt x="827" y="125"/>
                  </a:lnTo>
                  <a:lnTo>
                    <a:pt x="827" y="127"/>
                  </a:lnTo>
                  <a:lnTo>
                    <a:pt x="826" y="127"/>
                  </a:lnTo>
                  <a:lnTo>
                    <a:pt x="826" y="129"/>
                  </a:lnTo>
                  <a:lnTo>
                    <a:pt x="826" y="131"/>
                  </a:lnTo>
                  <a:lnTo>
                    <a:pt x="826" y="134"/>
                  </a:lnTo>
                  <a:lnTo>
                    <a:pt x="826" y="136"/>
                  </a:lnTo>
                  <a:lnTo>
                    <a:pt x="826" y="138"/>
                  </a:lnTo>
                  <a:lnTo>
                    <a:pt x="833" y="136"/>
                  </a:lnTo>
                  <a:lnTo>
                    <a:pt x="837" y="136"/>
                  </a:lnTo>
                  <a:lnTo>
                    <a:pt x="841" y="134"/>
                  </a:lnTo>
                  <a:lnTo>
                    <a:pt x="852" y="134"/>
                  </a:lnTo>
                  <a:lnTo>
                    <a:pt x="858" y="133"/>
                  </a:lnTo>
                  <a:lnTo>
                    <a:pt x="860" y="133"/>
                  </a:lnTo>
                  <a:lnTo>
                    <a:pt x="862" y="133"/>
                  </a:lnTo>
                  <a:lnTo>
                    <a:pt x="866" y="133"/>
                  </a:lnTo>
                  <a:lnTo>
                    <a:pt x="870" y="134"/>
                  </a:lnTo>
                  <a:lnTo>
                    <a:pt x="872" y="134"/>
                  </a:lnTo>
                  <a:lnTo>
                    <a:pt x="877" y="134"/>
                  </a:lnTo>
                  <a:lnTo>
                    <a:pt x="879" y="136"/>
                  </a:lnTo>
                  <a:lnTo>
                    <a:pt x="881" y="136"/>
                  </a:lnTo>
                  <a:lnTo>
                    <a:pt x="883" y="138"/>
                  </a:lnTo>
                  <a:lnTo>
                    <a:pt x="885" y="138"/>
                  </a:lnTo>
                  <a:lnTo>
                    <a:pt x="889" y="138"/>
                  </a:lnTo>
                  <a:lnTo>
                    <a:pt x="893" y="138"/>
                  </a:lnTo>
                  <a:lnTo>
                    <a:pt x="895" y="136"/>
                  </a:lnTo>
                  <a:lnTo>
                    <a:pt x="898" y="136"/>
                  </a:lnTo>
                  <a:lnTo>
                    <a:pt x="902" y="134"/>
                  </a:lnTo>
                  <a:lnTo>
                    <a:pt x="904" y="134"/>
                  </a:lnTo>
                  <a:lnTo>
                    <a:pt x="908" y="134"/>
                  </a:lnTo>
                  <a:lnTo>
                    <a:pt x="910" y="136"/>
                  </a:lnTo>
                  <a:lnTo>
                    <a:pt x="912" y="136"/>
                  </a:lnTo>
                  <a:lnTo>
                    <a:pt x="914" y="138"/>
                  </a:lnTo>
                  <a:lnTo>
                    <a:pt x="916" y="138"/>
                  </a:lnTo>
                  <a:lnTo>
                    <a:pt x="920" y="142"/>
                  </a:lnTo>
                  <a:lnTo>
                    <a:pt x="922" y="142"/>
                  </a:lnTo>
                  <a:lnTo>
                    <a:pt x="923" y="146"/>
                  </a:lnTo>
                  <a:lnTo>
                    <a:pt x="925" y="148"/>
                  </a:lnTo>
                  <a:lnTo>
                    <a:pt x="927" y="150"/>
                  </a:lnTo>
                  <a:lnTo>
                    <a:pt x="929" y="150"/>
                  </a:lnTo>
                  <a:lnTo>
                    <a:pt x="931" y="150"/>
                  </a:lnTo>
                  <a:lnTo>
                    <a:pt x="933" y="150"/>
                  </a:lnTo>
                  <a:lnTo>
                    <a:pt x="937" y="150"/>
                  </a:lnTo>
                  <a:lnTo>
                    <a:pt x="937" y="148"/>
                  </a:lnTo>
                  <a:lnTo>
                    <a:pt x="939" y="148"/>
                  </a:lnTo>
                  <a:lnTo>
                    <a:pt x="943" y="144"/>
                  </a:lnTo>
                  <a:lnTo>
                    <a:pt x="945" y="144"/>
                  </a:lnTo>
                  <a:lnTo>
                    <a:pt x="946" y="144"/>
                  </a:lnTo>
                  <a:lnTo>
                    <a:pt x="948" y="144"/>
                  </a:lnTo>
                  <a:lnTo>
                    <a:pt x="952" y="142"/>
                  </a:lnTo>
                  <a:lnTo>
                    <a:pt x="954" y="142"/>
                  </a:lnTo>
                  <a:lnTo>
                    <a:pt x="956" y="142"/>
                  </a:lnTo>
                  <a:lnTo>
                    <a:pt x="960" y="144"/>
                  </a:lnTo>
                  <a:lnTo>
                    <a:pt x="962" y="144"/>
                  </a:lnTo>
                  <a:lnTo>
                    <a:pt x="964" y="144"/>
                  </a:lnTo>
                  <a:lnTo>
                    <a:pt x="968" y="148"/>
                  </a:lnTo>
                  <a:lnTo>
                    <a:pt x="970" y="148"/>
                  </a:lnTo>
                  <a:lnTo>
                    <a:pt x="971" y="150"/>
                  </a:lnTo>
                  <a:lnTo>
                    <a:pt x="973" y="150"/>
                  </a:lnTo>
                  <a:lnTo>
                    <a:pt x="975" y="148"/>
                  </a:lnTo>
                  <a:lnTo>
                    <a:pt x="977" y="148"/>
                  </a:lnTo>
                  <a:lnTo>
                    <a:pt x="979" y="146"/>
                  </a:lnTo>
                  <a:lnTo>
                    <a:pt x="983" y="144"/>
                  </a:lnTo>
                  <a:lnTo>
                    <a:pt x="987" y="142"/>
                  </a:lnTo>
                  <a:lnTo>
                    <a:pt x="991" y="138"/>
                  </a:lnTo>
                  <a:lnTo>
                    <a:pt x="994" y="136"/>
                  </a:lnTo>
                  <a:lnTo>
                    <a:pt x="1002" y="133"/>
                  </a:lnTo>
                  <a:lnTo>
                    <a:pt x="1006" y="133"/>
                  </a:lnTo>
                  <a:lnTo>
                    <a:pt x="1012" y="131"/>
                  </a:lnTo>
                  <a:lnTo>
                    <a:pt x="1017" y="129"/>
                  </a:lnTo>
                  <a:lnTo>
                    <a:pt x="1021" y="127"/>
                  </a:lnTo>
                  <a:lnTo>
                    <a:pt x="1023" y="127"/>
                  </a:lnTo>
                  <a:lnTo>
                    <a:pt x="1025" y="125"/>
                  </a:lnTo>
                  <a:lnTo>
                    <a:pt x="1027" y="123"/>
                  </a:lnTo>
                  <a:lnTo>
                    <a:pt x="1027" y="121"/>
                  </a:lnTo>
                  <a:lnTo>
                    <a:pt x="1029" y="121"/>
                  </a:lnTo>
                  <a:lnTo>
                    <a:pt x="1029" y="119"/>
                  </a:lnTo>
                  <a:lnTo>
                    <a:pt x="1029" y="117"/>
                  </a:lnTo>
                  <a:lnTo>
                    <a:pt x="1029" y="115"/>
                  </a:lnTo>
                  <a:lnTo>
                    <a:pt x="1029" y="113"/>
                  </a:lnTo>
                  <a:lnTo>
                    <a:pt x="1031" y="108"/>
                  </a:lnTo>
                  <a:lnTo>
                    <a:pt x="1031" y="106"/>
                  </a:lnTo>
                  <a:lnTo>
                    <a:pt x="1031" y="104"/>
                  </a:lnTo>
                  <a:lnTo>
                    <a:pt x="1031" y="100"/>
                  </a:lnTo>
                  <a:lnTo>
                    <a:pt x="1033" y="96"/>
                  </a:lnTo>
                  <a:lnTo>
                    <a:pt x="1033" y="92"/>
                  </a:lnTo>
                  <a:lnTo>
                    <a:pt x="1035" y="90"/>
                  </a:lnTo>
                  <a:lnTo>
                    <a:pt x="1037" y="86"/>
                  </a:lnTo>
                  <a:lnTo>
                    <a:pt x="1037" y="83"/>
                  </a:lnTo>
                  <a:lnTo>
                    <a:pt x="1039" y="81"/>
                  </a:lnTo>
                  <a:lnTo>
                    <a:pt x="1039" y="79"/>
                  </a:lnTo>
                  <a:lnTo>
                    <a:pt x="1041" y="77"/>
                  </a:lnTo>
                  <a:lnTo>
                    <a:pt x="1041" y="75"/>
                  </a:lnTo>
                  <a:lnTo>
                    <a:pt x="1042" y="73"/>
                  </a:lnTo>
                  <a:lnTo>
                    <a:pt x="1044" y="73"/>
                  </a:lnTo>
                  <a:lnTo>
                    <a:pt x="1046" y="69"/>
                  </a:lnTo>
                  <a:lnTo>
                    <a:pt x="1048" y="67"/>
                  </a:lnTo>
                  <a:lnTo>
                    <a:pt x="1052" y="60"/>
                  </a:lnTo>
                  <a:lnTo>
                    <a:pt x="1054" y="58"/>
                  </a:lnTo>
                  <a:lnTo>
                    <a:pt x="1056" y="56"/>
                  </a:lnTo>
                  <a:lnTo>
                    <a:pt x="1062" y="50"/>
                  </a:lnTo>
                  <a:lnTo>
                    <a:pt x="1064" y="48"/>
                  </a:lnTo>
                  <a:lnTo>
                    <a:pt x="1065" y="46"/>
                  </a:lnTo>
                  <a:lnTo>
                    <a:pt x="1065" y="44"/>
                  </a:lnTo>
                  <a:lnTo>
                    <a:pt x="1067" y="44"/>
                  </a:lnTo>
                  <a:lnTo>
                    <a:pt x="1067" y="42"/>
                  </a:lnTo>
                  <a:lnTo>
                    <a:pt x="1069" y="40"/>
                  </a:lnTo>
                  <a:lnTo>
                    <a:pt x="1069" y="38"/>
                  </a:lnTo>
                  <a:lnTo>
                    <a:pt x="1071" y="37"/>
                  </a:lnTo>
                  <a:lnTo>
                    <a:pt x="1073" y="37"/>
                  </a:lnTo>
                  <a:lnTo>
                    <a:pt x="1075" y="35"/>
                  </a:lnTo>
                  <a:lnTo>
                    <a:pt x="1077" y="35"/>
                  </a:lnTo>
                  <a:lnTo>
                    <a:pt x="1079" y="35"/>
                  </a:lnTo>
                  <a:lnTo>
                    <a:pt x="1079" y="37"/>
                  </a:lnTo>
                  <a:lnTo>
                    <a:pt x="1081" y="37"/>
                  </a:lnTo>
                  <a:lnTo>
                    <a:pt x="1083" y="37"/>
                  </a:lnTo>
                  <a:lnTo>
                    <a:pt x="1083" y="38"/>
                  </a:lnTo>
                  <a:lnTo>
                    <a:pt x="1083" y="40"/>
                  </a:lnTo>
                  <a:lnTo>
                    <a:pt x="1085" y="42"/>
                  </a:lnTo>
                  <a:lnTo>
                    <a:pt x="1085" y="44"/>
                  </a:lnTo>
                  <a:lnTo>
                    <a:pt x="1087" y="44"/>
                  </a:lnTo>
                  <a:lnTo>
                    <a:pt x="1087" y="46"/>
                  </a:lnTo>
                  <a:lnTo>
                    <a:pt x="1089" y="48"/>
                  </a:lnTo>
                  <a:lnTo>
                    <a:pt x="1090" y="50"/>
                  </a:lnTo>
                  <a:lnTo>
                    <a:pt x="1092" y="52"/>
                  </a:lnTo>
                  <a:lnTo>
                    <a:pt x="1096" y="54"/>
                  </a:lnTo>
                  <a:lnTo>
                    <a:pt x="1098" y="54"/>
                  </a:lnTo>
                  <a:lnTo>
                    <a:pt x="1100" y="54"/>
                  </a:lnTo>
                  <a:lnTo>
                    <a:pt x="1102" y="56"/>
                  </a:lnTo>
                  <a:lnTo>
                    <a:pt x="1106" y="56"/>
                  </a:lnTo>
                  <a:lnTo>
                    <a:pt x="1108" y="56"/>
                  </a:lnTo>
                  <a:lnTo>
                    <a:pt x="1110" y="56"/>
                  </a:lnTo>
                  <a:lnTo>
                    <a:pt x="1112" y="56"/>
                  </a:lnTo>
                  <a:lnTo>
                    <a:pt x="1117" y="56"/>
                  </a:lnTo>
                  <a:lnTo>
                    <a:pt x="1119" y="56"/>
                  </a:lnTo>
                  <a:lnTo>
                    <a:pt x="1121" y="54"/>
                  </a:lnTo>
                  <a:lnTo>
                    <a:pt x="1125" y="54"/>
                  </a:lnTo>
                  <a:lnTo>
                    <a:pt x="1127" y="54"/>
                  </a:lnTo>
                  <a:lnTo>
                    <a:pt x="1129" y="52"/>
                  </a:lnTo>
                  <a:lnTo>
                    <a:pt x="1131" y="52"/>
                  </a:lnTo>
                  <a:lnTo>
                    <a:pt x="1133" y="50"/>
                  </a:lnTo>
                  <a:lnTo>
                    <a:pt x="1133" y="48"/>
                  </a:lnTo>
                  <a:lnTo>
                    <a:pt x="1135" y="48"/>
                  </a:lnTo>
                  <a:lnTo>
                    <a:pt x="1135" y="46"/>
                  </a:lnTo>
                  <a:lnTo>
                    <a:pt x="1136" y="44"/>
                  </a:lnTo>
                  <a:lnTo>
                    <a:pt x="1136" y="42"/>
                  </a:lnTo>
                  <a:lnTo>
                    <a:pt x="1136" y="38"/>
                  </a:lnTo>
                  <a:lnTo>
                    <a:pt x="1138" y="38"/>
                  </a:lnTo>
                  <a:lnTo>
                    <a:pt x="1138" y="37"/>
                  </a:lnTo>
                  <a:lnTo>
                    <a:pt x="1138" y="35"/>
                  </a:lnTo>
                  <a:lnTo>
                    <a:pt x="1140" y="33"/>
                  </a:lnTo>
                  <a:lnTo>
                    <a:pt x="1142" y="31"/>
                  </a:lnTo>
                  <a:lnTo>
                    <a:pt x="1144" y="31"/>
                  </a:lnTo>
                  <a:lnTo>
                    <a:pt x="1144" y="29"/>
                  </a:lnTo>
                  <a:lnTo>
                    <a:pt x="1148" y="29"/>
                  </a:lnTo>
                  <a:lnTo>
                    <a:pt x="1150" y="29"/>
                  </a:lnTo>
                  <a:lnTo>
                    <a:pt x="1152" y="29"/>
                  </a:lnTo>
                  <a:lnTo>
                    <a:pt x="1154" y="29"/>
                  </a:lnTo>
                  <a:lnTo>
                    <a:pt x="1156" y="31"/>
                  </a:lnTo>
                  <a:lnTo>
                    <a:pt x="1160" y="33"/>
                  </a:lnTo>
                  <a:lnTo>
                    <a:pt x="1161" y="35"/>
                  </a:lnTo>
                  <a:lnTo>
                    <a:pt x="1163" y="37"/>
                  </a:lnTo>
                  <a:lnTo>
                    <a:pt x="1165" y="40"/>
                  </a:lnTo>
                  <a:lnTo>
                    <a:pt x="1167" y="42"/>
                  </a:lnTo>
                  <a:lnTo>
                    <a:pt x="1167" y="44"/>
                  </a:lnTo>
                  <a:lnTo>
                    <a:pt x="1169" y="44"/>
                  </a:lnTo>
                  <a:lnTo>
                    <a:pt x="1171" y="46"/>
                  </a:lnTo>
                  <a:lnTo>
                    <a:pt x="1173" y="46"/>
                  </a:lnTo>
                  <a:lnTo>
                    <a:pt x="1175" y="46"/>
                  </a:lnTo>
                  <a:lnTo>
                    <a:pt x="1179" y="48"/>
                  </a:lnTo>
                  <a:lnTo>
                    <a:pt x="1181" y="48"/>
                  </a:lnTo>
                  <a:lnTo>
                    <a:pt x="1183" y="48"/>
                  </a:lnTo>
                  <a:lnTo>
                    <a:pt x="1186" y="50"/>
                  </a:lnTo>
                  <a:lnTo>
                    <a:pt x="1188" y="52"/>
                  </a:lnTo>
                  <a:lnTo>
                    <a:pt x="1190" y="52"/>
                  </a:lnTo>
                  <a:lnTo>
                    <a:pt x="1192" y="52"/>
                  </a:lnTo>
                  <a:lnTo>
                    <a:pt x="1192" y="50"/>
                  </a:lnTo>
                  <a:lnTo>
                    <a:pt x="1194" y="50"/>
                  </a:lnTo>
                  <a:lnTo>
                    <a:pt x="1196" y="48"/>
                  </a:lnTo>
                  <a:lnTo>
                    <a:pt x="1198" y="46"/>
                  </a:lnTo>
                  <a:lnTo>
                    <a:pt x="1198" y="44"/>
                  </a:lnTo>
                  <a:lnTo>
                    <a:pt x="1200" y="42"/>
                  </a:lnTo>
                  <a:lnTo>
                    <a:pt x="1200" y="40"/>
                  </a:lnTo>
                  <a:lnTo>
                    <a:pt x="1202" y="38"/>
                  </a:lnTo>
                  <a:lnTo>
                    <a:pt x="1204" y="38"/>
                  </a:lnTo>
                  <a:lnTo>
                    <a:pt x="1204" y="37"/>
                  </a:lnTo>
                  <a:lnTo>
                    <a:pt x="1206" y="37"/>
                  </a:lnTo>
                  <a:lnTo>
                    <a:pt x="1209" y="37"/>
                  </a:lnTo>
                  <a:lnTo>
                    <a:pt x="1211" y="37"/>
                  </a:lnTo>
                  <a:lnTo>
                    <a:pt x="1213" y="37"/>
                  </a:lnTo>
                  <a:lnTo>
                    <a:pt x="1217" y="37"/>
                  </a:lnTo>
                  <a:lnTo>
                    <a:pt x="1221" y="37"/>
                  </a:lnTo>
                  <a:lnTo>
                    <a:pt x="1223" y="37"/>
                  </a:lnTo>
                  <a:lnTo>
                    <a:pt x="1229" y="35"/>
                  </a:lnTo>
                  <a:lnTo>
                    <a:pt x="1231" y="35"/>
                  </a:lnTo>
                  <a:lnTo>
                    <a:pt x="1232" y="35"/>
                  </a:lnTo>
                  <a:lnTo>
                    <a:pt x="1234" y="37"/>
                  </a:lnTo>
                  <a:lnTo>
                    <a:pt x="1238" y="37"/>
                  </a:lnTo>
                  <a:lnTo>
                    <a:pt x="1240" y="38"/>
                  </a:lnTo>
                  <a:lnTo>
                    <a:pt x="1244" y="40"/>
                  </a:lnTo>
                  <a:lnTo>
                    <a:pt x="1246" y="42"/>
                  </a:lnTo>
                  <a:lnTo>
                    <a:pt x="1248" y="42"/>
                  </a:lnTo>
                  <a:lnTo>
                    <a:pt x="1252" y="46"/>
                  </a:lnTo>
                  <a:lnTo>
                    <a:pt x="1254" y="48"/>
                  </a:lnTo>
                  <a:lnTo>
                    <a:pt x="1255" y="50"/>
                  </a:lnTo>
                  <a:lnTo>
                    <a:pt x="1257" y="50"/>
                  </a:lnTo>
                  <a:lnTo>
                    <a:pt x="1259" y="52"/>
                  </a:lnTo>
                  <a:lnTo>
                    <a:pt x="1261" y="52"/>
                  </a:lnTo>
                  <a:lnTo>
                    <a:pt x="1263" y="52"/>
                  </a:lnTo>
                  <a:lnTo>
                    <a:pt x="1265" y="52"/>
                  </a:lnTo>
                  <a:lnTo>
                    <a:pt x="1269" y="52"/>
                  </a:lnTo>
                  <a:lnTo>
                    <a:pt x="1271" y="52"/>
                  </a:lnTo>
                  <a:lnTo>
                    <a:pt x="1273" y="52"/>
                  </a:lnTo>
                  <a:lnTo>
                    <a:pt x="1275" y="52"/>
                  </a:lnTo>
                  <a:lnTo>
                    <a:pt x="1275" y="54"/>
                  </a:lnTo>
                  <a:lnTo>
                    <a:pt x="1277" y="54"/>
                  </a:lnTo>
                  <a:lnTo>
                    <a:pt x="1279" y="56"/>
                  </a:lnTo>
                  <a:lnTo>
                    <a:pt x="1279" y="58"/>
                  </a:lnTo>
                  <a:lnTo>
                    <a:pt x="1280" y="58"/>
                  </a:lnTo>
                  <a:lnTo>
                    <a:pt x="1280" y="60"/>
                  </a:lnTo>
                  <a:lnTo>
                    <a:pt x="1280" y="62"/>
                  </a:lnTo>
                  <a:lnTo>
                    <a:pt x="1282" y="67"/>
                  </a:lnTo>
                  <a:lnTo>
                    <a:pt x="1284" y="71"/>
                  </a:lnTo>
                  <a:lnTo>
                    <a:pt x="1284" y="73"/>
                  </a:lnTo>
                  <a:lnTo>
                    <a:pt x="1284" y="75"/>
                  </a:lnTo>
                  <a:lnTo>
                    <a:pt x="1286" y="79"/>
                  </a:lnTo>
                  <a:lnTo>
                    <a:pt x="1288" y="81"/>
                  </a:lnTo>
                  <a:lnTo>
                    <a:pt x="1288" y="83"/>
                  </a:lnTo>
                  <a:lnTo>
                    <a:pt x="1290" y="85"/>
                  </a:lnTo>
                  <a:lnTo>
                    <a:pt x="1292" y="85"/>
                  </a:lnTo>
                  <a:lnTo>
                    <a:pt x="1292" y="86"/>
                  </a:lnTo>
                  <a:lnTo>
                    <a:pt x="1294" y="88"/>
                  </a:lnTo>
                  <a:lnTo>
                    <a:pt x="1296" y="90"/>
                  </a:lnTo>
                  <a:lnTo>
                    <a:pt x="1298" y="90"/>
                  </a:lnTo>
                  <a:lnTo>
                    <a:pt x="1302" y="92"/>
                  </a:lnTo>
                  <a:lnTo>
                    <a:pt x="1303" y="92"/>
                  </a:lnTo>
                  <a:lnTo>
                    <a:pt x="1305" y="92"/>
                  </a:lnTo>
                  <a:lnTo>
                    <a:pt x="1309" y="92"/>
                  </a:lnTo>
                  <a:lnTo>
                    <a:pt x="1311" y="92"/>
                  </a:lnTo>
                  <a:lnTo>
                    <a:pt x="1313" y="94"/>
                  </a:lnTo>
                  <a:lnTo>
                    <a:pt x="1315" y="96"/>
                  </a:lnTo>
                  <a:lnTo>
                    <a:pt x="1317" y="96"/>
                  </a:lnTo>
                  <a:lnTo>
                    <a:pt x="1319" y="98"/>
                  </a:lnTo>
                  <a:lnTo>
                    <a:pt x="1321" y="100"/>
                  </a:lnTo>
                  <a:lnTo>
                    <a:pt x="1321" y="102"/>
                  </a:lnTo>
                  <a:lnTo>
                    <a:pt x="1323" y="102"/>
                  </a:lnTo>
                  <a:lnTo>
                    <a:pt x="1323" y="104"/>
                  </a:lnTo>
                  <a:lnTo>
                    <a:pt x="1325" y="110"/>
                  </a:lnTo>
                  <a:lnTo>
                    <a:pt x="1326" y="111"/>
                  </a:lnTo>
                  <a:lnTo>
                    <a:pt x="1326" y="113"/>
                  </a:lnTo>
                  <a:lnTo>
                    <a:pt x="1328" y="115"/>
                  </a:lnTo>
                  <a:lnTo>
                    <a:pt x="1330" y="115"/>
                  </a:lnTo>
                  <a:lnTo>
                    <a:pt x="1332" y="117"/>
                  </a:lnTo>
                  <a:lnTo>
                    <a:pt x="1334" y="117"/>
                  </a:lnTo>
                  <a:lnTo>
                    <a:pt x="1336" y="119"/>
                  </a:lnTo>
                  <a:lnTo>
                    <a:pt x="1340" y="119"/>
                  </a:lnTo>
                  <a:lnTo>
                    <a:pt x="1344" y="119"/>
                  </a:lnTo>
                  <a:lnTo>
                    <a:pt x="1346" y="119"/>
                  </a:lnTo>
                  <a:lnTo>
                    <a:pt x="1348" y="121"/>
                  </a:lnTo>
                  <a:lnTo>
                    <a:pt x="1350" y="121"/>
                  </a:lnTo>
                  <a:lnTo>
                    <a:pt x="1351" y="123"/>
                  </a:lnTo>
                  <a:lnTo>
                    <a:pt x="1353" y="125"/>
                  </a:lnTo>
                  <a:lnTo>
                    <a:pt x="1353" y="127"/>
                  </a:lnTo>
                  <a:lnTo>
                    <a:pt x="1355" y="127"/>
                  </a:lnTo>
                  <a:lnTo>
                    <a:pt x="1357" y="133"/>
                  </a:lnTo>
                  <a:lnTo>
                    <a:pt x="1359" y="136"/>
                  </a:lnTo>
                  <a:lnTo>
                    <a:pt x="1361" y="138"/>
                  </a:lnTo>
                  <a:lnTo>
                    <a:pt x="1361" y="140"/>
                  </a:lnTo>
                  <a:lnTo>
                    <a:pt x="1363" y="142"/>
                  </a:lnTo>
                  <a:lnTo>
                    <a:pt x="1365" y="144"/>
                  </a:lnTo>
                  <a:lnTo>
                    <a:pt x="1365" y="146"/>
                  </a:lnTo>
                  <a:lnTo>
                    <a:pt x="1367" y="146"/>
                  </a:lnTo>
                  <a:lnTo>
                    <a:pt x="1369" y="146"/>
                  </a:lnTo>
                  <a:lnTo>
                    <a:pt x="1369" y="148"/>
                  </a:lnTo>
                  <a:lnTo>
                    <a:pt x="1371" y="148"/>
                  </a:lnTo>
                  <a:lnTo>
                    <a:pt x="1374" y="150"/>
                  </a:lnTo>
                  <a:lnTo>
                    <a:pt x="1376" y="152"/>
                  </a:lnTo>
                  <a:lnTo>
                    <a:pt x="1380" y="152"/>
                  </a:lnTo>
                  <a:lnTo>
                    <a:pt x="1382" y="152"/>
                  </a:lnTo>
                  <a:lnTo>
                    <a:pt x="1388" y="154"/>
                  </a:lnTo>
                  <a:lnTo>
                    <a:pt x="1392" y="154"/>
                  </a:lnTo>
                  <a:lnTo>
                    <a:pt x="1396" y="154"/>
                  </a:lnTo>
                  <a:lnTo>
                    <a:pt x="1401" y="152"/>
                  </a:lnTo>
                  <a:lnTo>
                    <a:pt x="1403" y="152"/>
                  </a:lnTo>
                  <a:lnTo>
                    <a:pt x="1405" y="150"/>
                  </a:lnTo>
                  <a:lnTo>
                    <a:pt x="1407" y="150"/>
                  </a:lnTo>
                  <a:lnTo>
                    <a:pt x="1409" y="150"/>
                  </a:lnTo>
                  <a:lnTo>
                    <a:pt x="1411" y="150"/>
                  </a:lnTo>
                  <a:lnTo>
                    <a:pt x="1413" y="150"/>
                  </a:lnTo>
                  <a:lnTo>
                    <a:pt x="1417" y="148"/>
                  </a:lnTo>
                  <a:lnTo>
                    <a:pt x="1422" y="148"/>
                  </a:lnTo>
                  <a:lnTo>
                    <a:pt x="1428" y="148"/>
                  </a:lnTo>
                  <a:lnTo>
                    <a:pt x="1430" y="148"/>
                  </a:lnTo>
                  <a:lnTo>
                    <a:pt x="1438" y="148"/>
                  </a:lnTo>
                  <a:lnTo>
                    <a:pt x="1445" y="148"/>
                  </a:lnTo>
                  <a:lnTo>
                    <a:pt x="1447" y="148"/>
                  </a:lnTo>
                  <a:lnTo>
                    <a:pt x="1451" y="146"/>
                  </a:lnTo>
                  <a:lnTo>
                    <a:pt x="1453" y="146"/>
                  </a:lnTo>
                  <a:lnTo>
                    <a:pt x="1455" y="148"/>
                  </a:lnTo>
                  <a:lnTo>
                    <a:pt x="1457" y="148"/>
                  </a:lnTo>
                  <a:lnTo>
                    <a:pt x="1459" y="148"/>
                  </a:lnTo>
                  <a:lnTo>
                    <a:pt x="1465" y="150"/>
                  </a:lnTo>
                  <a:lnTo>
                    <a:pt x="1467" y="148"/>
                  </a:lnTo>
                  <a:lnTo>
                    <a:pt x="1467" y="146"/>
                  </a:lnTo>
                  <a:lnTo>
                    <a:pt x="1469" y="146"/>
                  </a:lnTo>
                  <a:lnTo>
                    <a:pt x="1469" y="144"/>
                  </a:lnTo>
                  <a:lnTo>
                    <a:pt x="1470" y="142"/>
                  </a:lnTo>
                  <a:lnTo>
                    <a:pt x="1469" y="142"/>
                  </a:lnTo>
                  <a:lnTo>
                    <a:pt x="1469" y="140"/>
                  </a:lnTo>
                  <a:lnTo>
                    <a:pt x="1469" y="138"/>
                  </a:lnTo>
                  <a:lnTo>
                    <a:pt x="1469" y="136"/>
                  </a:lnTo>
                  <a:lnTo>
                    <a:pt x="1469" y="134"/>
                  </a:lnTo>
                  <a:lnTo>
                    <a:pt x="1469" y="133"/>
                  </a:lnTo>
                  <a:lnTo>
                    <a:pt x="1469" y="131"/>
                  </a:lnTo>
                  <a:lnTo>
                    <a:pt x="1469" y="129"/>
                  </a:lnTo>
                  <a:lnTo>
                    <a:pt x="1469" y="127"/>
                  </a:lnTo>
                  <a:lnTo>
                    <a:pt x="1469" y="125"/>
                  </a:lnTo>
                  <a:lnTo>
                    <a:pt x="1470" y="125"/>
                  </a:lnTo>
                  <a:lnTo>
                    <a:pt x="1474" y="125"/>
                  </a:lnTo>
                  <a:lnTo>
                    <a:pt x="1478" y="123"/>
                  </a:lnTo>
                  <a:lnTo>
                    <a:pt x="1480" y="123"/>
                  </a:lnTo>
                  <a:lnTo>
                    <a:pt x="1484" y="121"/>
                  </a:lnTo>
                  <a:lnTo>
                    <a:pt x="1486" y="121"/>
                  </a:lnTo>
                  <a:lnTo>
                    <a:pt x="1488" y="121"/>
                  </a:lnTo>
                  <a:lnTo>
                    <a:pt x="1490" y="123"/>
                  </a:lnTo>
                  <a:lnTo>
                    <a:pt x="1492" y="123"/>
                  </a:lnTo>
                  <a:lnTo>
                    <a:pt x="1493" y="127"/>
                  </a:lnTo>
                  <a:lnTo>
                    <a:pt x="1497" y="133"/>
                  </a:lnTo>
                  <a:lnTo>
                    <a:pt x="1497" y="134"/>
                  </a:lnTo>
                  <a:lnTo>
                    <a:pt x="1501" y="140"/>
                  </a:lnTo>
                  <a:lnTo>
                    <a:pt x="1501" y="142"/>
                  </a:lnTo>
                  <a:lnTo>
                    <a:pt x="1503" y="142"/>
                  </a:lnTo>
                  <a:lnTo>
                    <a:pt x="1503" y="144"/>
                  </a:lnTo>
                  <a:lnTo>
                    <a:pt x="1505" y="144"/>
                  </a:lnTo>
                  <a:lnTo>
                    <a:pt x="1505" y="146"/>
                  </a:lnTo>
                  <a:lnTo>
                    <a:pt x="1507" y="150"/>
                  </a:lnTo>
                  <a:lnTo>
                    <a:pt x="1507" y="154"/>
                  </a:lnTo>
                  <a:lnTo>
                    <a:pt x="1507" y="156"/>
                  </a:lnTo>
                  <a:lnTo>
                    <a:pt x="1509" y="159"/>
                  </a:lnTo>
                  <a:lnTo>
                    <a:pt x="1511" y="161"/>
                  </a:lnTo>
                  <a:lnTo>
                    <a:pt x="1515" y="163"/>
                  </a:lnTo>
                  <a:lnTo>
                    <a:pt x="1522" y="165"/>
                  </a:lnTo>
                  <a:lnTo>
                    <a:pt x="1524" y="167"/>
                  </a:lnTo>
                  <a:lnTo>
                    <a:pt x="1522" y="169"/>
                  </a:lnTo>
                  <a:lnTo>
                    <a:pt x="1520" y="169"/>
                  </a:lnTo>
                  <a:lnTo>
                    <a:pt x="1520" y="171"/>
                  </a:lnTo>
                  <a:lnTo>
                    <a:pt x="1522" y="173"/>
                  </a:lnTo>
                  <a:lnTo>
                    <a:pt x="1522" y="175"/>
                  </a:lnTo>
                  <a:lnTo>
                    <a:pt x="1524" y="175"/>
                  </a:lnTo>
                  <a:lnTo>
                    <a:pt x="1524" y="177"/>
                  </a:lnTo>
                  <a:lnTo>
                    <a:pt x="1526" y="177"/>
                  </a:lnTo>
                  <a:lnTo>
                    <a:pt x="1528" y="177"/>
                  </a:lnTo>
                  <a:lnTo>
                    <a:pt x="1530" y="177"/>
                  </a:lnTo>
                  <a:lnTo>
                    <a:pt x="1532" y="177"/>
                  </a:lnTo>
                  <a:lnTo>
                    <a:pt x="1534" y="175"/>
                  </a:lnTo>
                  <a:lnTo>
                    <a:pt x="1536" y="175"/>
                  </a:lnTo>
                  <a:lnTo>
                    <a:pt x="1538" y="173"/>
                  </a:lnTo>
                  <a:lnTo>
                    <a:pt x="1540" y="173"/>
                  </a:lnTo>
                  <a:lnTo>
                    <a:pt x="1540" y="171"/>
                  </a:lnTo>
                  <a:lnTo>
                    <a:pt x="1541" y="167"/>
                  </a:lnTo>
                  <a:close/>
                  <a:moveTo>
                    <a:pt x="636" y="521"/>
                  </a:moveTo>
                  <a:lnTo>
                    <a:pt x="637" y="521"/>
                  </a:lnTo>
                  <a:lnTo>
                    <a:pt x="637" y="523"/>
                  </a:lnTo>
                  <a:lnTo>
                    <a:pt x="636" y="521"/>
                  </a:lnTo>
                  <a:close/>
                  <a:moveTo>
                    <a:pt x="643" y="523"/>
                  </a:moveTo>
                  <a:lnTo>
                    <a:pt x="645" y="523"/>
                  </a:lnTo>
                  <a:lnTo>
                    <a:pt x="645" y="524"/>
                  </a:lnTo>
                  <a:lnTo>
                    <a:pt x="643" y="524"/>
                  </a:lnTo>
                  <a:lnTo>
                    <a:pt x="643" y="523"/>
                  </a:lnTo>
                  <a:close/>
                  <a:moveTo>
                    <a:pt x="643" y="524"/>
                  </a:moveTo>
                  <a:lnTo>
                    <a:pt x="645" y="526"/>
                  </a:lnTo>
                  <a:lnTo>
                    <a:pt x="643" y="528"/>
                  </a:lnTo>
                  <a:lnTo>
                    <a:pt x="641" y="528"/>
                  </a:lnTo>
                  <a:lnTo>
                    <a:pt x="639" y="528"/>
                  </a:lnTo>
                  <a:lnTo>
                    <a:pt x="637" y="528"/>
                  </a:lnTo>
                  <a:lnTo>
                    <a:pt x="636" y="528"/>
                  </a:lnTo>
                  <a:lnTo>
                    <a:pt x="634" y="528"/>
                  </a:lnTo>
                  <a:lnTo>
                    <a:pt x="632" y="528"/>
                  </a:lnTo>
                  <a:lnTo>
                    <a:pt x="630" y="528"/>
                  </a:lnTo>
                  <a:lnTo>
                    <a:pt x="630" y="530"/>
                  </a:lnTo>
                  <a:lnTo>
                    <a:pt x="630" y="532"/>
                  </a:lnTo>
                  <a:lnTo>
                    <a:pt x="632" y="532"/>
                  </a:lnTo>
                  <a:lnTo>
                    <a:pt x="634" y="532"/>
                  </a:lnTo>
                  <a:lnTo>
                    <a:pt x="634" y="534"/>
                  </a:lnTo>
                  <a:lnTo>
                    <a:pt x="636" y="534"/>
                  </a:lnTo>
                  <a:lnTo>
                    <a:pt x="636" y="536"/>
                  </a:lnTo>
                  <a:lnTo>
                    <a:pt x="636" y="534"/>
                  </a:lnTo>
                  <a:lnTo>
                    <a:pt x="636" y="532"/>
                  </a:lnTo>
                  <a:lnTo>
                    <a:pt x="637" y="532"/>
                  </a:lnTo>
                  <a:lnTo>
                    <a:pt x="637" y="530"/>
                  </a:lnTo>
                  <a:lnTo>
                    <a:pt x="639" y="530"/>
                  </a:lnTo>
                  <a:lnTo>
                    <a:pt x="641" y="530"/>
                  </a:lnTo>
                  <a:lnTo>
                    <a:pt x="641" y="532"/>
                  </a:lnTo>
                  <a:lnTo>
                    <a:pt x="639" y="532"/>
                  </a:lnTo>
                  <a:lnTo>
                    <a:pt x="641" y="532"/>
                  </a:lnTo>
                  <a:lnTo>
                    <a:pt x="643" y="532"/>
                  </a:lnTo>
                  <a:lnTo>
                    <a:pt x="643" y="530"/>
                  </a:lnTo>
                  <a:lnTo>
                    <a:pt x="645" y="530"/>
                  </a:lnTo>
                  <a:lnTo>
                    <a:pt x="647" y="530"/>
                  </a:lnTo>
                  <a:lnTo>
                    <a:pt x="645" y="528"/>
                  </a:lnTo>
                  <a:lnTo>
                    <a:pt x="647" y="526"/>
                  </a:lnTo>
                  <a:lnTo>
                    <a:pt x="645" y="526"/>
                  </a:lnTo>
                  <a:lnTo>
                    <a:pt x="645" y="524"/>
                  </a:lnTo>
                  <a:lnTo>
                    <a:pt x="643" y="524"/>
                  </a:lnTo>
                  <a:close/>
                  <a:moveTo>
                    <a:pt x="639" y="538"/>
                  </a:moveTo>
                  <a:lnTo>
                    <a:pt x="637" y="538"/>
                  </a:lnTo>
                  <a:lnTo>
                    <a:pt x="639" y="538"/>
                  </a:lnTo>
                  <a:lnTo>
                    <a:pt x="641" y="538"/>
                  </a:lnTo>
                  <a:lnTo>
                    <a:pt x="643" y="538"/>
                  </a:lnTo>
                  <a:lnTo>
                    <a:pt x="643" y="536"/>
                  </a:lnTo>
                  <a:lnTo>
                    <a:pt x="641" y="536"/>
                  </a:lnTo>
                  <a:lnTo>
                    <a:pt x="639" y="536"/>
                  </a:lnTo>
                  <a:lnTo>
                    <a:pt x="639" y="538"/>
                  </a:lnTo>
                  <a:close/>
                  <a:moveTo>
                    <a:pt x="634" y="547"/>
                  </a:moveTo>
                  <a:lnTo>
                    <a:pt x="634" y="549"/>
                  </a:lnTo>
                  <a:lnTo>
                    <a:pt x="636" y="549"/>
                  </a:lnTo>
                  <a:lnTo>
                    <a:pt x="636" y="547"/>
                  </a:lnTo>
                  <a:lnTo>
                    <a:pt x="634" y="547"/>
                  </a:lnTo>
                  <a:lnTo>
                    <a:pt x="634" y="546"/>
                  </a:lnTo>
                  <a:lnTo>
                    <a:pt x="634" y="544"/>
                  </a:lnTo>
                  <a:lnTo>
                    <a:pt x="634" y="546"/>
                  </a:lnTo>
                  <a:lnTo>
                    <a:pt x="632" y="546"/>
                  </a:lnTo>
                  <a:lnTo>
                    <a:pt x="632" y="544"/>
                  </a:lnTo>
                  <a:lnTo>
                    <a:pt x="630" y="544"/>
                  </a:lnTo>
                  <a:lnTo>
                    <a:pt x="632" y="544"/>
                  </a:lnTo>
                  <a:lnTo>
                    <a:pt x="630" y="544"/>
                  </a:lnTo>
                  <a:lnTo>
                    <a:pt x="630" y="542"/>
                  </a:lnTo>
                  <a:lnTo>
                    <a:pt x="630" y="540"/>
                  </a:lnTo>
                  <a:lnTo>
                    <a:pt x="632" y="540"/>
                  </a:lnTo>
                  <a:lnTo>
                    <a:pt x="634" y="540"/>
                  </a:lnTo>
                  <a:lnTo>
                    <a:pt x="634" y="538"/>
                  </a:lnTo>
                  <a:lnTo>
                    <a:pt x="634" y="540"/>
                  </a:lnTo>
                  <a:lnTo>
                    <a:pt x="634" y="538"/>
                  </a:lnTo>
                  <a:lnTo>
                    <a:pt x="634" y="536"/>
                  </a:lnTo>
                  <a:lnTo>
                    <a:pt x="632" y="536"/>
                  </a:lnTo>
                  <a:lnTo>
                    <a:pt x="630" y="536"/>
                  </a:lnTo>
                  <a:lnTo>
                    <a:pt x="632" y="536"/>
                  </a:lnTo>
                  <a:lnTo>
                    <a:pt x="632" y="534"/>
                  </a:lnTo>
                  <a:lnTo>
                    <a:pt x="630" y="534"/>
                  </a:lnTo>
                  <a:lnTo>
                    <a:pt x="630" y="536"/>
                  </a:lnTo>
                  <a:lnTo>
                    <a:pt x="630" y="538"/>
                  </a:lnTo>
                  <a:lnTo>
                    <a:pt x="628" y="538"/>
                  </a:lnTo>
                  <a:lnTo>
                    <a:pt x="626" y="538"/>
                  </a:lnTo>
                  <a:lnTo>
                    <a:pt x="626" y="540"/>
                  </a:lnTo>
                  <a:lnTo>
                    <a:pt x="624" y="540"/>
                  </a:lnTo>
                  <a:lnTo>
                    <a:pt x="624" y="542"/>
                  </a:lnTo>
                  <a:lnTo>
                    <a:pt x="626" y="542"/>
                  </a:lnTo>
                  <a:lnTo>
                    <a:pt x="624" y="542"/>
                  </a:lnTo>
                  <a:lnTo>
                    <a:pt x="624" y="544"/>
                  </a:lnTo>
                  <a:lnTo>
                    <a:pt x="622" y="542"/>
                  </a:lnTo>
                  <a:lnTo>
                    <a:pt x="624" y="542"/>
                  </a:lnTo>
                  <a:lnTo>
                    <a:pt x="622" y="540"/>
                  </a:lnTo>
                  <a:lnTo>
                    <a:pt x="624" y="540"/>
                  </a:lnTo>
                  <a:lnTo>
                    <a:pt x="622" y="540"/>
                  </a:lnTo>
                  <a:lnTo>
                    <a:pt x="622" y="538"/>
                  </a:lnTo>
                  <a:lnTo>
                    <a:pt x="624" y="538"/>
                  </a:lnTo>
                  <a:lnTo>
                    <a:pt x="624" y="536"/>
                  </a:lnTo>
                  <a:lnTo>
                    <a:pt x="622" y="536"/>
                  </a:lnTo>
                  <a:lnTo>
                    <a:pt x="620" y="536"/>
                  </a:lnTo>
                  <a:lnTo>
                    <a:pt x="620" y="534"/>
                  </a:lnTo>
                  <a:lnTo>
                    <a:pt x="622" y="534"/>
                  </a:lnTo>
                  <a:lnTo>
                    <a:pt x="620" y="534"/>
                  </a:lnTo>
                  <a:lnTo>
                    <a:pt x="620" y="532"/>
                  </a:lnTo>
                  <a:lnTo>
                    <a:pt x="618" y="532"/>
                  </a:lnTo>
                  <a:lnTo>
                    <a:pt x="618" y="534"/>
                  </a:lnTo>
                  <a:lnTo>
                    <a:pt x="618" y="532"/>
                  </a:lnTo>
                  <a:lnTo>
                    <a:pt x="616" y="532"/>
                  </a:lnTo>
                  <a:lnTo>
                    <a:pt x="616" y="534"/>
                  </a:lnTo>
                  <a:lnTo>
                    <a:pt x="618" y="534"/>
                  </a:lnTo>
                  <a:lnTo>
                    <a:pt x="618" y="536"/>
                  </a:lnTo>
                  <a:lnTo>
                    <a:pt x="618" y="538"/>
                  </a:lnTo>
                  <a:lnTo>
                    <a:pt x="620" y="538"/>
                  </a:lnTo>
                  <a:lnTo>
                    <a:pt x="618" y="538"/>
                  </a:lnTo>
                  <a:lnTo>
                    <a:pt x="618" y="540"/>
                  </a:lnTo>
                  <a:lnTo>
                    <a:pt x="616" y="540"/>
                  </a:lnTo>
                  <a:lnTo>
                    <a:pt x="618" y="542"/>
                  </a:lnTo>
                  <a:lnTo>
                    <a:pt x="616" y="542"/>
                  </a:lnTo>
                  <a:lnTo>
                    <a:pt x="618" y="542"/>
                  </a:lnTo>
                  <a:lnTo>
                    <a:pt x="618" y="544"/>
                  </a:lnTo>
                  <a:lnTo>
                    <a:pt x="616" y="544"/>
                  </a:lnTo>
                  <a:lnTo>
                    <a:pt x="618" y="546"/>
                  </a:lnTo>
                  <a:lnTo>
                    <a:pt x="616" y="547"/>
                  </a:lnTo>
                  <a:lnTo>
                    <a:pt x="616" y="546"/>
                  </a:lnTo>
                  <a:lnTo>
                    <a:pt x="614" y="547"/>
                  </a:lnTo>
                  <a:lnTo>
                    <a:pt x="613" y="547"/>
                  </a:lnTo>
                  <a:lnTo>
                    <a:pt x="613" y="549"/>
                  </a:lnTo>
                  <a:lnTo>
                    <a:pt x="614" y="549"/>
                  </a:lnTo>
                  <a:lnTo>
                    <a:pt x="614" y="547"/>
                  </a:lnTo>
                  <a:lnTo>
                    <a:pt x="616" y="549"/>
                  </a:lnTo>
                  <a:lnTo>
                    <a:pt x="618" y="549"/>
                  </a:lnTo>
                  <a:lnTo>
                    <a:pt x="618" y="551"/>
                  </a:lnTo>
                  <a:lnTo>
                    <a:pt x="620" y="551"/>
                  </a:lnTo>
                  <a:lnTo>
                    <a:pt x="620" y="549"/>
                  </a:lnTo>
                  <a:lnTo>
                    <a:pt x="620" y="551"/>
                  </a:lnTo>
                  <a:lnTo>
                    <a:pt x="622" y="551"/>
                  </a:lnTo>
                  <a:lnTo>
                    <a:pt x="622" y="553"/>
                  </a:lnTo>
                  <a:lnTo>
                    <a:pt x="622" y="555"/>
                  </a:lnTo>
                  <a:lnTo>
                    <a:pt x="624" y="555"/>
                  </a:lnTo>
                  <a:lnTo>
                    <a:pt x="626" y="555"/>
                  </a:lnTo>
                  <a:lnTo>
                    <a:pt x="626" y="557"/>
                  </a:lnTo>
                  <a:lnTo>
                    <a:pt x="626" y="555"/>
                  </a:lnTo>
                  <a:lnTo>
                    <a:pt x="628" y="555"/>
                  </a:lnTo>
                  <a:lnTo>
                    <a:pt x="630" y="557"/>
                  </a:lnTo>
                  <a:lnTo>
                    <a:pt x="632" y="557"/>
                  </a:lnTo>
                  <a:lnTo>
                    <a:pt x="632" y="555"/>
                  </a:lnTo>
                  <a:lnTo>
                    <a:pt x="634" y="555"/>
                  </a:lnTo>
                  <a:lnTo>
                    <a:pt x="634" y="553"/>
                  </a:lnTo>
                  <a:lnTo>
                    <a:pt x="634" y="551"/>
                  </a:lnTo>
                  <a:lnTo>
                    <a:pt x="632" y="551"/>
                  </a:lnTo>
                  <a:lnTo>
                    <a:pt x="630" y="551"/>
                  </a:lnTo>
                  <a:lnTo>
                    <a:pt x="632" y="549"/>
                  </a:lnTo>
                  <a:lnTo>
                    <a:pt x="632" y="547"/>
                  </a:lnTo>
                  <a:lnTo>
                    <a:pt x="634" y="547"/>
                  </a:lnTo>
                  <a:close/>
                  <a:moveTo>
                    <a:pt x="628" y="530"/>
                  </a:moveTo>
                  <a:lnTo>
                    <a:pt x="630" y="530"/>
                  </a:lnTo>
                  <a:lnTo>
                    <a:pt x="630" y="534"/>
                  </a:lnTo>
                  <a:lnTo>
                    <a:pt x="628" y="532"/>
                  </a:lnTo>
                  <a:lnTo>
                    <a:pt x="628" y="530"/>
                  </a:lnTo>
                  <a:close/>
                  <a:moveTo>
                    <a:pt x="624" y="530"/>
                  </a:moveTo>
                  <a:lnTo>
                    <a:pt x="626" y="530"/>
                  </a:lnTo>
                  <a:lnTo>
                    <a:pt x="624" y="530"/>
                  </a:lnTo>
                  <a:close/>
                  <a:moveTo>
                    <a:pt x="626" y="528"/>
                  </a:moveTo>
                  <a:lnTo>
                    <a:pt x="628" y="528"/>
                  </a:lnTo>
                  <a:lnTo>
                    <a:pt x="628" y="530"/>
                  </a:lnTo>
                  <a:lnTo>
                    <a:pt x="626" y="530"/>
                  </a:lnTo>
                  <a:lnTo>
                    <a:pt x="626" y="528"/>
                  </a:lnTo>
                  <a:close/>
                  <a:moveTo>
                    <a:pt x="622" y="534"/>
                  </a:moveTo>
                  <a:lnTo>
                    <a:pt x="622" y="536"/>
                  </a:lnTo>
                  <a:lnTo>
                    <a:pt x="622" y="534"/>
                  </a:lnTo>
                  <a:lnTo>
                    <a:pt x="624" y="534"/>
                  </a:lnTo>
                  <a:lnTo>
                    <a:pt x="622" y="534"/>
                  </a:lnTo>
                  <a:lnTo>
                    <a:pt x="622" y="532"/>
                  </a:lnTo>
                  <a:lnTo>
                    <a:pt x="622" y="534"/>
                  </a:lnTo>
                  <a:close/>
                  <a:moveTo>
                    <a:pt x="636" y="536"/>
                  </a:moveTo>
                  <a:lnTo>
                    <a:pt x="637" y="536"/>
                  </a:lnTo>
                  <a:lnTo>
                    <a:pt x="636" y="536"/>
                  </a:lnTo>
                  <a:close/>
                  <a:moveTo>
                    <a:pt x="634" y="538"/>
                  </a:moveTo>
                  <a:lnTo>
                    <a:pt x="636" y="538"/>
                  </a:lnTo>
                  <a:lnTo>
                    <a:pt x="636" y="540"/>
                  </a:lnTo>
                  <a:lnTo>
                    <a:pt x="634" y="540"/>
                  </a:lnTo>
                  <a:lnTo>
                    <a:pt x="634" y="538"/>
                  </a:lnTo>
                  <a:close/>
                  <a:moveTo>
                    <a:pt x="636" y="542"/>
                  </a:moveTo>
                  <a:lnTo>
                    <a:pt x="637" y="544"/>
                  </a:lnTo>
                  <a:lnTo>
                    <a:pt x="637" y="546"/>
                  </a:lnTo>
                  <a:lnTo>
                    <a:pt x="636" y="546"/>
                  </a:lnTo>
                  <a:lnTo>
                    <a:pt x="636" y="542"/>
                  </a:lnTo>
                  <a:close/>
                  <a:moveTo>
                    <a:pt x="634" y="544"/>
                  </a:moveTo>
                  <a:lnTo>
                    <a:pt x="636" y="544"/>
                  </a:lnTo>
                  <a:lnTo>
                    <a:pt x="634" y="544"/>
                  </a:lnTo>
                  <a:close/>
                  <a:moveTo>
                    <a:pt x="637" y="524"/>
                  </a:moveTo>
                  <a:lnTo>
                    <a:pt x="639" y="524"/>
                  </a:lnTo>
                  <a:lnTo>
                    <a:pt x="637" y="524"/>
                  </a:lnTo>
                  <a:close/>
                  <a:moveTo>
                    <a:pt x="589" y="563"/>
                  </a:moveTo>
                  <a:lnTo>
                    <a:pt x="591" y="563"/>
                  </a:lnTo>
                  <a:lnTo>
                    <a:pt x="591" y="561"/>
                  </a:lnTo>
                  <a:lnTo>
                    <a:pt x="589" y="561"/>
                  </a:lnTo>
                  <a:lnTo>
                    <a:pt x="588" y="561"/>
                  </a:lnTo>
                  <a:lnTo>
                    <a:pt x="589" y="563"/>
                  </a:lnTo>
                  <a:close/>
                  <a:moveTo>
                    <a:pt x="543" y="567"/>
                  </a:moveTo>
                  <a:lnTo>
                    <a:pt x="547" y="567"/>
                  </a:lnTo>
                  <a:lnTo>
                    <a:pt x="545" y="569"/>
                  </a:lnTo>
                  <a:lnTo>
                    <a:pt x="543" y="569"/>
                  </a:lnTo>
                  <a:lnTo>
                    <a:pt x="543" y="567"/>
                  </a:lnTo>
                  <a:close/>
                  <a:moveTo>
                    <a:pt x="574" y="571"/>
                  </a:moveTo>
                  <a:lnTo>
                    <a:pt x="576" y="572"/>
                  </a:lnTo>
                  <a:lnTo>
                    <a:pt x="574" y="572"/>
                  </a:lnTo>
                  <a:lnTo>
                    <a:pt x="574" y="571"/>
                  </a:lnTo>
                  <a:close/>
                  <a:moveTo>
                    <a:pt x="566" y="574"/>
                  </a:moveTo>
                  <a:lnTo>
                    <a:pt x="568" y="574"/>
                  </a:lnTo>
                  <a:lnTo>
                    <a:pt x="568" y="576"/>
                  </a:lnTo>
                  <a:lnTo>
                    <a:pt x="566" y="576"/>
                  </a:lnTo>
                  <a:lnTo>
                    <a:pt x="566" y="574"/>
                  </a:lnTo>
                  <a:close/>
                  <a:moveTo>
                    <a:pt x="626" y="586"/>
                  </a:moveTo>
                  <a:lnTo>
                    <a:pt x="624" y="586"/>
                  </a:lnTo>
                  <a:lnTo>
                    <a:pt x="624" y="588"/>
                  </a:lnTo>
                  <a:lnTo>
                    <a:pt x="622" y="586"/>
                  </a:lnTo>
                  <a:lnTo>
                    <a:pt x="620" y="586"/>
                  </a:lnTo>
                  <a:lnTo>
                    <a:pt x="620" y="588"/>
                  </a:lnTo>
                  <a:lnTo>
                    <a:pt x="622" y="588"/>
                  </a:lnTo>
                  <a:lnTo>
                    <a:pt x="624" y="588"/>
                  </a:lnTo>
                  <a:lnTo>
                    <a:pt x="624" y="590"/>
                  </a:lnTo>
                  <a:lnTo>
                    <a:pt x="622" y="590"/>
                  </a:lnTo>
                  <a:lnTo>
                    <a:pt x="620" y="592"/>
                  </a:lnTo>
                  <a:lnTo>
                    <a:pt x="624" y="592"/>
                  </a:lnTo>
                  <a:lnTo>
                    <a:pt x="626" y="592"/>
                  </a:lnTo>
                  <a:lnTo>
                    <a:pt x="628" y="592"/>
                  </a:lnTo>
                  <a:lnTo>
                    <a:pt x="628" y="590"/>
                  </a:lnTo>
                  <a:lnTo>
                    <a:pt x="628" y="588"/>
                  </a:lnTo>
                  <a:lnTo>
                    <a:pt x="628" y="586"/>
                  </a:lnTo>
                  <a:lnTo>
                    <a:pt x="626" y="586"/>
                  </a:lnTo>
                  <a:close/>
                </a:path>
              </a:pathLst>
            </a:custGeom>
            <a:solidFill>
              <a:srgbClr val="E6E6E6"/>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15" name="Freeform 8">
              <a:extLst>
                <a:ext uri="{FF2B5EF4-FFF2-40B4-BE49-F238E27FC236}">
                  <a16:creationId xmlns:a16="http://schemas.microsoft.com/office/drawing/2014/main" id="{369AF8F8-CA34-4916-B956-F37572CE690E}"/>
                </a:ext>
              </a:extLst>
            </p:cNvPr>
            <p:cNvSpPr>
              <a:spLocks noEditPoints="1"/>
            </p:cNvSpPr>
            <p:nvPr/>
          </p:nvSpPr>
          <p:spPr bwMode="gray">
            <a:xfrm>
              <a:off x="1126006" y="1920318"/>
              <a:ext cx="2486792" cy="3505006"/>
            </a:xfrm>
            <a:custGeom>
              <a:avLst/>
              <a:gdLst>
                <a:gd name="T0" fmla="*/ 668 w 2035"/>
                <a:gd name="T1" fmla="*/ 2503 h 2707"/>
                <a:gd name="T2" fmla="*/ 645 w 2035"/>
                <a:gd name="T3" fmla="*/ 2471 h 2707"/>
                <a:gd name="T4" fmla="*/ 705 w 2035"/>
                <a:gd name="T5" fmla="*/ 2538 h 2707"/>
                <a:gd name="T6" fmla="*/ 724 w 2035"/>
                <a:gd name="T7" fmla="*/ 2530 h 2707"/>
                <a:gd name="T8" fmla="*/ 728 w 2035"/>
                <a:gd name="T9" fmla="*/ 2499 h 2707"/>
                <a:gd name="T10" fmla="*/ 745 w 2035"/>
                <a:gd name="T11" fmla="*/ 2524 h 2707"/>
                <a:gd name="T12" fmla="*/ 319 w 2035"/>
                <a:gd name="T13" fmla="*/ 2593 h 2707"/>
                <a:gd name="T14" fmla="*/ 102 w 2035"/>
                <a:gd name="T15" fmla="*/ 2403 h 2707"/>
                <a:gd name="T16" fmla="*/ 382 w 2035"/>
                <a:gd name="T17" fmla="*/ 2494 h 2707"/>
                <a:gd name="T18" fmla="*/ 315 w 2035"/>
                <a:gd name="T19" fmla="*/ 2234 h 2707"/>
                <a:gd name="T20" fmla="*/ 770 w 2035"/>
                <a:gd name="T21" fmla="*/ 2107 h 2707"/>
                <a:gd name="T22" fmla="*/ 925 w 2035"/>
                <a:gd name="T23" fmla="*/ 2052 h 2707"/>
                <a:gd name="T24" fmla="*/ 875 w 2035"/>
                <a:gd name="T25" fmla="*/ 1971 h 2707"/>
                <a:gd name="T26" fmla="*/ 551 w 2035"/>
                <a:gd name="T27" fmla="*/ 1906 h 2707"/>
                <a:gd name="T28" fmla="*/ 916 w 2035"/>
                <a:gd name="T29" fmla="*/ 2056 h 2707"/>
                <a:gd name="T30" fmla="*/ 685 w 2035"/>
                <a:gd name="T31" fmla="*/ 2015 h 2707"/>
                <a:gd name="T32" fmla="*/ 513 w 2035"/>
                <a:gd name="T33" fmla="*/ 1898 h 2707"/>
                <a:gd name="T34" fmla="*/ 566 w 2035"/>
                <a:gd name="T35" fmla="*/ 1965 h 2707"/>
                <a:gd name="T36" fmla="*/ 664 w 2035"/>
                <a:gd name="T37" fmla="*/ 2109 h 2707"/>
                <a:gd name="T38" fmla="*/ 396 w 2035"/>
                <a:gd name="T39" fmla="*/ 2031 h 2707"/>
                <a:gd name="T40" fmla="*/ 457 w 2035"/>
                <a:gd name="T41" fmla="*/ 2140 h 2707"/>
                <a:gd name="T42" fmla="*/ 305 w 2035"/>
                <a:gd name="T43" fmla="*/ 2182 h 2707"/>
                <a:gd name="T44" fmla="*/ 382 w 2035"/>
                <a:gd name="T45" fmla="*/ 2215 h 2707"/>
                <a:gd name="T46" fmla="*/ 630 w 2035"/>
                <a:gd name="T47" fmla="*/ 2303 h 2707"/>
                <a:gd name="T48" fmla="*/ 637 w 2035"/>
                <a:gd name="T49" fmla="*/ 2242 h 2707"/>
                <a:gd name="T50" fmla="*/ 743 w 2035"/>
                <a:gd name="T51" fmla="*/ 2156 h 2707"/>
                <a:gd name="T52" fmla="*/ 745 w 2035"/>
                <a:gd name="T53" fmla="*/ 2088 h 2707"/>
                <a:gd name="T54" fmla="*/ 754 w 2035"/>
                <a:gd name="T55" fmla="*/ 2449 h 2707"/>
                <a:gd name="T56" fmla="*/ 482 w 2035"/>
                <a:gd name="T57" fmla="*/ 2436 h 2707"/>
                <a:gd name="T58" fmla="*/ 298 w 2035"/>
                <a:gd name="T59" fmla="*/ 2328 h 2707"/>
                <a:gd name="T60" fmla="*/ 175 w 2035"/>
                <a:gd name="T61" fmla="*/ 2156 h 2707"/>
                <a:gd name="T62" fmla="*/ 478 w 2035"/>
                <a:gd name="T63" fmla="*/ 1919 h 2707"/>
                <a:gd name="T64" fmla="*/ 666 w 2035"/>
                <a:gd name="T65" fmla="*/ 1854 h 2707"/>
                <a:gd name="T66" fmla="*/ 941 w 2035"/>
                <a:gd name="T67" fmla="*/ 2038 h 2707"/>
                <a:gd name="T68" fmla="*/ 1547 w 2035"/>
                <a:gd name="T69" fmla="*/ 1145 h 2707"/>
                <a:gd name="T70" fmla="*/ 1511 w 2035"/>
                <a:gd name="T71" fmla="*/ 1159 h 2707"/>
                <a:gd name="T72" fmla="*/ 1745 w 2035"/>
                <a:gd name="T73" fmla="*/ 1247 h 2707"/>
                <a:gd name="T74" fmla="*/ 1927 w 2035"/>
                <a:gd name="T75" fmla="*/ 1479 h 2707"/>
                <a:gd name="T76" fmla="*/ 2033 w 2035"/>
                <a:gd name="T77" fmla="*/ 1731 h 2707"/>
                <a:gd name="T78" fmla="*/ 1532 w 2035"/>
                <a:gd name="T79" fmla="*/ 1848 h 2707"/>
                <a:gd name="T80" fmla="*/ 1186 w 2035"/>
                <a:gd name="T81" fmla="*/ 1998 h 2707"/>
                <a:gd name="T82" fmla="*/ 902 w 2035"/>
                <a:gd name="T83" fmla="*/ 1975 h 2707"/>
                <a:gd name="T84" fmla="*/ 764 w 2035"/>
                <a:gd name="T85" fmla="*/ 1869 h 2707"/>
                <a:gd name="T86" fmla="*/ 609 w 2035"/>
                <a:gd name="T87" fmla="*/ 1675 h 2707"/>
                <a:gd name="T88" fmla="*/ 726 w 2035"/>
                <a:gd name="T89" fmla="*/ 1650 h 2707"/>
                <a:gd name="T90" fmla="*/ 858 w 2035"/>
                <a:gd name="T91" fmla="*/ 1792 h 2707"/>
                <a:gd name="T92" fmla="*/ 1000 w 2035"/>
                <a:gd name="T93" fmla="*/ 1794 h 2707"/>
                <a:gd name="T94" fmla="*/ 1031 w 2035"/>
                <a:gd name="T95" fmla="*/ 1766 h 2707"/>
                <a:gd name="T96" fmla="*/ 764 w 2035"/>
                <a:gd name="T97" fmla="*/ 1587 h 2707"/>
                <a:gd name="T98" fmla="*/ 1006 w 2035"/>
                <a:gd name="T99" fmla="*/ 1326 h 2707"/>
                <a:gd name="T100" fmla="*/ 1271 w 2035"/>
                <a:gd name="T101" fmla="*/ 1013 h 2707"/>
                <a:gd name="T102" fmla="*/ 1436 w 2035"/>
                <a:gd name="T103" fmla="*/ 1107 h 2707"/>
                <a:gd name="T104" fmla="*/ 1407 w 2035"/>
                <a:gd name="T105" fmla="*/ 311 h 2707"/>
                <a:gd name="T106" fmla="*/ 1624 w 2035"/>
                <a:gd name="T107" fmla="*/ 377 h 2707"/>
                <a:gd name="T108" fmla="*/ 1799 w 2035"/>
                <a:gd name="T109" fmla="*/ 638 h 2707"/>
                <a:gd name="T110" fmla="*/ 1637 w 2035"/>
                <a:gd name="T111" fmla="*/ 769 h 2707"/>
                <a:gd name="T112" fmla="*/ 1601 w 2035"/>
                <a:gd name="T113" fmla="*/ 988 h 2707"/>
                <a:gd name="T114" fmla="*/ 1536 w 2035"/>
                <a:gd name="T115" fmla="*/ 1136 h 2707"/>
                <a:gd name="T116" fmla="*/ 1307 w 2035"/>
                <a:gd name="T117" fmla="*/ 1039 h 2707"/>
                <a:gd name="T118" fmla="*/ 1263 w 2035"/>
                <a:gd name="T119" fmla="*/ 648 h 2707"/>
                <a:gd name="T120" fmla="*/ 1346 w 2035"/>
                <a:gd name="T121" fmla="*/ 383 h 2707"/>
                <a:gd name="T122" fmla="*/ 1526 w 2035"/>
                <a:gd name="T123" fmla="*/ 75 h 2707"/>
                <a:gd name="T124" fmla="*/ 1382 w 2035"/>
                <a:gd name="T125" fmla="*/ 133 h 2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35" h="2707">
                  <a:moveTo>
                    <a:pt x="703" y="2517"/>
                  </a:moveTo>
                  <a:lnTo>
                    <a:pt x="701" y="2517"/>
                  </a:lnTo>
                  <a:lnTo>
                    <a:pt x="701" y="2515"/>
                  </a:lnTo>
                  <a:lnTo>
                    <a:pt x="703" y="2517"/>
                  </a:lnTo>
                  <a:close/>
                  <a:moveTo>
                    <a:pt x="753" y="2519"/>
                  </a:moveTo>
                  <a:lnTo>
                    <a:pt x="751" y="2520"/>
                  </a:lnTo>
                  <a:lnTo>
                    <a:pt x="751" y="2519"/>
                  </a:lnTo>
                  <a:lnTo>
                    <a:pt x="753" y="2517"/>
                  </a:lnTo>
                  <a:lnTo>
                    <a:pt x="753" y="2519"/>
                  </a:lnTo>
                  <a:close/>
                  <a:moveTo>
                    <a:pt x="678" y="2507"/>
                  </a:moveTo>
                  <a:lnTo>
                    <a:pt x="676" y="2507"/>
                  </a:lnTo>
                  <a:lnTo>
                    <a:pt x="678" y="2507"/>
                  </a:lnTo>
                  <a:lnTo>
                    <a:pt x="676" y="2507"/>
                  </a:lnTo>
                  <a:lnTo>
                    <a:pt x="674" y="2507"/>
                  </a:lnTo>
                  <a:lnTo>
                    <a:pt x="674" y="2505"/>
                  </a:lnTo>
                  <a:lnTo>
                    <a:pt x="676" y="2505"/>
                  </a:lnTo>
                  <a:lnTo>
                    <a:pt x="676" y="2507"/>
                  </a:lnTo>
                  <a:lnTo>
                    <a:pt x="678" y="2507"/>
                  </a:lnTo>
                  <a:close/>
                  <a:moveTo>
                    <a:pt x="683" y="2497"/>
                  </a:moveTo>
                  <a:lnTo>
                    <a:pt x="683" y="2499"/>
                  </a:lnTo>
                  <a:lnTo>
                    <a:pt x="683" y="2497"/>
                  </a:lnTo>
                  <a:close/>
                  <a:moveTo>
                    <a:pt x="685" y="2497"/>
                  </a:moveTo>
                  <a:lnTo>
                    <a:pt x="687" y="2499"/>
                  </a:lnTo>
                  <a:lnTo>
                    <a:pt x="685" y="2499"/>
                  </a:lnTo>
                  <a:lnTo>
                    <a:pt x="687" y="2499"/>
                  </a:lnTo>
                  <a:lnTo>
                    <a:pt x="685" y="2499"/>
                  </a:lnTo>
                  <a:lnTo>
                    <a:pt x="685" y="2497"/>
                  </a:lnTo>
                  <a:close/>
                  <a:moveTo>
                    <a:pt x="683" y="2497"/>
                  </a:moveTo>
                  <a:lnTo>
                    <a:pt x="683" y="2499"/>
                  </a:lnTo>
                  <a:lnTo>
                    <a:pt x="681" y="2499"/>
                  </a:lnTo>
                  <a:lnTo>
                    <a:pt x="683" y="2497"/>
                  </a:lnTo>
                  <a:close/>
                  <a:moveTo>
                    <a:pt x="676" y="2494"/>
                  </a:moveTo>
                  <a:lnTo>
                    <a:pt x="678" y="2494"/>
                  </a:lnTo>
                  <a:lnTo>
                    <a:pt x="678" y="2495"/>
                  </a:lnTo>
                  <a:lnTo>
                    <a:pt x="678" y="2494"/>
                  </a:lnTo>
                  <a:lnTo>
                    <a:pt x="680" y="2494"/>
                  </a:lnTo>
                  <a:lnTo>
                    <a:pt x="680" y="2495"/>
                  </a:lnTo>
                  <a:lnTo>
                    <a:pt x="680" y="2497"/>
                  </a:lnTo>
                  <a:lnTo>
                    <a:pt x="680" y="2499"/>
                  </a:lnTo>
                  <a:lnTo>
                    <a:pt x="680" y="2497"/>
                  </a:lnTo>
                  <a:lnTo>
                    <a:pt x="680" y="2495"/>
                  </a:lnTo>
                  <a:lnTo>
                    <a:pt x="680" y="2494"/>
                  </a:lnTo>
                  <a:lnTo>
                    <a:pt x="680" y="2495"/>
                  </a:lnTo>
                  <a:lnTo>
                    <a:pt x="681" y="2494"/>
                  </a:lnTo>
                  <a:lnTo>
                    <a:pt x="681" y="2495"/>
                  </a:lnTo>
                  <a:lnTo>
                    <a:pt x="681" y="2497"/>
                  </a:lnTo>
                  <a:lnTo>
                    <a:pt x="683" y="2497"/>
                  </a:lnTo>
                  <a:lnTo>
                    <a:pt x="681" y="2499"/>
                  </a:lnTo>
                  <a:lnTo>
                    <a:pt x="680" y="2499"/>
                  </a:lnTo>
                  <a:lnTo>
                    <a:pt x="681" y="2499"/>
                  </a:lnTo>
                  <a:lnTo>
                    <a:pt x="683" y="2499"/>
                  </a:lnTo>
                  <a:lnTo>
                    <a:pt x="685" y="2499"/>
                  </a:lnTo>
                  <a:lnTo>
                    <a:pt x="687" y="2499"/>
                  </a:lnTo>
                  <a:lnTo>
                    <a:pt x="687" y="2501"/>
                  </a:lnTo>
                  <a:lnTo>
                    <a:pt x="687" y="2503"/>
                  </a:lnTo>
                  <a:lnTo>
                    <a:pt x="689" y="2503"/>
                  </a:lnTo>
                  <a:lnTo>
                    <a:pt x="689" y="2505"/>
                  </a:lnTo>
                  <a:lnTo>
                    <a:pt x="689" y="2507"/>
                  </a:lnTo>
                  <a:lnTo>
                    <a:pt x="687" y="2507"/>
                  </a:lnTo>
                  <a:lnTo>
                    <a:pt x="689" y="2507"/>
                  </a:lnTo>
                  <a:lnTo>
                    <a:pt x="689" y="2509"/>
                  </a:lnTo>
                  <a:lnTo>
                    <a:pt x="689" y="2507"/>
                  </a:lnTo>
                  <a:lnTo>
                    <a:pt x="689" y="2509"/>
                  </a:lnTo>
                  <a:lnTo>
                    <a:pt x="691" y="2509"/>
                  </a:lnTo>
                  <a:lnTo>
                    <a:pt x="689" y="2509"/>
                  </a:lnTo>
                  <a:lnTo>
                    <a:pt x="687" y="2509"/>
                  </a:lnTo>
                  <a:lnTo>
                    <a:pt x="689" y="2509"/>
                  </a:lnTo>
                  <a:lnTo>
                    <a:pt x="689" y="2511"/>
                  </a:lnTo>
                  <a:lnTo>
                    <a:pt x="687" y="2511"/>
                  </a:lnTo>
                  <a:lnTo>
                    <a:pt x="689" y="2511"/>
                  </a:lnTo>
                  <a:lnTo>
                    <a:pt x="689" y="2513"/>
                  </a:lnTo>
                  <a:lnTo>
                    <a:pt x="691" y="2513"/>
                  </a:lnTo>
                  <a:lnTo>
                    <a:pt x="691" y="2515"/>
                  </a:lnTo>
                  <a:lnTo>
                    <a:pt x="689" y="2515"/>
                  </a:lnTo>
                  <a:lnTo>
                    <a:pt x="691" y="2515"/>
                  </a:lnTo>
                  <a:lnTo>
                    <a:pt x="691" y="2517"/>
                  </a:lnTo>
                  <a:lnTo>
                    <a:pt x="691" y="2515"/>
                  </a:lnTo>
                  <a:lnTo>
                    <a:pt x="691" y="2513"/>
                  </a:lnTo>
                  <a:lnTo>
                    <a:pt x="691" y="2515"/>
                  </a:lnTo>
                  <a:lnTo>
                    <a:pt x="691" y="2513"/>
                  </a:lnTo>
                  <a:lnTo>
                    <a:pt x="691" y="2511"/>
                  </a:lnTo>
                  <a:lnTo>
                    <a:pt x="689" y="2511"/>
                  </a:lnTo>
                  <a:lnTo>
                    <a:pt x="691" y="2511"/>
                  </a:lnTo>
                  <a:lnTo>
                    <a:pt x="691" y="2509"/>
                  </a:lnTo>
                  <a:lnTo>
                    <a:pt x="691" y="2511"/>
                  </a:lnTo>
                  <a:lnTo>
                    <a:pt x="693" y="2513"/>
                  </a:lnTo>
                  <a:lnTo>
                    <a:pt x="693" y="2515"/>
                  </a:lnTo>
                  <a:lnTo>
                    <a:pt x="695" y="2517"/>
                  </a:lnTo>
                  <a:lnTo>
                    <a:pt x="693" y="2517"/>
                  </a:lnTo>
                  <a:lnTo>
                    <a:pt x="691" y="2517"/>
                  </a:lnTo>
                  <a:lnTo>
                    <a:pt x="693" y="2517"/>
                  </a:lnTo>
                  <a:lnTo>
                    <a:pt x="693" y="2519"/>
                  </a:lnTo>
                  <a:lnTo>
                    <a:pt x="693" y="2520"/>
                  </a:lnTo>
                  <a:lnTo>
                    <a:pt x="691" y="2520"/>
                  </a:lnTo>
                  <a:lnTo>
                    <a:pt x="693" y="2520"/>
                  </a:lnTo>
                  <a:lnTo>
                    <a:pt x="695" y="2520"/>
                  </a:lnTo>
                  <a:lnTo>
                    <a:pt x="693" y="2520"/>
                  </a:lnTo>
                  <a:lnTo>
                    <a:pt x="695" y="2520"/>
                  </a:lnTo>
                  <a:lnTo>
                    <a:pt x="695" y="2522"/>
                  </a:lnTo>
                  <a:lnTo>
                    <a:pt x="695" y="2520"/>
                  </a:lnTo>
                  <a:lnTo>
                    <a:pt x="695" y="2522"/>
                  </a:lnTo>
                  <a:lnTo>
                    <a:pt x="693" y="2522"/>
                  </a:lnTo>
                  <a:lnTo>
                    <a:pt x="691" y="2522"/>
                  </a:lnTo>
                  <a:lnTo>
                    <a:pt x="691" y="2524"/>
                  </a:lnTo>
                  <a:lnTo>
                    <a:pt x="689" y="2524"/>
                  </a:lnTo>
                  <a:lnTo>
                    <a:pt x="689" y="2522"/>
                  </a:lnTo>
                  <a:lnTo>
                    <a:pt x="687" y="2522"/>
                  </a:lnTo>
                  <a:lnTo>
                    <a:pt x="689" y="2522"/>
                  </a:lnTo>
                  <a:lnTo>
                    <a:pt x="687" y="2522"/>
                  </a:lnTo>
                  <a:lnTo>
                    <a:pt x="687" y="2520"/>
                  </a:lnTo>
                  <a:lnTo>
                    <a:pt x="689" y="2520"/>
                  </a:lnTo>
                  <a:lnTo>
                    <a:pt x="687" y="2520"/>
                  </a:lnTo>
                  <a:lnTo>
                    <a:pt x="687" y="2522"/>
                  </a:lnTo>
                  <a:lnTo>
                    <a:pt x="685" y="2522"/>
                  </a:lnTo>
                  <a:lnTo>
                    <a:pt x="685" y="2524"/>
                  </a:lnTo>
                  <a:lnTo>
                    <a:pt x="683" y="2524"/>
                  </a:lnTo>
                  <a:lnTo>
                    <a:pt x="681" y="2524"/>
                  </a:lnTo>
                  <a:lnTo>
                    <a:pt x="680" y="2524"/>
                  </a:lnTo>
                  <a:lnTo>
                    <a:pt x="681" y="2522"/>
                  </a:lnTo>
                  <a:lnTo>
                    <a:pt x="680" y="2522"/>
                  </a:lnTo>
                  <a:lnTo>
                    <a:pt x="680" y="2524"/>
                  </a:lnTo>
                  <a:lnTo>
                    <a:pt x="680" y="2522"/>
                  </a:lnTo>
                  <a:lnTo>
                    <a:pt x="681" y="2522"/>
                  </a:lnTo>
                  <a:lnTo>
                    <a:pt x="681" y="2520"/>
                  </a:lnTo>
                  <a:lnTo>
                    <a:pt x="681" y="2522"/>
                  </a:lnTo>
                  <a:lnTo>
                    <a:pt x="683" y="2522"/>
                  </a:lnTo>
                  <a:lnTo>
                    <a:pt x="681" y="2522"/>
                  </a:lnTo>
                  <a:lnTo>
                    <a:pt x="681" y="2520"/>
                  </a:lnTo>
                  <a:lnTo>
                    <a:pt x="681" y="2522"/>
                  </a:lnTo>
                  <a:lnTo>
                    <a:pt x="680" y="2522"/>
                  </a:lnTo>
                  <a:lnTo>
                    <a:pt x="678" y="2522"/>
                  </a:lnTo>
                  <a:lnTo>
                    <a:pt x="678" y="2520"/>
                  </a:lnTo>
                  <a:lnTo>
                    <a:pt x="680" y="2520"/>
                  </a:lnTo>
                  <a:lnTo>
                    <a:pt x="678" y="2520"/>
                  </a:lnTo>
                  <a:lnTo>
                    <a:pt x="678" y="2519"/>
                  </a:lnTo>
                  <a:lnTo>
                    <a:pt x="680" y="2519"/>
                  </a:lnTo>
                  <a:lnTo>
                    <a:pt x="678" y="2519"/>
                  </a:lnTo>
                  <a:lnTo>
                    <a:pt x="680" y="2519"/>
                  </a:lnTo>
                  <a:lnTo>
                    <a:pt x="678" y="2519"/>
                  </a:lnTo>
                  <a:lnTo>
                    <a:pt x="676" y="2519"/>
                  </a:lnTo>
                  <a:lnTo>
                    <a:pt x="676" y="2517"/>
                  </a:lnTo>
                  <a:lnTo>
                    <a:pt x="676" y="2515"/>
                  </a:lnTo>
                  <a:lnTo>
                    <a:pt x="680" y="2513"/>
                  </a:lnTo>
                  <a:lnTo>
                    <a:pt x="680" y="2515"/>
                  </a:lnTo>
                  <a:lnTo>
                    <a:pt x="680" y="2517"/>
                  </a:lnTo>
                  <a:lnTo>
                    <a:pt x="680" y="2515"/>
                  </a:lnTo>
                  <a:lnTo>
                    <a:pt x="680" y="2513"/>
                  </a:lnTo>
                  <a:lnTo>
                    <a:pt x="681" y="2513"/>
                  </a:lnTo>
                  <a:lnTo>
                    <a:pt x="681" y="2515"/>
                  </a:lnTo>
                  <a:lnTo>
                    <a:pt x="681" y="2517"/>
                  </a:lnTo>
                  <a:lnTo>
                    <a:pt x="681" y="2515"/>
                  </a:lnTo>
                  <a:lnTo>
                    <a:pt x="681" y="2517"/>
                  </a:lnTo>
                  <a:lnTo>
                    <a:pt x="683" y="2517"/>
                  </a:lnTo>
                  <a:lnTo>
                    <a:pt x="683" y="2519"/>
                  </a:lnTo>
                  <a:lnTo>
                    <a:pt x="685" y="2519"/>
                  </a:lnTo>
                  <a:lnTo>
                    <a:pt x="683" y="2519"/>
                  </a:lnTo>
                  <a:lnTo>
                    <a:pt x="685" y="2519"/>
                  </a:lnTo>
                  <a:lnTo>
                    <a:pt x="685" y="2517"/>
                  </a:lnTo>
                  <a:lnTo>
                    <a:pt x="685" y="2519"/>
                  </a:lnTo>
                  <a:lnTo>
                    <a:pt x="685" y="2517"/>
                  </a:lnTo>
                  <a:lnTo>
                    <a:pt x="687" y="2517"/>
                  </a:lnTo>
                  <a:lnTo>
                    <a:pt x="687" y="2519"/>
                  </a:lnTo>
                  <a:lnTo>
                    <a:pt x="687" y="2517"/>
                  </a:lnTo>
                  <a:lnTo>
                    <a:pt x="685" y="2517"/>
                  </a:lnTo>
                  <a:lnTo>
                    <a:pt x="683" y="2517"/>
                  </a:lnTo>
                  <a:lnTo>
                    <a:pt x="681" y="2515"/>
                  </a:lnTo>
                  <a:lnTo>
                    <a:pt x="683" y="2515"/>
                  </a:lnTo>
                  <a:lnTo>
                    <a:pt x="683" y="2517"/>
                  </a:lnTo>
                  <a:lnTo>
                    <a:pt x="685" y="2517"/>
                  </a:lnTo>
                  <a:lnTo>
                    <a:pt x="683" y="2517"/>
                  </a:lnTo>
                  <a:lnTo>
                    <a:pt x="683" y="2515"/>
                  </a:lnTo>
                  <a:lnTo>
                    <a:pt x="681" y="2515"/>
                  </a:lnTo>
                  <a:lnTo>
                    <a:pt x="683" y="2515"/>
                  </a:lnTo>
                  <a:lnTo>
                    <a:pt x="681" y="2515"/>
                  </a:lnTo>
                  <a:lnTo>
                    <a:pt x="681" y="2513"/>
                  </a:lnTo>
                  <a:lnTo>
                    <a:pt x="683" y="2513"/>
                  </a:lnTo>
                  <a:lnTo>
                    <a:pt x="685" y="2513"/>
                  </a:lnTo>
                  <a:lnTo>
                    <a:pt x="683" y="2513"/>
                  </a:lnTo>
                  <a:lnTo>
                    <a:pt x="681" y="2513"/>
                  </a:lnTo>
                  <a:lnTo>
                    <a:pt x="683" y="2513"/>
                  </a:lnTo>
                  <a:lnTo>
                    <a:pt x="681" y="2513"/>
                  </a:lnTo>
                  <a:lnTo>
                    <a:pt x="683" y="2511"/>
                  </a:lnTo>
                  <a:lnTo>
                    <a:pt x="683" y="2513"/>
                  </a:lnTo>
                  <a:lnTo>
                    <a:pt x="685" y="2513"/>
                  </a:lnTo>
                  <a:lnTo>
                    <a:pt x="683" y="2513"/>
                  </a:lnTo>
                  <a:lnTo>
                    <a:pt x="683" y="2511"/>
                  </a:lnTo>
                  <a:lnTo>
                    <a:pt x="685" y="2511"/>
                  </a:lnTo>
                  <a:lnTo>
                    <a:pt x="683" y="2511"/>
                  </a:lnTo>
                  <a:lnTo>
                    <a:pt x="685" y="2509"/>
                  </a:lnTo>
                  <a:lnTo>
                    <a:pt x="683" y="2509"/>
                  </a:lnTo>
                  <a:lnTo>
                    <a:pt x="685" y="2509"/>
                  </a:lnTo>
                  <a:lnTo>
                    <a:pt x="683" y="2507"/>
                  </a:lnTo>
                  <a:lnTo>
                    <a:pt x="685" y="2507"/>
                  </a:lnTo>
                  <a:lnTo>
                    <a:pt x="683" y="2509"/>
                  </a:lnTo>
                  <a:lnTo>
                    <a:pt x="685" y="2509"/>
                  </a:lnTo>
                  <a:lnTo>
                    <a:pt x="683" y="2509"/>
                  </a:lnTo>
                  <a:lnTo>
                    <a:pt x="683" y="2511"/>
                  </a:lnTo>
                  <a:lnTo>
                    <a:pt x="683" y="2509"/>
                  </a:lnTo>
                  <a:lnTo>
                    <a:pt x="683" y="2511"/>
                  </a:lnTo>
                  <a:lnTo>
                    <a:pt x="681" y="2511"/>
                  </a:lnTo>
                  <a:lnTo>
                    <a:pt x="683" y="2511"/>
                  </a:lnTo>
                  <a:lnTo>
                    <a:pt x="681" y="2511"/>
                  </a:lnTo>
                  <a:lnTo>
                    <a:pt x="681" y="2513"/>
                  </a:lnTo>
                  <a:lnTo>
                    <a:pt x="680" y="2513"/>
                  </a:lnTo>
                  <a:lnTo>
                    <a:pt x="680" y="2511"/>
                  </a:lnTo>
                  <a:lnTo>
                    <a:pt x="681" y="2511"/>
                  </a:lnTo>
                  <a:lnTo>
                    <a:pt x="680" y="2511"/>
                  </a:lnTo>
                  <a:lnTo>
                    <a:pt x="680" y="2513"/>
                  </a:lnTo>
                  <a:lnTo>
                    <a:pt x="678" y="2513"/>
                  </a:lnTo>
                  <a:lnTo>
                    <a:pt x="676" y="2513"/>
                  </a:lnTo>
                  <a:lnTo>
                    <a:pt x="674" y="2513"/>
                  </a:lnTo>
                  <a:lnTo>
                    <a:pt x="676" y="2513"/>
                  </a:lnTo>
                  <a:lnTo>
                    <a:pt x="676" y="2511"/>
                  </a:lnTo>
                  <a:lnTo>
                    <a:pt x="678" y="2511"/>
                  </a:lnTo>
                  <a:lnTo>
                    <a:pt x="678" y="2509"/>
                  </a:lnTo>
                  <a:lnTo>
                    <a:pt x="680" y="2509"/>
                  </a:lnTo>
                  <a:lnTo>
                    <a:pt x="680" y="2511"/>
                  </a:lnTo>
                  <a:lnTo>
                    <a:pt x="681" y="2511"/>
                  </a:lnTo>
                  <a:lnTo>
                    <a:pt x="680" y="2511"/>
                  </a:lnTo>
                  <a:lnTo>
                    <a:pt x="680" y="2509"/>
                  </a:lnTo>
                  <a:lnTo>
                    <a:pt x="680" y="2511"/>
                  </a:lnTo>
                  <a:lnTo>
                    <a:pt x="681" y="2511"/>
                  </a:lnTo>
                  <a:lnTo>
                    <a:pt x="680" y="2511"/>
                  </a:lnTo>
                  <a:lnTo>
                    <a:pt x="680" y="2509"/>
                  </a:lnTo>
                  <a:lnTo>
                    <a:pt x="681" y="2509"/>
                  </a:lnTo>
                  <a:lnTo>
                    <a:pt x="680" y="2509"/>
                  </a:lnTo>
                  <a:lnTo>
                    <a:pt x="678" y="2509"/>
                  </a:lnTo>
                  <a:lnTo>
                    <a:pt x="676" y="2509"/>
                  </a:lnTo>
                  <a:lnTo>
                    <a:pt x="678" y="2509"/>
                  </a:lnTo>
                  <a:lnTo>
                    <a:pt x="678" y="2507"/>
                  </a:lnTo>
                  <a:lnTo>
                    <a:pt x="680" y="2507"/>
                  </a:lnTo>
                  <a:lnTo>
                    <a:pt x="680" y="2509"/>
                  </a:lnTo>
                  <a:lnTo>
                    <a:pt x="681" y="2509"/>
                  </a:lnTo>
                  <a:lnTo>
                    <a:pt x="681" y="2507"/>
                  </a:lnTo>
                  <a:lnTo>
                    <a:pt x="681" y="2509"/>
                  </a:lnTo>
                  <a:lnTo>
                    <a:pt x="680" y="2507"/>
                  </a:lnTo>
                  <a:lnTo>
                    <a:pt x="678" y="2507"/>
                  </a:lnTo>
                  <a:lnTo>
                    <a:pt x="676" y="2507"/>
                  </a:lnTo>
                  <a:lnTo>
                    <a:pt x="676" y="2509"/>
                  </a:lnTo>
                  <a:lnTo>
                    <a:pt x="676" y="2507"/>
                  </a:lnTo>
                  <a:lnTo>
                    <a:pt x="678" y="2507"/>
                  </a:lnTo>
                  <a:lnTo>
                    <a:pt x="680" y="2507"/>
                  </a:lnTo>
                  <a:lnTo>
                    <a:pt x="680" y="2505"/>
                  </a:lnTo>
                  <a:lnTo>
                    <a:pt x="681" y="2505"/>
                  </a:lnTo>
                  <a:lnTo>
                    <a:pt x="680" y="2505"/>
                  </a:lnTo>
                  <a:lnTo>
                    <a:pt x="681" y="2505"/>
                  </a:lnTo>
                  <a:lnTo>
                    <a:pt x="681" y="2503"/>
                  </a:lnTo>
                  <a:lnTo>
                    <a:pt x="680" y="2505"/>
                  </a:lnTo>
                  <a:lnTo>
                    <a:pt x="678" y="2507"/>
                  </a:lnTo>
                  <a:lnTo>
                    <a:pt x="676" y="2505"/>
                  </a:lnTo>
                  <a:lnTo>
                    <a:pt x="678" y="2505"/>
                  </a:lnTo>
                  <a:lnTo>
                    <a:pt x="678" y="2503"/>
                  </a:lnTo>
                  <a:lnTo>
                    <a:pt x="678" y="2501"/>
                  </a:lnTo>
                  <a:lnTo>
                    <a:pt x="678" y="2503"/>
                  </a:lnTo>
                  <a:lnTo>
                    <a:pt x="676" y="2503"/>
                  </a:lnTo>
                  <a:lnTo>
                    <a:pt x="676" y="2505"/>
                  </a:lnTo>
                  <a:lnTo>
                    <a:pt x="674" y="2505"/>
                  </a:lnTo>
                  <a:lnTo>
                    <a:pt x="676" y="2503"/>
                  </a:lnTo>
                  <a:lnTo>
                    <a:pt x="674" y="2505"/>
                  </a:lnTo>
                  <a:lnTo>
                    <a:pt x="674" y="2503"/>
                  </a:lnTo>
                  <a:lnTo>
                    <a:pt x="672" y="2503"/>
                  </a:lnTo>
                  <a:lnTo>
                    <a:pt x="672" y="2505"/>
                  </a:lnTo>
                  <a:lnTo>
                    <a:pt x="672" y="2503"/>
                  </a:lnTo>
                  <a:lnTo>
                    <a:pt x="674" y="2501"/>
                  </a:lnTo>
                  <a:lnTo>
                    <a:pt x="672" y="2501"/>
                  </a:lnTo>
                  <a:lnTo>
                    <a:pt x="672" y="2503"/>
                  </a:lnTo>
                  <a:lnTo>
                    <a:pt x="672" y="2505"/>
                  </a:lnTo>
                  <a:lnTo>
                    <a:pt x="670" y="2505"/>
                  </a:lnTo>
                  <a:lnTo>
                    <a:pt x="668" y="2505"/>
                  </a:lnTo>
                  <a:lnTo>
                    <a:pt x="670" y="2505"/>
                  </a:lnTo>
                  <a:lnTo>
                    <a:pt x="668" y="2503"/>
                  </a:lnTo>
                  <a:lnTo>
                    <a:pt x="670" y="2503"/>
                  </a:lnTo>
                  <a:lnTo>
                    <a:pt x="670" y="2501"/>
                  </a:lnTo>
                  <a:lnTo>
                    <a:pt x="672" y="2501"/>
                  </a:lnTo>
                  <a:lnTo>
                    <a:pt x="674" y="2501"/>
                  </a:lnTo>
                  <a:lnTo>
                    <a:pt x="674" y="2499"/>
                  </a:lnTo>
                  <a:lnTo>
                    <a:pt x="674" y="2501"/>
                  </a:lnTo>
                  <a:lnTo>
                    <a:pt x="672" y="2501"/>
                  </a:lnTo>
                  <a:lnTo>
                    <a:pt x="670" y="2501"/>
                  </a:lnTo>
                  <a:lnTo>
                    <a:pt x="670" y="2503"/>
                  </a:lnTo>
                  <a:lnTo>
                    <a:pt x="668" y="2503"/>
                  </a:lnTo>
                  <a:lnTo>
                    <a:pt x="670" y="2501"/>
                  </a:lnTo>
                  <a:lnTo>
                    <a:pt x="668" y="2503"/>
                  </a:lnTo>
                  <a:lnTo>
                    <a:pt x="666" y="2503"/>
                  </a:lnTo>
                  <a:lnTo>
                    <a:pt x="666" y="2501"/>
                  </a:lnTo>
                  <a:lnTo>
                    <a:pt x="668" y="2501"/>
                  </a:lnTo>
                  <a:lnTo>
                    <a:pt x="670" y="2501"/>
                  </a:lnTo>
                  <a:lnTo>
                    <a:pt x="670" y="2499"/>
                  </a:lnTo>
                  <a:lnTo>
                    <a:pt x="672" y="2499"/>
                  </a:lnTo>
                  <a:lnTo>
                    <a:pt x="670" y="2499"/>
                  </a:lnTo>
                  <a:lnTo>
                    <a:pt x="668" y="2499"/>
                  </a:lnTo>
                  <a:lnTo>
                    <a:pt x="668" y="2501"/>
                  </a:lnTo>
                  <a:lnTo>
                    <a:pt x="668" y="2499"/>
                  </a:lnTo>
                  <a:lnTo>
                    <a:pt x="666" y="2499"/>
                  </a:lnTo>
                  <a:lnTo>
                    <a:pt x="666" y="2497"/>
                  </a:lnTo>
                  <a:lnTo>
                    <a:pt x="666" y="2499"/>
                  </a:lnTo>
                  <a:lnTo>
                    <a:pt x="664" y="2501"/>
                  </a:lnTo>
                  <a:lnTo>
                    <a:pt x="664" y="2499"/>
                  </a:lnTo>
                  <a:lnTo>
                    <a:pt x="664" y="2497"/>
                  </a:lnTo>
                  <a:lnTo>
                    <a:pt x="666" y="2497"/>
                  </a:lnTo>
                  <a:lnTo>
                    <a:pt x="666" y="2495"/>
                  </a:lnTo>
                  <a:lnTo>
                    <a:pt x="668" y="2495"/>
                  </a:lnTo>
                  <a:lnTo>
                    <a:pt x="670" y="2495"/>
                  </a:lnTo>
                  <a:lnTo>
                    <a:pt x="670" y="2494"/>
                  </a:lnTo>
                  <a:lnTo>
                    <a:pt x="672" y="2494"/>
                  </a:lnTo>
                  <a:lnTo>
                    <a:pt x="670" y="2495"/>
                  </a:lnTo>
                  <a:lnTo>
                    <a:pt x="670" y="2497"/>
                  </a:lnTo>
                  <a:lnTo>
                    <a:pt x="670" y="2495"/>
                  </a:lnTo>
                  <a:lnTo>
                    <a:pt x="672" y="2495"/>
                  </a:lnTo>
                  <a:lnTo>
                    <a:pt x="672" y="2494"/>
                  </a:lnTo>
                  <a:lnTo>
                    <a:pt x="674" y="2494"/>
                  </a:lnTo>
                  <a:lnTo>
                    <a:pt x="676" y="2494"/>
                  </a:lnTo>
                  <a:lnTo>
                    <a:pt x="676" y="2495"/>
                  </a:lnTo>
                  <a:lnTo>
                    <a:pt x="676" y="2494"/>
                  </a:lnTo>
                  <a:lnTo>
                    <a:pt x="674" y="2494"/>
                  </a:lnTo>
                  <a:lnTo>
                    <a:pt x="676" y="2494"/>
                  </a:lnTo>
                  <a:close/>
                  <a:moveTo>
                    <a:pt x="15" y="2434"/>
                  </a:moveTo>
                  <a:lnTo>
                    <a:pt x="19" y="2434"/>
                  </a:lnTo>
                  <a:lnTo>
                    <a:pt x="17" y="2438"/>
                  </a:lnTo>
                  <a:lnTo>
                    <a:pt x="15" y="2438"/>
                  </a:lnTo>
                  <a:lnTo>
                    <a:pt x="15" y="2434"/>
                  </a:lnTo>
                  <a:close/>
                  <a:moveTo>
                    <a:pt x="15" y="2430"/>
                  </a:moveTo>
                  <a:lnTo>
                    <a:pt x="15" y="2432"/>
                  </a:lnTo>
                  <a:lnTo>
                    <a:pt x="14" y="2432"/>
                  </a:lnTo>
                  <a:lnTo>
                    <a:pt x="15" y="2430"/>
                  </a:lnTo>
                  <a:close/>
                  <a:moveTo>
                    <a:pt x="499" y="2480"/>
                  </a:moveTo>
                  <a:lnTo>
                    <a:pt x="497" y="2480"/>
                  </a:lnTo>
                  <a:lnTo>
                    <a:pt x="499" y="2480"/>
                  </a:lnTo>
                  <a:lnTo>
                    <a:pt x="501" y="2478"/>
                  </a:lnTo>
                  <a:lnTo>
                    <a:pt x="503" y="2478"/>
                  </a:lnTo>
                  <a:lnTo>
                    <a:pt x="505" y="2478"/>
                  </a:lnTo>
                  <a:lnTo>
                    <a:pt x="507" y="2476"/>
                  </a:lnTo>
                  <a:lnTo>
                    <a:pt x="509" y="2474"/>
                  </a:lnTo>
                  <a:lnTo>
                    <a:pt x="511" y="2474"/>
                  </a:lnTo>
                  <a:lnTo>
                    <a:pt x="513" y="2472"/>
                  </a:lnTo>
                  <a:lnTo>
                    <a:pt x="515" y="2472"/>
                  </a:lnTo>
                  <a:lnTo>
                    <a:pt x="513" y="2474"/>
                  </a:lnTo>
                  <a:lnTo>
                    <a:pt x="509" y="2476"/>
                  </a:lnTo>
                  <a:lnTo>
                    <a:pt x="507" y="2476"/>
                  </a:lnTo>
                  <a:lnTo>
                    <a:pt x="505" y="2478"/>
                  </a:lnTo>
                  <a:lnTo>
                    <a:pt x="503" y="2478"/>
                  </a:lnTo>
                  <a:lnTo>
                    <a:pt x="501" y="2478"/>
                  </a:lnTo>
                  <a:lnTo>
                    <a:pt x="501" y="2480"/>
                  </a:lnTo>
                  <a:lnTo>
                    <a:pt x="499" y="2480"/>
                  </a:lnTo>
                  <a:close/>
                  <a:moveTo>
                    <a:pt x="710" y="2490"/>
                  </a:moveTo>
                  <a:lnTo>
                    <a:pt x="712" y="2490"/>
                  </a:lnTo>
                  <a:lnTo>
                    <a:pt x="710" y="2490"/>
                  </a:lnTo>
                  <a:lnTo>
                    <a:pt x="712" y="2490"/>
                  </a:lnTo>
                  <a:lnTo>
                    <a:pt x="710" y="2490"/>
                  </a:lnTo>
                  <a:lnTo>
                    <a:pt x="712" y="2490"/>
                  </a:lnTo>
                  <a:lnTo>
                    <a:pt x="714" y="2490"/>
                  </a:lnTo>
                  <a:lnTo>
                    <a:pt x="716" y="2490"/>
                  </a:lnTo>
                  <a:lnTo>
                    <a:pt x="716" y="2492"/>
                  </a:lnTo>
                  <a:lnTo>
                    <a:pt x="716" y="2494"/>
                  </a:lnTo>
                  <a:lnTo>
                    <a:pt x="716" y="2495"/>
                  </a:lnTo>
                  <a:lnTo>
                    <a:pt x="714" y="2495"/>
                  </a:lnTo>
                  <a:lnTo>
                    <a:pt x="714" y="2494"/>
                  </a:lnTo>
                  <a:lnTo>
                    <a:pt x="714" y="2495"/>
                  </a:lnTo>
                  <a:lnTo>
                    <a:pt x="716" y="2495"/>
                  </a:lnTo>
                  <a:lnTo>
                    <a:pt x="716" y="2497"/>
                  </a:lnTo>
                  <a:lnTo>
                    <a:pt x="716" y="2499"/>
                  </a:lnTo>
                  <a:lnTo>
                    <a:pt x="714" y="2499"/>
                  </a:lnTo>
                  <a:lnTo>
                    <a:pt x="712" y="2499"/>
                  </a:lnTo>
                  <a:lnTo>
                    <a:pt x="714" y="2499"/>
                  </a:lnTo>
                  <a:lnTo>
                    <a:pt x="716" y="2499"/>
                  </a:lnTo>
                  <a:lnTo>
                    <a:pt x="716" y="2501"/>
                  </a:lnTo>
                  <a:lnTo>
                    <a:pt x="714" y="2501"/>
                  </a:lnTo>
                  <a:lnTo>
                    <a:pt x="712" y="2501"/>
                  </a:lnTo>
                  <a:lnTo>
                    <a:pt x="714" y="2501"/>
                  </a:lnTo>
                  <a:lnTo>
                    <a:pt x="716" y="2501"/>
                  </a:lnTo>
                  <a:lnTo>
                    <a:pt x="714" y="2503"/>
                  </a:lnTo>
                  <a:lnTo>
                    <a:pt x="712" y="2503"/>
                  </a:lnTo>
                  <a:lnTo>
                    <a:pt x="710" y="2505"/>
                  </a:lnTo>
                  <a:lnTo>
                    <a:pt x="708" y="2503"/>
                  </a:lnTo>
                  <a:lnTo>
                    <a:pt x="710" y="2505"/>
                  </a:lnTo>
                  <a:lnTo>
                    <a:pt x="712" y="2505"/>
                  </a:lnTo>
                  <a:lnTo>
                    <a:pt x="710" y="2505"/>
                  </a:lnTo>
                  <a:lnTo>
                    <a:pt x="712" y="2505"/>
                  </a:lnTo>
                  <a:lnTo>
                    <a:pt x="712" y="2503"/>
                  </a:lnTo>
                  <a:lnTo>
                    <a:pt x="714" y="2503"/>
                  </a:lnTo>
                  <a:lnTo>
                    <a:pt x="716" y="2501"/>
                  </a:lnTo>
                  <a:lnTo>
                    <a:pt x="716" y="2503"/>
                  </a:lnTo>
                  <a:lnTo>
                    <a:pt x="714" y="2505"/>
                  </a:lnTo>
                  <a:lnTo>
                    <a:pt x="712" y="2505"/>
                  </a:lnTo>
                  <a:lnTo>
                    <a:pt x="714" y="2505"/>
                  </a:lnTo>
                  <a:lnTo>
                    <a:pt x="714" y="2507"/>
                  </a:lnTo>
                  <a:lnTo>
                    <a:pt x="712" y="2509"/>
                  </a:lnTo>
                  <a:lnTo>
                    <a:pt x="712" y="2511"/>
                  </a:lnTo>
                  <a:lnTo>
                    <a:pt x="714" y="2511"/>
                  </a:lnTo>
                  <a:lnTo>
                    <a:pt x="716" y="2511"/>
                  </a:lnTo>
                  <a:lnTo>
                    <a:pt x="716" y="2513"/>
                  </a:lnTo>
                  <a:lnTo>
                    <a:pt x="714" y="2513"/>
                  </a:lnTo>
                  <a:lnTo>
                    <a:pt x="712" y="2513"/>
                  </a:lnTo>
                  <a:lnTo>
                    <a:pt x="710" y="2513"/>
                  </a:lnTo>
                  <a:lnTo>
                    <a:pt x="712" y="2513"/>
                  </a:lnTo>
                  <a:lnTo>
                    <a:pt x="710" y="2513"/>
                  </a:lnTo>
                  <a:lnTo>
                    <a:pt x="708" y="2513"/>
                  </a:lnTo>
                  <a:lnTo>
                    <a:pt x="710" y="2513"/>
                  </a:lnTo>
                  <a:lnTo>
                    <a:pt x="710" y="2511"/>
                  </a:lnTo>
                  <a:lnTo>
                    <a:pt x="710" y="2513"/>
                  </a:lnTo>
                  <a:lnTo>
                    <a:pt x="708" y="2513"/>
                  </a:lnTo>
                  <a:lnTo>
                    <a:pt x="708" y="2511"/>
                  </a:lnTo>
                  <a:lnTo>
                    <a:pt x="708" y="2513"/>
                  </a:lnTo>
                  <a:lnTo>
                    <a:pt x="706" y="2511"/>
                  </a:lnTo>
                  <a:lnTo>
                    <a:pt x="706" y="2509"/>
                  </a:lnTo>
                  <a:lnTo>
                    <a:pt x="706" y="2511"/>
                  </a:lnTo>
                  <a:lnTo>
                    <a:pt x="706" y="2509"/>
                  </a:lnTo>
                  <a:lnTo>
                    <a:pt x="706" y="2511"/>
                  </a:lnTo>
                  <a:lnTo>
                    <a:pt x="705" y="2511"/>
                  </a:lnTo>
                  <a:lnTo>
                    <a:pt x="705" y="2509"/>
                  </a:lnTo>
                  <a:lnTo>
                    <a:pt x="703" y="2509"/>
                  </a:lnTo>
                  <a:lnTo>
                    <a:pt x="703" y="2507"/>
                  </a:lnTo>
                  <a:lnTo>
                    <a:pt x="705" y="2505"/>
                  </a:lnTo>
                  <a:lnTo>
                    <a:pt x="703" y="2507"/>
                  </a:lnTo>
                  <a:lnTo>
                    <a:pt x="703" y="2505"/>
                  </a:lnTo>
                  <a:lnTo>
                    <a:pt x="701" y="2505"/>
                  </a:lnTo>
                  <a:lnTo>
                    <a:pt x="703" y="2505"/>
                  </a:lnTo>
                  <a:lnTo>
                    <a:pt x="701" y="2505"/>
                  </a:lnTo>
                  <a:lnTo>
                    <a:pt x="701" y="2503"/>
                  </a:lnTo>
                  <a:lnTo>
                    <a:pt x="699" y="2503"/>
                  </a:lnTo>
                  <a:lnTo>
                    <a:pt x="699" y="2501"/>
                  </a:lnTo>
                  <a:lnTo>
                    <a:pt x="701" y="2501"/>
                  </a:lnTo>
                  <a:lnTo>
                    <a:pt x="701" y="2503"/>
                  </a:lnTo>
                  <a:lnTo>
                    <a:pt x="701" y="2501"/>
                  </a:lnTo>
                  <a:lnTo>
                    <a:pt x="703" y="2501"/>
                  </a:lnTo>
                  <a:lnTo>
                    <a:pt x="705" y="2501"/>
                  </a:lnTo>
                  <a:lnTo>
                    <a:pt x="706" y="2501"/>
                  </a:lnTo>
                  <a:lnTo>
                    <a:pt x="706" y="2499"/>
                  </a:lnTo>
                  <a:lnTo>
                    <a:pt x="706" y="2501"/>
                  </a:lnTo>
                  <a:lnTo>
                    <a:pt x="706" y="2499"/>
                  </a:lnTo>
                  <a:lnTo>
                    <a:pt x="705" y="2501"/>
                  </a:lnTo>
                  <a:lnTo>
                    <a:pt x="703" y="2501"/>
                  </a:lnTo>
                  <a:lnTo>
                    <a:pt x="703" y="2499"/>
                  </a:lnTo>
                  <a:lnTo>
                    <a:pt x="699" y="2499"/>
                  </a:lnTo>
                  <a:lnTo>
                    <a:pt x="699" y="2497"/>
                  </a:lnTo>
                  <a:lnTo>
                    <a:pt x="697" y="2497"/>
                  </a:lnTo>
                  <a:lnTo>
                    <a:pt x="697" y="2495"/>
                  </a:lnTo>
                  <a:lnTo>
                    <a:pt x="699" y="2495"/>
                  </a:lnTo>
                  <a:lnTo>
                    <a:pt x="699" y="2494"/>
                  </a:lnTo>
                  <a:lnTo>
                    <a:pt x="699" y="2495"/>
                  </a:lnTo>
                  <a:lnTo>
                    <a:pt x="699" y="2494"/>
                  </a:lnTo>
                  <a:lnTo>
                    <a:pt x="699" y="2492"/>
                  </a:lnTo>
                  <a:lnTo>
                    <a:pt x="699" y="2490"/>
                  </a:lnTo>
                  <a:lnTo>
                    <a:pt x="701" y="2492"/>
                  </a:lnTo>
                  <a:lnTo>
                    <a:pt x="699" y="2492"/>
                  </a:lnTo>
                  <a:lnTo>
                    <a:pt x="701" y="2492"/>
                  </a:lnTo>
                  <a:lnTo>
                    <a:pt x="701" y="2490"/>
                  </a:lnTo>
                  <a:lnTo>
                    <a:pt x="703" y="2490"/>
                  </a:lnTo>
                  <a:lnTo>
                    <a:pt x="703" y="2492"/>
                  </a:lnTo>
                  <a:lnTo>
                    <a:pt x="701" y="2492"/>
                  </a:lnTo>
                  <a:lnTo>
                    <a:pt x="703" y="2492"/>
                  </a:lnTo>
                  <a:lnTo>
                    <a:pt x="705" y="2492"/>
                  </a:lnTo>
                  <a:lnTo>
                    <a:pt x="705" y="2490"/>
                  </a:lnTo>
                  <a:lnTo>
                    <a:pt x="705" y="2492"/>
                  </a:lnTo>
                  <a:lnTo>
                    <a:pt x="705" y="2494"/>
                  </a:lnTo>
                  <a:lnTo>
                    <a:pt x="706" y="2494"/>
                  </a:lnTo>
                  <a:lnTo>
                    <a:pt x="705" y="2494"/>
                  </a:lnTo>
                  <a:lnTo>
                    <a:pt x="705" y="2495"/>
                  </a:lnTo>
                  <a:lnTo>
                    <a:pt x="705" y="2494"/>
                  </a:lnTo>
                  <a:lnTo>
                    <a:pt x="706" y="2494"/>
                  </a:lnTo>
                  <a:lnTo>
                    <a:pt x="705" y="2494"/>
                  </a:lnTo>
                  <a:lnTo>
                    <a:pt x="705" y="2492"/>
                  </a:lnTo>
                  <a:lnTo>
                    <a:pt x="706" y="2492"/>
                  </a:lnTo>
                  <a:lnTo>
                    <a:pt x="705" y="2492"/>
                  </a:lnTo>
                  <a:lnTo>
                    <a:pt x="705" y="2490"/>
                  </a:lnTo>
                  <a:lnTo>
                    <a:pt x="706" y="2490"/>
                  </a:lnTo>
                  <a:lnTo>
                    <a:pt x="706" y="2492"/>
                  </a:lnTo>
                  <a:lnTo>
                    <a:pt x="708" y="2492"/>
                  </a:lnTo>
                  <a:lnTo>
                    <a:pt x="708" y="2494"/>
                  </a:lnTo>
                  <a:lnTo>
                    <a:pt x="708" y="2495"/>
                  </a:lnTo>
                  <a:lnTo>
                    <a:pt x="708" y="2497"/>
                  </a:lnTo>
                  <a:lnTo>
                    <a:pt x="706" y="2497"/>
                  </a:lnTo>
                  <a:lnTo>
                    <a:pt x="708" y="2497"/>
                  </a:lnTo>
                  <a:lnTo>
                    <a:pt x="708" y="2495"/>
                  </a:lnTo>
                  <a:lnTo>
                    <a:pt x="708" y="2494"/>
                  </a:lnTo>
                  <a:lnTo>
                    <a:pt x="708" y="2492"/>
                  </a:lnTo>
                  <a:lnTo>
                    <a:pt x="708" y="2494"/>
                  </a:lnTo>
                  <a:lnTo>
                    <a:pt x="708" y="2495"/>
                  </a:lnTo>
                  <a:lnTo>
                    <a:pt x="710" y="2495"/>
                  </a:lnTo>
                  <a:lnTo>
                    <a:pt x="710" y="2494"/>
                  </a:lnTo>
                  <a:lnTo>
                    <a:pt x="710" y="2492"/>
                  </a:lnTo>
                  <a:lnTo>
                    <a:pt x="708" y="2492"/>
                  </a:lnTo>
                  <a:lnTo>
                    <a:pt x="708" y="2490"/>
                  </a:lnTo>
                  <a:lnTo>
                    <a:pt x="710" y="2490"/>
                  </a:lnTo>
                  <a:lnTo>
                    <a:pt x="708" y="2490"/>
                  </a:lnTo>
                  <a:lnTo>
                    <a:pt x="708" y="2488"/>
                  </a:lnTo>
                  <a:lnTo>
                    <a:pt x="708" y="2490"/>
                  </a:lnTo>
                  <a:lnTo>
                    <a:pt x="708" y="2488"/>
                  </a:lnTo>
                  <a:lnTo>
                    <a:pt x="710" y="2488"/>
                  </a:lnTo>
                  <a:lnTo>
                    <a:pt x="710" y="2490"/>
                  </a:lnTo>
                  <a:close/>
                  <a:moveTo>
                    <a:pt x="718" y="2488"/>
                  </a:moveTo>
                  <a:lnTo>
                    <a:pt x="716" y="2488"/>
                  </a:lnTo>
                  <a:lnTo>
                    <a:pt x="718" y="2488"/>
                  </a:lnTo>
                  <a:lnTo>
                    <a:pt x="718" y="2490"/>
                  </a:lnTo>
                  <a:lnTo>
                    <a:pt x="716" y="2490"/>
                  </a:lnTo>
                  <a:lnTo>
                    <a:pt x="714" y="2490"/>
                  </a:lnTo>
                  <a:lnTo>
                    <a:pt x="712" y="2490"/>
                  </a:lnTo>
                  <a:lnTo>
                    <a:pt x="710" y="2488"/>
                  </a:lnTo>
                  <a:lnTo>
                    <a:pt x="712" y="2488"/>
                  </a:lnTo>
                  <a:lnTo>
                    <a:pt x="714" y="2486"/>
                  </a:lnTo>
                  <a:lnTo>
                    <a:pt x="714" y="2488"/>
                  </a:lnTo>
                  <a:lnTo>
                    <a:pt x="714" y="2486"/>
                  </a:lnTo>
                  <a:lnTo>
                    <a:pt x="716" y="2486"/>
                  </a:lnTo>
                  <a:lnTo>
                    <a:pt x="718" y="2486"/>
                  </a:lnTo>
                  <a:lnTo>
                    <a:pt x="718" y="2488"/>
                  </a:lnTo>
                  <a:close/>
                  <a:moveTo>
                    <a:pt x="756" y="2503"/>
                  </a:moveTo>
                  <a:lnTo>
                    <a:pt x="756" y="2501"/>
                  </a:lnTo>
                  <a:lnTo>
                    <a:pt x="756" y="2499"/>
                  </a:lnTo>
                  <a:lnTo>
                    <a:pt x="754" y="2499"/>
                  </a:lnTo>
                  <a:lnTo>
                    <a:pt x="754" y="2497"/>
                  </a:lnTo>
                  <a:lnTo>
                    <a:pt x="754" y="2495"/>
                  </a:lnTo>
                  <a:lnTo>
                    <a:pt x="754" y="2494"/>
                  </a:lnTo>
                  <a:lnTo>
                    <a:pt x="754" y="2492"/>
                  </a:lnTo>
                  <a:lnTo>
                    <a:pt x="753" y="2492"/>
                  </a:lnTo>
                  <a:lnTo>
                    <a:pt x="753" y="2490"/>
                  </a:lnTo>
                  <a:lnTo>
                    <a:pt x="753" y="2488"/>
                  </a:lnTo>
                  <a:lnTo>
                    <a:pt x="753" y="2486"/>
                  </a:lnTo>
                  <a:lnTo>
                    <a:pt x="753" y="2484"/>
                  </a:lnTo>
                  <a:lnTo>
                    <a:pt x="753" y="2486"/>
                  </a:lnTo>
                  <a:lnTo>
                    <a:pt x="753" y="2488"/>
                  </a:lnTo>
                  <a:lnTo>
                    <a:pt x="753" y="2490"/>
                  </a:lnTo>
                  <a:lnTo>
                    <a:pt x="753" y="2492"/>
                  </a:lnTo>
                  <a:lnTo>
                    <a:pt x="754" y="2492"/>
                  </a:lnTo>
                  <a:lnTo>
                    <a:pt x="754" y="2494"/>
                  </a:lnTo>
                  <a:lnTo>
                    <a:pt x="754" y="2495"/>
                  </a:lnTo>
                  <a:lnTo>
                    <a:pt x="754" y="2497"/>
                  </a:lnTo>
                  <a:lnTo>
                    <a:pt x="754" y="2499"/>
                  </a:lnTo>
                  <a:lnTo>
                    <a:pt x="756" y="2499"/>
                  </a:lnTo>
                  <a:lnTo>
                    <a:pt x="756" y="2501"/>
                  </a:lnTo>
                  <a:lnTo>
                    <a:pt x="756" y="2503"/>
                  </a:lnTo>
                  <a:close/>
                  <a:moveTo>
                    <a:pt x="630" y="2459"/>
                  </a:moveTo>
                  <a:lnTo>
                    <a:pt x="634" y="2459"/>
                  </a:lnTo>
                  <a:lnTo>
                    <a:pt x="634" y="2461"/>
                  </a:lnTo>
                  <a:lnTo>
                    <a:pt x="635" y="2461"/>
                  </a:lnTo>
                  <a:lnTo>
                    <a:pt x="637" y="2461"/>
                  </a:lnTo>
                  <a:lnTo>
                    <a:pt x="637" y="2463"/>
                  </a:lnTo>
                  <a:lnTo>
                    <a:pt x="639" y="2463"/>
                  </a:lnTo>
                  <a:lnTo>
                    <a:pt x="641" y="2465"/>
                  </a:lnTo>
                  <a:lnTo>
                    <a:pt x="643" y="2465"/>
                  </a:lnTo>
                  <a:lnTo>
                    <a:pt x="643" y="2467"/>
                  </a:lnTo>
                  <a:lnTo>
                    <a:pt x="645" y="2469"/>
                  </a:lnTo>
                  <a:lnTo>
                    <a:pt x="645" y="2471"/>
                  </a:lnTo>
                  <a:lnTo>
                    <a:pt x="643" y="2471"/>
                  </a:lnTo>
                  <a:lnTo>
                    <a:pt x="643" y="2469"/>
                  </a:lnTo>
                  <a:lnTo>
                    <a:pt x="641" y="2469"/>
                  </a:lnTo>
                  <a:lnTo>
                    <a:pt x="641" y="2467"/>
                  </a:lnTo>
                  <a:lnTo>
                    <a:pt x="639" y="2467"/>
                  </a:lnTo>
                  <a:lnTo>
                    <a:pt x="637" y="2467"/>
                  </a:lnTo>
                  <a:lnTo>
                    <a:pt x="637" y="2465"/>
                  </a:lnTo>
                  <a:lnTo>
                    <a:pt x="634" y="2465"/>
                  </a:lnTo>
                  <a:lnTo>
                    <a:pt x="632" y="2465"/>
                  </a:lnTo>
                  <a:lnTo>
                    <a:pt x="632" y="2463"/>
                  </a:lnTo>
                  <a:lnTo>
                    <a:pt x="630" y="2463"/>
                  </a:lnTo>
                  <a:lnTo>
                    <a:pt x="628" y="2463"/>
                  </a:lnTo>
                  <a:lnTo>
                    <a:pt x="626" y="2463"/>
                  </a:lnTo>
                  <a:lnTo>
                    <a:pt x="626" y="2461"/>
                  </a:lnTo>
                  <a:lnTo>
                    <a:pt x="628" y="2459"/>
                  </a:lnTo>
                  <a:lnTo>
                    <a:pt x="630" y="2459"/>
                  </a:lnTo>
                  <a:close/>
                  <a:moveTo>
                    <a:pt x="238" y="2421"/>
                  </a:moveTo>
                  <a:lnTo>
                    <a:pt x="240" y="2421"/>
                  </a:lnTo>
                  <a:lnTo>
                    <a:pt x="240" y="2423"/>
                  </a:lnTo>
                  <a:lnTo>
                    <a:pt x="238" y="2421"/>
                  </a:lnTo>
                  <a:lnTo>
                    <a:pt x="236" y="2419"/>
                  </a:lnTo>
                  <a:lnTo>
                    <a:pt x="236" y="2417"/>
                  </a:lnTo>
                  <a:lnTo>
                    <a:pt x="238" y="2417"/>
                  </a:lnTo>
                  <a:lnTo>
                    <a:pt x="238" y="2419"/>
                  </a:lnTo>
                  <a:lnTo>
                    <a:pt x="238" y="2421"/>
                  </a:lnTo>
                  <a:close/>
                  <a:moveTo>
                    <a:pt x="541" y="2432"/>
                  </a:moveTo>
                  <a:lnTo>
                    <a:pt x="543" y="2430"/>
                  </a:lnTo>
                  <a:lnTo>
                    <a:pt x="543" y="2428"/>
                  </a:lnTo>
                  <a:lnTo>
                    <a:pt x="545" y="2428"/>
                  </a:lnTo>
                  <a:lnTo>
                    <a:pt x="545" y="2426"/>
                  </a:lnTo>
                  <a:lnTo>
                    <a:pt x="543" y="2430"/>
                  </a:lnTo>
                  <a:lnTo>
                    <a:pt x="541" y="2432"/>
                  </a:lnTo>
                  <a:close/>
                  <a:moveTo>
                    <a:pt x="564" y="2426"/>
                  </a:moveTo>
                  <a:lnTo>
                    <a:pt x="564" y="2428"/>
                  </a:lnTo>
                  <a:lnTo>
                    <a:pt x="564" y="2430"/>
                  </a:lnTo>
                  <a:lnTo>
                    <a:pt x="566" y="2430"/>
                  </a:lnTo>
                  <a:lnTo>
                    <a:pt x="566" y="2426"/>
                  </a:lnTo>
                  <a:lnTo>
                    <a:pt x="566" y="2430"/>
                  </a:lnTo>
                  <a:lnTo>
                    <a:pt x="568" y="2430"/>
                  </a:lnTo>
                  <a:lnTo>
                    <a:pt x="568" y="2428"/>
                  </a:lnTo>
                  <a:lnTo>
                    <a:pt x="568" y="2430"/>
                  </a:lnTo>
                  <a:lnTo>
                    <a:pt x="570" y="2432"/>
                  </a:lnTo>
                  <a:lnTo>
                    <a:pt x="570" y="2430"/>
                  </a:lnTo>
                  <a:lnTo>
                    <a:pt x="570" y="2432"/>
                  </a:lnTo>
                  <a:lnTo>
                    <a:pt x="572" y="2432"/>
                  </a:lnTo>
                  <a:lnTo>
                    <a:pt x="572" y="2430"/>
                  </a:lnTo>
                  <a:lnTo>
                    <a:pt x="572" y="2432"/>
                  </a:lnTo>
                  <a:lnTo>
                    <a:pt x="574" y="2432"/>
                  </a:lnTo>
                  <a:lnTo>
                    <a:pt x="576" y="2430"/>
                  </a:lnTo>
                  <a:lnTo>
                    <a:pt x="574" y="2432"/>
                  </a:lnTo>
                  <a:lnTo>
                    <a:pt x="578" y="2434"/>
                  </a:lnTo>
                  <a:lnTo>
                    <a:pt x="580" y="2434"/>
                  </a:lnTo>
                  <a:lnTo>
                    <a:pt x="580" y="2430"/>
                  </a:lnTo>
                  <a:lnTo>
                    <a:pt x="580" y="2434"/>
                  </a:lnTo>
                  <a:lnTo>
                    <a:pt x="582" y="2434"/>
                  </a:lnTo>
                  <a:lnTo>
                    <a:pt x="584" y="2436"/>
                  </a:lnTo>
                  <a:lnTo>
                    <a:pt x="586" y="2432"/>
                  </a:lnTo>
                  <a:lnTo>
                    <a:pt x="584" y="2436"/>
                  </a:lnTo>
                  <a:lnTo>
                    <a:pt x="586" y="2436"/>
                  </a:lnTo>
                  <a:lnTo>
                    <a:pt x="587" y="2436"/>
                  </a:lnTo>
                  <a:lnTo>
                    <a:pt x="586" y="2436"/>
                  </a:lnTo>
                  <a:lnTo>
                    <a:pt x="584" y="2438"/>
                  </a:lnTo>
                  <a:lnTo>
                    <a:pt x="586" y="2440"/>
                  </a:lnTo>
                  <a:lnTo>
                    <a:pt x="586" y="2442"/>
                  </a:lnTo>
                  <a:lnTo>
                    <a:pt x="586" y="2440"/>
                  </a:lnTo>
                  <a:lnTo>
                    <a:pt x="586" y="2442"/>
                  </a:lnTo>
                  <a:lnTo>
                    <a:pt x="586" y="2440"/>
                  </a:lnTo>
                  <a:lnTo>
                    <a:pt x="586" y="2442"/>
                  </a:lnTo>
                  <a:lnTo>
                    <a:pt x="589" y="2440"/>
                  </a:lnTo>
                  <a:lnTo>
                    <a:pt x="589" y="2438"/>
                  </a:lnTo>
                  <a:lnTo>
                    <a:pt x="589" y="2436"/>
                  </a:lnTo>
                  <a:lnTo>
                    <a:pt x="589" y="2438"/>
                  </a:lnTo>
                  <a:lnTo>
                    <a:pt x="589" y="2440"/>
                  </a:lnTo>
                  <a:lnTo>
                    <a:pt x="589" y="2442"/>
                  </a:lnTo>
                  <a:lnTo>
                    <a:pt x="591" y="2444"/>
                  </a:lnTo>
                  <a:lnTo>
                    <a:pt x="591" y="2446"/>
                  </a:lnTo>
                  <a:lnTo>
                    <a:pt x="595" y="2447"/>
                  </a:lnTo>
                  <a:lnTo>
                    <a:pt x="597" y="2447"/>
                  </a:lnTo>
                  <a:lnTo>
                    <a:pt x="597" y="2446"/>
                  </a:lnTo>
                  <a:lnTo>
                    <a:pt x="595" y="2447"/>
                  </a:lnTo>
                  <a:lnTo>
                    <a:pt x="597" y="2446"/>
                  </a:lnTo>
                  <a:lnTo>
                    <a:pt x="595" y="2446"/>
                  </a:lnTo>
                  <a:lnTo>
                    <a:pt x="597" y="2446"/>
                  </a:lnTo>
                  <a:lnTo>
                    <a:pt x="597" y="2447"/>
                  </a:lnTo>
                  <a:lnTo>
                    <a:pt x="597" y="2449"/>
                  </a:lnTo>
                  <a:lnTo>
                    <a:pt x="597" y="2451"/>
                  </a:lnTo>
                  <a:lnTo>
                    <a:pt x="597" y="2449"/>
                  </a:lnTo>
                  <a:lnTo>
                    <a:pt x="597" y="2447"/>
                  </a:lnTo>
                  <a:lnTo>
                    <a:pt x="595" y="2447"/>
                  </a:lnTo>
                  <a:lnTo>
                    <a:pt x="595" y="2451"/>
                  </a:lnTo>
                  <a:lnTo>
                    <a:pt x="595" y="2453"/>
                  </a:lnTo>
                  <a:lnTo>
                    <a:pt x="597" y="2453"/>
                  </a:lnTo>
                  <a:lnTo>
                    <a:pt x="595" y="2453"/>
                  </a:lnTo>
                  <a:lnTo>
                    <a:pt x="595" y="2455"/>
                  </a:lnTo>
                  <a:lnTo>
                    <a:pt x="597" y="2455"/>
                  </a:lnTo>
                  <a:lnTo>
                    <a:pt x="595" y="2455"/>
                  </a:lnTo>
                  <a:lnTo>
                    <a:pt x="597" y="2459"/>
                  </a:lnTo>
                  <a:lnTo>
                    <a:pt x="597" y="2461"/>
                  </a:lnTo>
                  <a:lnTo>
                    <a:pt x="599" y="2463"/>
                  </a:lnTo>
                  <a:lnTo>
                    <a:pt x="597" y="2461"/>
                  </a:lnTo>
                  <a:lnTo>
                    <a:pt x="597" y="2463"/>
                  </a:lnTo>
                  <a:lnTo>
                    <a:pt x="597" y="2465"/>
                  </a:lnTo>
                  <a:lnTo>
                    <a:pt x="599" y="2465"/>
                  </a:lnTo>
                  <a:lnTo>
                    <a:pt x="599" y="2463"/>
                  </a:lnTo>
                  <a:lnTo>
                    <a:pt x="599" y="2465"/>
                  </a:lnTo>
                  <a:lnTo>
                    <a:pt x="601" y="2465"/>
                  </a:lnTo>
                  <a:lnTo>
                    <a:pt x="599" y="2465"/>
                  </a:lnTo>
                  <a:lnTo>
                    <a:pt x="599" y="2467"/>
                  </a:lnTo>
                  <a:lnTo>
                    <a:pt x="601" y="2471"/>
                  </a:lnTo>
                  <a:lnTo>
                    <a:pt x="603" y="2472"/>
                  </a:lnTo>
                  <a:lnTo>
                    <a:pt x="603" y="2476"/>
                  </a:lnTo>
                  <a:lnTo>
                    <a:pt x="605" y="2480"/>
                  </a:lnTo>
                  <a:lnTo>
                    <a:pt x="609" y="2484"/>
                  </a:lnTo>
                  <a:lnTo>
                    <a:pt x="609" y="2486"/>
                  </a:lnTo>
                  <a:lnTo>
                    <a:pt x="610" y="2486"/>
                  </a:lnTo>
                  <a:lnTo>
                    <a:pt x="612" y="2488"/>
                  </a:lnTo>
                  <a:lnTo>
                    <a:pt x="618" y="2488"/>
                  </a:lnTo>
                  <a:lnTo>
                    <a:pt x="620" y="2488"/>
                  </a:lnTo>
                  <a:lnTo>
                    <a:pt x="630" y="2490"/>
                  </a:lnTo>
                  <a:lnTo>
                    <a:pt x="639" y="2492"/>
                  </a:lnTo>
                  <a:lnTo>
                    <a:pt x="641" y="2492"/>
                  </a:lnTo>
                  <a:lnTo>
                    <a:pt x="641" y="2494"/>
                  </a:lnTo>
                  <a:lnTo>
                    <a:pt x="643" y="2494"/>
                  </a:lnTo>
                  <a:lnTo>
                    <a:pt x="645" y="2495"/>
                  </a:lnTo>
                  <a:lnTo>
                    <a:pt x="647" y="2495"/>
                  </a:lnTo>
                  <a:lnTo>
                    <a:pt x="647" y="2497"/>
                  </a:lnTo>
                  <a:lnTo>
                    <a:pt x="649" y="2497"/>
                  </a:lnTo>
                  <a:lnTo>
                    <a:pt x="649" y="2499"/>
                  </a:lnTo>
                  <a:lnTo>
                    <a:pt x="649" y="2501"/>
                  </a:lnTo>
                  <a:lnTo>
                    <a:pt x="651" y="2499"/>
                  </a:lnTo>
                  <a:lnTo>
                    <a:pt x="649" y="2499"/>
                  </a:lnTo>
                  <a:lnTo>
                    <a:pt x="651" y="2497"/>
                  </a:lnTo>
                  <a:lnTo>
                    <a:pt x="651" y="2499"/>
                  </a:lnTo>
                  <a:lnTo>
                    <a:pt x="651" y="2501"/>
                  </a:lnTo>
                  <a:lnTo>
                    <a:pt x="653" y="2501"/>
                  </a:lnTo>
                  <a:lnTo>
                    <a:pt x="653" y="2503"/>
                  </a:lnTo>
                  <a:lnTo>
                    <a:pt x="655" y="2503"/>
                  </a:lnTo>
                  <a:lnTo>
                    <a:pt x="657" y="2503"/>
                  </a:lnTo>
                  <a:lnTo>
                    <a:pt x="657" y="2505"/>
                  </a:lnTo>
                  <a:lnTo>
                    <a:pt x="658" y="2505"/>
                  </a:lnTo>
                  <a:lnTo>
                    <a:pt x="660" y="2507"/>
                  </a:lnTo>
                  <a:lnTo>
                    <a:pt x="660" y="2511"/>
                  </a:lnTo>
                  <a:lnTo>
                    <a:pt x="662" y="2511"/>
                  </a:lnTo>
                  <a:lnTo>
                    <a:pt x="662" y="2509"/>
                  </a:lnTo>
                  <a:lnTo>
                    <a:pt x="662" y="2507"/>
                  </a:lnTo>
                  <a:lnTo>
                    <a:pt x="662" y="2509"/>
                  </a:lnTo>
                  <a:lnTo>
                    <a:pt x="664" y="2509"/>
                  </a:lnTo>
                  <a:lnTo>
                    <a:pt x="664" y="2511"/>
                  </a:lnTo>
                  <a:lnTo>
                    <a:pt x="666" y="2511"/>
                  </a:lnTo>
                  <a:lnTo>
                    <a:pt x="664" y="2511"/>
                  </a:lnTo>
                  <a:lnTo>
                    <a:pt x="666" y="2511"/>
                  </a:lnTo>
                  <a:lnTo>
                    <a:pt x="666" y="2513"/>
                  </a:lnTo>
                  <a:lnTo>
                    <a:pt x="664" y="2513"/>
                  </a:lnTo>
                  <a:lnTo>
                    <a:pt x="664" y="2515"/>
                  </a:lnTo>
                  <a:lnTo>
                    <a:pt x="664" y="2513"/>
                  </a:lnTo>
                  <a:lnTo>
                    <a:pt x="666" y="2513"/>
                  </a:lnTo>
                  <a:lnTo>
                    <a:pt x="668" y="2513"/>
                  </a:lnTo>
                  <a:lnTo>
                    <a:pt x="666" y="2513"/>
                  </a:lnTo>
                  <a:lnTo>
                    <a:pt x="666" y="2515"/>
                  </a:lnTo>
                  <a:lnTo>
                    <a:pt x="666" y="2513"/>
                  </a:lnTo>
                  <a:lnTo>
                    <a:pt x="668" y="2515"/>
                  </a:lnTo>
                  <a:lnTo>
                    <a:pt x="666" y="2515"/>
                  </a:lnTo>
                  <a:lnTo>
                    <a:pt x="668" y="2515"/>
                  </a:lnTo>
                  <a:lnTo>
                    <a:pt x="666" y="2515"/>
                  </a:lnTo>
                  <a:lnTo>
                    <a:pt x="666" y="2517"/>
                  </a:lnTo>
                  <a:lnTo>
                    <a:pt x="666" y="2515"/>
                  </a:lnTo>
                  <a:lnTo>
                    <a:pt x="668" y="2515"/>
                  </a:lnTo>
                  <a:lnTo>
                    <a:pt x="668" y="2517"/>
                  </a:lnTo>
                  <a:lnTo>
                    <a:pt x="668" y="2519"/>
                  </a:lnTo>
                  <a:lnTo>
                    <a:pt x="666" y="2519"/>
                  </a:lnTo>
                  <a:lnTo>
                    <a:pt x="668" y="2519"/>
                  </a:lnTo>
                  <a:lnTo>
                    <a:pt x="668" y="2517"/>
                  </a:lnTo>
                  <a:lnTo>
                    <a:pt x="670" y="2517"/>
                  </a:lnTo>
                  <a:lnTo>
                    <a:pt x="670" y="2519"/>
                  </a:lnTo>
                  <a:lnTo>
                    <a:pt x="668" y="2519"/>
                  </a:lnTo>
                  <a:lnTo>
                    <a:pt x="670" y="2519"/>
                  </a:lnTo>
                  <a:lnTo>
                    <a:pt x="672" y="2520"/>
                  </a:lnTo>
                  <a:lnTo>
                    <a:pt x="670" y="2520"/>
                  </a:lnTo>
                  <a:lnTo>
                    <a:pt x="668" y="2522"/>
                  </a:lnTo>
                  <a:lnTo>
                    <a:pt x="670" y="2522"/>
                  </a:lnTo>
                  <a:lnTo>
                    <a:pt x="670" y="2520"/>
                  </a:lnTo>
                  <a:lnTo>
                    <a:pt x="672" y="2520"/>
                  </a:lnTo>
                  <a:lnTo>
                    <a:pt x="674" y="2522"/>
                  </a:lnTo>
                  <a:lnTo>
                    <a:pt x="672" y="2522"/>
                  </a:lnTo>
                  <a:lnTo>
                    <a:pt x="674" y="2522"/>
                  </a:lnTo>
                  <a:lnTo>
                    <a:pt x="674" y="2524"/>
                  </a:lnTo>
                  <a:lnTo>
                    <a:pt x="676" y="2524"/>
                  </a:lnTo>
                  <a:lnTo>
                    <a:pt x="674" y="2524"/>
                  </a:lnTo>
                  <a:lnTo>
                    <a:pt x="674" y="2526"/>
                  </a:lnTo>
                  <a:lnTo>
                    <a:pt x="674" y="2524"/>
                  </a:lnTo>
                  <a:lnTo>
                    <a:pt x="676" y="2524"/>
                  </a:lnTo>
                  <a:lnTo>
                    <a:pt x="676" y="2526"/>
                  </a:lnTo>
                  <a:lnTo>
                    <a:pt x="676" y="2528"/>
                  </a:lnTo>
                  <a:lnTo>
                    <a:pt x="676" y="2530"/>
                  </a:lnTo>
                  <a:lnTo>
                    <a:pt x="678" y="2530"/>
                  </a:lnTo>
                  <a:lnTo>
                    <a:pt x="678" y="2532"/>
                  </a:lnTo>
                  <a:lnTo>
                    <a:pt x="680" y="2532"/>
                  </a:lnTo>
                  <a:lnTo>
                    <a:pt x="680" y="2534"/>
                  </a:lnTo>
                  <a:lnTo>
                    <a:pt x="680" y="2532"/>
                  </a:lnTo>
                  <a:lnTo>
                    <a:pt x="680" y="2534"/>
                  </a:lnTo>
                  <a:lnTo>
                    <a:pt x="681" y="2536"/>
                  </a:lnTo>
                  <a:lnTo>
                    <a:pt x="681" y="2538"/>
                  </a:lnTo>
                  <a:lnTo>
                    <a:pt x="683" y="2538"/>
                  </a:lnTo>
                  <a:lnTo>
                    <a:pt x="685" y="2538"/>
                  </a:lnTo>
                  <a:lnTo>
                    <a:pt x="683" y="2538"/>
                  </a:lnTo>
                  <a:lnTo>
                    <a:pt x="681" y="2536"/>
                  </a:lnTo>
                  <a:lnTo>
                    <a:pt x="683" y="2536"/>
                  </a:lnTo>
                  <a:lnTo>
                    <a:pt x="685" y="2538"/>
                  </a:lnTo>
                  <a:lnTo>
                    <a:pt x="687" y="2538"/>
                  </a:lnTo>
                  <a:lnTo>
                    <a:pt x="687" y="2540"/>
                  </a:lnTo>
                  <a:lnTo>
                    <a:pt x="687" y="2538"/>
                  </a:lnTo>
                  <a:lnTo>
                    <a:pt x="687" y="2540"/>
                  </a:lnTo>
                  <a:lnTo>
                    <a:pt x="687" y="2542"/>
                  </a:lnTo>
                  <a:lnTo>
                    <a:pt x="689" y="2542"/>
                  </a:lnTo>
                  <a:lnTo>
                    <a:pt x="689" y="2544"/>
                  </a:lnTo>
                  <a:lnTo>
                    <a:pt x="691" y="2542"/>
                  </a:lnTo>
                  <a:lnTo>
                    <a:pt x="689" y="2542"/>
                  </a:lnTo>
                  <a:lnTo>
                    <a:pt x="691" y="2542"/>
                  </a:lnTo>
                  <a:lnTo>
                    <a:pt x="691" y="2544"/>
                  </a:lnTo>
                  <a:lnTo>
                    <a:pt x="693" y="2544"/>
                  </a:lnTo>
                  <a:lnTo>
                    <a:pt x="693" y="2545"/>
                  </a:lnTo>
                  <a:lnTo>
                    <a:pt x="695" y="2545"/>
                  </a:lnTo>
                  <a:lnTo>
                    <a:pt x="693" y="2545"/>
                  </a:lnTo>
                  <a:lnTo>
                    <a:pt x="693" y="2544"/>
                  </a:lnTo>
                  <a:lnTo>
                    <a:pt x="691" y="2542"/>
                  </a:lnTo>
                  <a:lnTo>
                    <a:pt x="689" y="2542"/>
                  </a:lnTo>
                  <a:lnTo>
                    <a:pt x="687" y="2542"/>
                  </a:lnTo>
                  <a:lnTo>
                    <a:pt x="687" y="2540"/>
                  </a:lnTo>
                  <a:lnTo>
                    <a:pt x="689" y="2540"/>
                  </a:lnTo>
                  <a:lnTo>
                    <a:pt x="691" y="2540"/>
                  </a:lnTo>
                  <a:lnTo>
                    <a:pt x="693" y="2540"/>
                  </a:lnTo>
                  <a:lnTo>
                    <a:pt x="693" y="2542"/>
                  </a:lnTo>
                  <a:lnTo>
                    <a:pt x="695" y="2542"/>
                  </a:lnTo>
                  <a:lnTo>
                    <a:pt x="697" y="2544"/>
                  </a:lnTo>
                  <a:lnTo>
                    <a:pt x="695" y="2542"/>
                  </a:lnTo>
                  <a:lnTo>
                    <a:pt x="693" y="2542"/>
                  </a:lnTo>
                  <a:lnTo>
                    <a:pt x="693" y="2540"/>
                  </a:lnTo>
                  <a:lnTo>
                    <a:pt x="695" y="2540"/>
                  </a:lnTo>
                  <a:lnTo>
                    <a:pt x="695" y="2542"/>
                  </a:lnTo>
                  <a:lnTo>
                    <a:pt x="697" y="2542"/>
                  </a:lnTo>
                  <a:lnTo>
                    <a:pt x="695" y="2542"/>
                  </a:lnTo>
                  <a:lnTo>
                    <a:pt x="695" y="2540"/>
                  </a:lnTo>
                  <a:lnTo>
                    <a:pt x="693" y="2540"/>
                  </a:lnTo>
                  <a:lnTo>
                    <a:pt x="691" y="2540"/>
                  </a:lnTo>
                  <a:lnTo>
                    <a:pt x="689" y="2540"/>
                  </a:lnTo>
                  <a:lnTo>
                    <a:pt x="689" y="2538"/>
                  </a:lnTo>
                  <a:lnTo>
                    <a:pt x="689" y="2540"/>
                  </a:lnTo>
                  <a:lnTo>
                    <a:pt x="691" y="2540"/>
                  </a:lnTo>
                  <a:lnTo>
                    <a:pt x="693" y="2540"/>
                  </a:lnTo>
                  <a:lnTo>
                    <a:pt x="695" y="2540"/>
                  </a:lnTo>
                  <a:lnTo>
                    <a:pt x="697" y="2540"/>
                  </a:lnTo>
                  <a:lnTo>
                    <a:pt x="699" y="2542"/>
                  </a:lnTo>
                  <a:lnTo>
                    <a:pt x="699" y="2544"/>
                  </a:lnTo>
                  <a:lnTo>
                    <a:pt x="701" y="2544"/>
                  </a:lnTo>
                  <a:lnTo>
                    <a:pt x="701" y="2545"/>
                  </a:lnTo>
                  <a:lnTo>
                    <a:pt x="701" y="2544"/>
                  </a:lnTo>
                  <a:lnTo>
                    <a:pt x="703" y="2544"/>
                  </a:lnTo>
                  <a:lnTo>
                    <a:pt x="703" y="2545"/>
                  </a:lnTo>
                  <a:lnTo>
                    <a:pt x="705" y="2544"/>
                  </a:lnTo>
                  <a:lnTo>
                    <a:pt x="703" y="2544"/>
                  </a:lnTo>
                  <a:lnTo>
                    <a:pt x="701" y="2544"/>
                  </a:lnTo>
                  <a:lnTo>
                    <a:pt x="699" y="2542"/>
                  </a:lnTo>
                  <a:lnTo>
                    <a:pt x="701" y="2542"/>
                  </a:lnTo>
                  <a:lnTo>
                    <a:pt x="701" y="2540"/>
                  </a:lnTo>
                  <a:lnTo>
                    <a:pt x="701" y="2542"/>
                  </a:lnTo>
                  <a:lnTo>
                    <a:pt x="703" y="2542"/>
                  </a:lnTo>
                  <a:lnTo>
                    <a:pt x="703" y="2540"/>
                  </a:lnTo>
                  <a:lnTo>
                    <a:pt x="701" y="2540"/>
                  </a:lnTo>
                  <a:lnTo>
                    <a:pt x="703" y="2540"/>
                  </a:lnTo>
                  <a:lnTo>
                    <a:pt x="703" y="2538"/>
                  </a:lnTo>
                  <a:lnTo>
                    <a:pt x="705" y="2538"/>
                  </a:lnTo>
                  <a:lnTo>
                    <a:pt x="703" y="2538"/>
                  </a:lnTo>
                  <a:lnTo>
                    <a:pt x="703" y="2540"/>
                  </a:lnTo>
                  <a:lnTo>
                    <a:pt x="701" y="2540"/>
                  </a:lnTo>
                  <a:lnTo>
                    <a:pt x="699" y="2542"/>
                  </a:lnTo>
                  <a:lnTo>
                    <a:pt x="699" y="2540"/>
                  </a:lnTo>
                  <a:lnTo>
                    <a:pt x="697" y="2540"/>
                  </a:lnTo>
                  <a:lnTo>
                    <a:pt x="699" y="2540"/>
                  </a:lnTo>
                  <a:lnTo>
                    <a:pt x="699" y="2538"/>
                  </a:lnTo>
                  <a:lnTo>
                    <a:pt x="701" y="2538"/>
                  </a:lnTo>
                  <a:lnTo>
                    <a:pt x="699" y="2538"/>
                  </a:lnTo>
                  <a:lnTo>
                    <a:pt x="699" y="2536"/>
                  </a:lnTo>
                  <a:lnTo>
                    <a:pt x="701" y="2534"/>
                  </a:lnTo>
                  <a:lnTo>
                    <a:pt x="699" y="2536"/>
                  </a:lnTo>
                  <a:lnTo>
                    <a:pt x="699" y="2538"/>
                  </a:lnTo>
                  <a:lnTo>
                    <a:pt x="697" y="2540"/>
                  </a:lnTo>
                  <a:lnTo>
                    <a:pt x="695" y="2540"/>
                  </a:lnTo>
                  <a:lnTo>
                    <a:pt x="693" y="2540"/>
                  </a:lnTo>
                  <a:lnTo>
                    <a:pt x="693" y="2538"/>
                  </a:lnTo>
                  <a:lnTo>
                    <a:pt x="695" y="2536"/>
                  </a:lnTo>
                  <a:lnTo>
                    <a:pt x="695" y="2538"/>
                  </a:lnTo>
                  <a:lnTo>
                    <a:pt x="695" y="2536"/>
                  </a:lnTo>
                  <a:lnTo>
                    <a:pt x="697" y="2536"/>
                  </a:lnTo>
                  <a:lnTo>
                    <a:pt x="695" y="2536"/>
                  </a:lnTo>
                  <a:lnTo>
                    <a:pt x="693" y="2538"/>
                  </a:lnTo>
                  <a:lnTo>
                    <a:pt x="693" y="2540"/>
                  </a:lnTo>
                  <a:lnTo>
                    <a:pt x="691" y="2538"/>
                  </a:lnTo>
                  <a:lnTo>
                    <a:pt x="693" y="2538"/>
                  </a:lnTo>
                  <a:lnTo>
                    <a:pt x="691" y="2538"/>
                  </a:lnTo>
                  <a:lnTo>
                    <a:pt x="691" y="2536"/>
                  </a:lnTo>
                  <a:lnTo>
                    <a:pt x="693" y="2534"/>
                  </a:lnTo>
                  <a:lnTo>
                    <a:pt x="691" y="2536"/>
                  </a:lnTo>
                  <a:lnTo>
                    <a:pt x="691" y="2538"/>
                  </a:lnTo>
                  <a:lnTo>
                    <a:pt x="689" y="2538"/>
                  </a:lnTo>
                  <a:lnTo>
                    <a:pt x="687" y="2538"/>
                  </a:lnTo>
                  <a:lnTo>
                    <a:pt x="685" y="2538"/>
                  </a:lnTo>
                  <a:lnTo>
                    <a:pt x="685" y="2536"/>
                  </a:lnTo>
                  <a:lnTo>
                    <a:pt x="687" y="2536"/>
                  </a:lnTo>
                  <a:lnTo>
                    <a:pt x="689" y="2534"/>
                  </a:lnTo>
                  <a:lnTo>
                    <a:pt x="687" y="2536"/>
                  </a:lnTo>
                  <a:lnTo>
                    <a:pt x="685" y="2536"/>
                  </a:lnTo>
                  <a:lnTo>
                    <a:pt x="687" y="2536"/>
                  </a:lnTo>
                  <a:lnTo>
                    <a:pt x="687" y="2534"/>
                  </a:lnTo>
                  <a:lnTo>
                    <a:pt x="685" y="2536"/>
                  </a:lnTo>
                  <a:lnTo>
                    <a:pt x="683" y="2536"/>
                  </a:lnTo>
                  <a:lnTo>
                    <a:pt x="681" y="2534"/>
                  </a:lnTo>
                  <a:lnTo>
                    <a:pt x="683" y="2534"/>
                  </a:lnTo>
                  <a:lnTo>
                    <a:pt x="681" y="2534"/>
                  </a:lnTo>
                  <a:lnTo>
                    <a:pt x="681" y="2532"/>
                  </a:lnTo>
                  <a:lnTo>
                    <a:pt x="683" y="2532"/>
                  </a:lnTo>
                  <a:lnTo>
                    <a:pt x="683" y="2530"/>
                  </a:lnTo>
                  <a:lnTo>
                    <a:pt x="683" y="2532"/>
                  </a:lnTo>
                  <a:lnTo>
                    <a:pt x="685" y="2532"/>
                  </a:lnTo>
                  <a:lnTo>
                    <a:pt x="687" y="2530"/>
                  </a:lnTo>
                  <a:lnTo>
                    <a:pt x="689" y="2530"/>
                  </a:lnTo>
                  <a:lnTo>
                    <a:pt x="689" y="2532"/>
                  </a:lnTo>
                  <a:lnTo>
                    <a:pt x="691" y="2532"/>
                  </a:lnTo>
                  <a:lnTo>
                    <a:pt x="691" y="2530"/>
                  </a:lnTo>
                  <a:lnTo>
                    <a:pt x="691" y="2532"/>
                  </a:lnTo>
                  <a:lnTo>
                    <a:pt x="689" y="2530"/>
                  </a:lnTo>
                  <a:lnTo>
                    <a:pt x="687" y="2530"/>
                  </a:lnTo>
                  <a:lnTo>
                    <a:pt x="685" y="2532"/>
                  </a:lnTo>
                  <a:lnTo>
                    <a:pt x="685" y="2530"/>
                  </a:lnTo>
                  <a:lnTo>
                    <a:pt x="685" y="2532"/>
                  </a:lnTo>
                  <a:lnTo>
                    <a:pt x="683" y="2530"/>
                  </a:lnTo>
                  <a:lnTo>
                    <a:pt x="681" y="2530"/>
                  </a:lnTo>
                  <a:lnTo>
                    <a:pt x="681" y="2532"/>
                  </a:lnTo>
                  <a:lnTo>
                    <a:pt x="680" y="2532"/>
                  </a:lnTo>
                  <a:lnTo>
                    <a:pt x="680" y="2530"/>
                  </a:lnTo>
                  <a:lnTo>
                    <a:pt x="681" y="2530"/>
                  </a:lnTo>
                  <a:lnTo>
                    <a:pt x="680" y="2530"/>
                  </a:lnTo>
                  <a:lnTo>
                    <a:pt x="681" y="2530"/>
                  </a:lnTo>
                  <a:lnTo>
                    <a:pt x="680" y="2530"/>
                  </a:lnTo>
                  <a:lnTo>
                    <a:pt x="680" y="2528"/>
                  </a:lnTo>
                  <a:lnTo>
                    <a:pt x="681" y="2528"/>
                  </a:lnTo>
                  <a:lnTo>
                    <a:pt x="681" y="2530"/>
                  </a:lnTo>
                  <a:lnTo>
                    <a:pt x="683" y="2530"/>
                  </a:lnTo>
                  <a:lnTo>
                    <a:pt x="685" y="2530"/>
                  </a:lnTo>
                  <a:lnTo>
                    <a:pt x="683" y="2530"/>
                  </a:lnTo>
                  <a:lnTo>
                    <a:pt x="681" y="2530"/>
                  </a:lnTo>
                  <a:lnTo>
                    <a:pt x="681" y="2528"/>
                  </a:lnTo>
                  <a:lnTo>
                    <a:pt x="680" y="2528"/>
                  </a:lnTo>
                  <a:lnTo>
                    <a:pt x="681" y="2528"/>
                  </a:lnTo>
                  <a:lnTo>
                    <a:pt x="680" y="2528"/>
                  </a:lnTo>
                  <a:lnTo>
                    <a:pt x="680" y="2526"/>
                  </a:lnTo>
                  <a:lnTo>
                    <a:pt x="681" y="2526"/>
                  </a:lnTo>
                  <a:lnTo>
                    <a:pt x="683" y="2526"/>
                  </a:lnTo>
                  <a:lnTo>
                    <a:pt x="685" y="2524"/>
                  </a:lnTo>
                  <a:lnTo>
                    <a:pt x="685" y="2526"/>
                  </a:lnTo>
                  <a:lnTo>
                    <a:pt x="685" y="2524"/>
                  </a:lnTo>
                  <a:lnTo>
                    <a:pt x="687" y="2524"/>
                  </a:lnTo>
                  <a:lnTo>
                    <a:pt x="689" y="2524"/>
                  </a:lnTo>
                  <a:lnTo>
                    <a:pt x="691" y="2524"/>
                  </a:lnTo>
                  <a:lnTo>
                    <a:pt x="691" y="2526"/>
                  </a:lnTo>
                  <a:lnTo>
                    <a:pt x="691" y="2524"/>
                  </a:lnTo>
                  <a:lnTo>
                    <a:pt x="689" y="2524"/>
                  </a:lnTo>
                  <a:lnTo>
                    <a:pt x="691" y="2524"/>
                  </a:lnTo>
                  <a:lnTo>
                    <a:pt x="693" y="2524"/>
                  </a:lnTo>
                  <a:lnTo>
                    <a:pt x="695" y="2522"/>
                  </a:lnTo>
                  <a:lnTo>
                    <a:pt x="695" y="2524"/>
                  </a:lnTo>
                  <a:lnTo>
                    <a:pt x="693" y="2524"/>
                  </a:lnTo>
                  <a:lnTo>
                    <a:pt x="693" y="2526"/>
                  </a:lnTo>
                  <a:lnTo>
                    <a:pt x="693" y="2528"/>
                  </a:lnTo>
                  <a:lnTo>
                    <a:pt x="693" y="2526"/>
                  </a:lnTo>
                  <a:lnTo>
                    <a:pt x="695" y="2526"/>
                  </a:lnTo>
                  <a:lnTo>
                    <a:pt x="695" y="2524"/>
                  </a:lnTo>
                  <a:lnTo>
                    <a:pt x="695" y="2526"/>
                  </a:lnTo>
                  <a:lnTo>
                    <a:pt x="695" y="2524"/>
                  </a:lnTo>
                  <a:lnTo>
                    <a:pt x="697" y="2524"/>
                  </a:lnTo>
                  <a:lnTo>
                    <a:pt x="697" y="2526"/>
                  </a:lnTo>
                  <a:lnTo>
                    <a:pt x="697" y="2528"/>
                  </a:lnTo>
                  <a:lnTo>
                    <a:pt x="699" y="2528"/>
                  </a:lnTo>
                  <a:lnTo>
                    <a:pt x="697" y="2528"/>
                  </a:lnTo>
                  <a:lnTo>
                    <a:pt x="697" y="2530"/>
                  </a:lnTo>
                  <a:lnTo>
                    <a:pt x="695" y="2530"/>
                  </a:lnTo>
                  <a:lnTo>
                    <a:pt x="697" y="2530"/>
                  </a:lnTo>
                  <a:lnTo>
                    <a:pt x="699" y="2528"/>
                  </a:lnTo>
                  <a:lnTo>
                    <a:pt x="699" y="2530"/>
                  </a:lnTo>
                  <a:lnTo>
                    <a:pt x="701" y="2530"/>
                  </a:lnTo>
                  <a:lnTo>
                    <a:pt x="701" y="2532"/>
                  </a:lnTo>
                  <a:lnTo>
                    <a:pt x="701" y="2530"/>
                  </a:lnTo>
                  <a:lnTo>
                    <a:pt x="699" y="2530"/>
                  </a:lnTo>
                  <a:lnTo>
                    <a:pt x="701" y="2530"/>
                  </a:lnTo>
                  <a:lnTo>
                    <a:pt x="703" y="2530"/>
                  </a:lnTo>
                  <a:lnTo>
                    <a:pt x="705" y="2532"/>
                  </a:lnTo>
                  <a:lnTo>
                    <a:pt x="706" y="2532"/>
                  </a:lnTo>
                  <a:lnTo>
                    <a:pt x="705" y="2532"/>
                  </a:lnTo>
                  <a:lnTo>
                    <a:pt x="705" y="2530"/>
                  </a:lnTo>
                  <a:lnTo>
                    <a:pt x="703" y="2530"/>
                  </a:lnTo>
                  <a:lnTo>
                    <a:pt x="701" y="2530"/>
                  </a:lnTo>
                  <a:lnTo>
                    <a:pt x="701" y="2528"/>
                  </a:lnTo>
                  <a:lnTo>
                    <a:pt x="703" y="2528"/>
                  </a:lnTo>
                  <a:lnTo>
                    <a:pt x="701" y="2528"/>
                  </a:lnTo>
                  <a:lnTo>
                    <a:pt x="701" y="2530"/>
                  </a:lnTo>
                  <a:lnTo>
                    <a:pt x="699" y="2530"/>
                  </a:lnTo>
                  <a:lnTo>
                    <a:pt x="699" y="2528"/>
                  </a:lnTo>
                  <a:lnTo>
                    <a:pt x="697" y="2526"/>
                  </a:lnTo>
                  <a:lnTo>
                    <a:pt x="697" y="2524"/>
                  </a:lnTo>
                  <a:lnTo>
                    <a:pt x="697" y="2522"/>
                  </a:lnTo>
                  <a:lnTo>
                    <a:pt x="695" y="2522"/>
                  </a:lnTo>
                  <a:lnTo>
                    <a:pt x="697" y="2522"/>
                  </a:lnTo>
                  <a:lnTo>
                    <a:pt x="695" y="2522"/>
                  </a:lnTo>
                  <a:lnTo>
                    <a:pt x="695" y="2520"/>
                  </a:lnTo>
                  <a:lnTo>
                    <a:pt x="693" y="2519"/>
                  </a:lnTo>
                  <a:lnTo>
                    <a:pt x="695" y="2517"/>
                  </a:lnTo>
                  <a:lnTo>
                    <a:pt x="695" y="2519"/>
                  </a:lnTo>
                  <a:lnTo>
                    <a:pt x="695" y="2517"/>
                  </a:lnTo>
                  <a:lnTo>
                    <a:pt x="697" y="2519"/>
                  </a:lnTo>
                  <a:lnTo>
                    <a:pt x="699" y="2519"/>
                  </a:lnTo>
                  <a:lnTo>
                    <a:pt x="699" y="2520"/>
                  </a:lnTo>
                  <a:lnTo>
                    <a:pt x="701" y="2520"/>
                  </a:lnTo>
                  <a:lnTo>
                    <a:pt x="701" y="2522"/>
                  </a:lnTo>
                  <a:lnTo>
                    <a:pt x="701" y="2524"/>
                  </a:lnTo>
                  <a:lnTo>
                    <a:pt x="703" y="2524"/>
                  </a:lnTo>
                  <a:lnTo>
                    <a:pt x="701" y="2522"/>
                  </a:lnTo>
                  <a:lnTo>
                    <a:pt x="701" y="2520"/>
                  </a:lnTo>
                  <a:lnTo>
                    <a:pt x="701" y="2522"/>
                  </a:lnTo>
                  <a:lnTo>
                    <a:pt x="701" y="2520"/>
                  </a:lnTo>
                  <a:lnTo>
                    <a:pt x="703" y="2520"/>
                  </a:lnTo>
                  <a:lnTo>
                    <a:pt x="703" y="2522"/>
                  </a:lnTo>
                  <a:lnTo>
                    <a:pt x="705" y="2522"/>
                  </a:lnTo>
                  <a:lnTo>
                    <a:pt x="705" y="2524"/>
                  </a:lnTo>
                  <a:lnTo>
                    <a:pt x="706" y="2524"/>
                  </a:lnTo>
                  <a:lnTo>
                    <a:pt x="705" y="2526"/>
                  </a:lnTo>
                  <a:lnTo>
                    <a:pt x="706" y="2526"/>
                  </a:lnTo>
                  <a:lnTo>
                    <a:pt x="705" y="2526"/>
                  </a:lnTo>
                  <a:lnTo>
                    <a:pt x="705" y="2528"/>
                  </a:lnTo>
                  <a:lnTo>
                    <a:pt x="705" y="2526"/>
                  </a:lnTo>
                  <a:lnTo>
                    <a:pt x="706" y="2526"/>
                  </a:lnTo>
                  <a:lnTo>
                    <a:pt x="706" y="2528"/>
                  </a:lnTo>
                  <a:lnTo>
                    <a:pt x="708" y="2530"/>
                  </a:lnTo>
                  <a:lnTo>
                    <a:pt x="706" y="2530"/>
                  </a:lnTo>
                  <a:lnTo>
                    <a:pt x="708" y="2530"/>
                  </a:lnTo>
                  <a:lnTo>
                    <a:pt x="708" y="2532"/>
                  </a:lnTo>
                  <a:lnTo>
                    <a:pt x="706" y="2532"/>
                  </a:lnTo>
                  <a:lnTo>
                    <a:pt x="706" y="2534"/>
                  </a:lnTo>
                  <a:lnTo>
                    <a:pt x="708" y="2534"/>
                  </a:lnTo>
                  <a:lnTo>
                    <a:pt x="708" y="2536"/>
                  </a:lnTo>
                  <a:lnTo>
                    <a:pt x="708" y="2538"/>
                  </a:lnTo>
                  <a:lnTo>
                    <a:pt x="708" y="2540"/>
                  </a:lnTo>
                  <a:lnTo>
                    <a:pt x="708" y="2542"/>
                  </a:lnTo>
                  <a:lnTo>
                    <a:pt x="706" y="2542"/>
                  </a:lnTo>
                  <a:lnTo>
                    <a:pt x="706" y="2544"/>
                  </a:lnTo>
                  <a:lnTo>
                    <a:pt x="706" y="2542"/>
                  </a:lnTo>
                  <a:lnTo>
                    <a:pt x="708" y="2542"/>
                  </a:lnTo>
                  <a:lnTo>
                    <a:pt x="708" y="2540"/>
                  </a:lnTo>
                  <a:lnTo>
                    <a:pt x="708" y="2538"/>
                  </a:lnTo>
                  <a:lnTo>
                    <a:pt x="708" y="2536"/>
                  </a:lnTo>
                  <a:lnTo>
                    <a:pt x="710" y="2536"/>
                  </a:lnTo>
                  <a:lnTo>
                    <a:pt x="712" y="2536"/>
                  </a:lnTo>
                  <a:lnTo>
                    <a:pt x="710" y="2538"/>
                  </a:lnTo>
                  <a:lnTo>
                    <a:pt x="712" y="2538"/>
                  </a:lnTo>
                  <a:lnTo>
                    <a:pt x="712" y="2540"/>
                  </a:lnTo>
                  <a:lnTo>
                    <a:pt x="712" y="2538"/>
                  </a:lnTo>
                  <a:lnTo>
                    <a:pt x="714" y="2538"/>
                  </a:lnTo>
                  <a:lnTo>
                    <a:pt x="714" y="2540"/>
                  </a:lnTo>
                  <a:lnTo>
                    <a:pt x="714" y="2538"/>
                  </a:lnTo>
                  <a:lnTo>
                    <a:pt x="712" y="2538"/>
                  </a:lnTo>
                  <a:lnTo>
                    <a:pt x="712" y="2536"/>
                  </a:lnTo>
                  <a:lnTo>
                    <a:pt x="712" y="2534"/>
                  </a:lnTo>
                  <a:lnTo>
                    <a:pt x="710" y="2534"/>
                  </a:lnTo>
                  <a:lnTo>
                    <a:pt x="708" y="2534"/>
                  </a:lnTo>
                  <a:lnTo>
                    <a:pt x="710" y="2534"/>
                  </a:lnTo>
                  <a:lnTo>
                    <a:pt x="712" y="2534"/>
                  </a:lnTo>
                  <a:lnTo>
                    <a:pt x="712" y="2536"/>
                  </a:lnTo>
                  <a:lnTo>
                    <a:pt x="714" y="2536"/>
                  </a:lnTo>
                  <a:lnTo>
                    <a:pt x="712" y="2536"/>
                  </a:lnTo>
                  <a:lnTo>
                    <a:pt x="712" y="2534"/>
                  </a:lnTo>
                  <a:lnTo>
                    <a:pt x="710" y="2534"/>
                  </a:lnTo>
                  <a:lnTo>
                    <a:pt x="708" y="2534"/>
                  </a:lnTo>
                  <a:lnTo>
                    <a:pt x="708" y="2532"/>
                  </a:lnTo>
                  <a:lnTo>
                    <a:pt x="710" y="2532"/>
                  </a:lnTo>
                  <a:lnTo>
                    <a:pt x="710" y="2530"/>
                  </a:lnTo>
                  <a:lnTo>
                    <a:pt x="712" y="2530"/>
                  </a:lnTo>
                  <a:lnTo>
                    <a:pt x="714" y="2530"/>
                  </a:lnTo>
                  <a:lnTo>
                    <a:pt x="716" y="2532"/>
                  </a:lnTo>
                  <a:lnTo>
                    <a:pt x="714" y="2532"/>
                  </a:lnTo>
                  <a:lnTo>
                    <a:pt x="716" y="2534"/>
                  </a:lnTo>
                  <a:lnTo>
                    <a:pt x="714" y="2532"/>
                  </a:lnTo>
                  <a:lnTo>
                    <a:pt x="716" y="2532"/>
                  </a:lnTo>
                  <a:lnTo>
                    <a:pt x="716" y="2534"/>
                  </a:lnTo>
                  <a:lnTo>
                    <a:pt x="718" y="2534"/>
                  </a:lnTo>
                  <a:lnTo>
                    <a:pt x="716" y="2534"/>
                  </a:lnTo>
                  <a:lnTo>
                    <a:pt x="718" y="2532"/>
                  </a:lnTo>
                  <a:lnTo>
                    <a:pt x="718" y="2534"/>
                  </a:lnTo>
                  <a:lnTo>
                    <a:pt x="718" y="2532"/>
                  </a:lnTo>
                  <a:lnTo>
                    <a:pt x="716" y="2534"/>
                  </a:lnTo>
                  <a:lnTo>
                    <a:pt x="716" y="2532"/>
                  </a:lnTo>
                  <a:lnTo>
                    <a:pt x="718" y="2532"/>
                  </a:lnTo>
                  <a:lnTo>
                    <a:pt x="720" y="2532"/>
                  </a:lnTo>
                  <a:lnTo>
                    <a:pt x="718" y="2532"/>
                  </a:lnTo>
                  <a:lnTo>
                    <a:pt x="716" y="2532"/>
                  </a:lnTo>
                  <a:lnTo>
                    <a:pt x="714" y="2530"/>
                  </a:lnTo>
                  <a:lnTo>
                    <a:pt x="716" y="2530"/>
                  </a:lnTo>
                  <a:lnTo>
                    <a:pt x="714" y="2530"/>
                  </a:lnTo>
                  <a:lnTo>
                    <a:pt x="712" y="2528"/>
                  </a:lnTo>
                  <a:lnTo>
                    <a:pt x="710" y="2530"/>
                  </a:lnTo>
                  <a:lnTo>
                    <a:pt x="708" y="2528"/>
                  </a:lnTo>
                  <a:lnTo>
                    <a:pt x="708" y="2526"/>
                  </a:lnTo>
                  <a:lnTo>
                    <a:pt x="708" y="2524"/>
                  </a:lnTo>
                  <a:lnTo>
                    <a:pt x="708" y="2526"/>
                  </a:lnTo>
                  <a:lnTo>
                    <a:pt x="708" y="2524"/>
                  </a:lnTo>
                  <a:lnTo>
                    <a:pt x="708" y="2526"/>
                  </a:lnTo>
                  <a:lnTo>
                    <a:pt x="710" y="2526"/>
                  </a:lnTo>
                  <a:lnTo>
                    <a:pt x="708" y="2526"/>
                  </a:lnTo>
                  <a:lnTo>
                    <a:pt x="708" y="2524"/>
                  </a:lnTo>
                  <a:lnTo>
                    <a:pt x="706" y="2522"/>
                  </a:lnTo>
                  <a:lnTo>
                    <a:pt x="708" y="2522"/>
                  </a:lnTo>
                  <a:lnTo>
                    <a:pt x="706" y="2522"/>
                  </a:lnTo>
                  <a:lnTo>
                    <a:pt x="708" y="2522"/>
                  </a:lnTo>
                  <a:lnTo>
                    <a:pt x="710" y="2522"/>
                  </a:lnTo>
                  <a:lnTo>
                    <a:pt x="712" y="2522"/>
                  </a:lnTo>
                  <a:lnTo>
                    <a:pt x="714" y="2522"/>
                  </a:lnTo>
                  <a:lnTo>
                    <a:pt x="714" y="2524"/>
                  </a:lnTo>
                  <a:lnTo>
                    <a:pt x="714" y="2522"/>
                  </a:lnTo>
                  <a:lnTo>
                    <a:pt x="716" y="2522"/>
                  </a:lnTo>
                  <a:lnTo>
                    <a:pt x="714" y="2522"/>
                  </a:lnTo>
                  <a:lnTo>
                    <a:pt x="714" y="2520"/>
                  </a:lnTo>
                  <a:lnTo>
                    <a:pt x="716" y="2520"/>
                  </a:lnTo>
                  <a:lnTo>
                    <a:pt x="718" y="2522"/>
                  </a:lnTo>
                  <a:lnTo>
                    <a:pt x="720" y="2524"/>
                  </a:lnTo>
                  <a:lnTo>
                    <a:pt x="720" y="2526"/>
                  </a:lnTo>
                  <a:lnTo>
                    <a:pt x="722" y="2526"/>
                  </a:lnTo>
                  <a:lnTo>
                    <a:pt x="722" y="2528"/>
                  </a:lnTo>
                  <a:lnTo>
                    <a:pt x="720" y="2530"/>
                  </a:lnTo>
                  <a:lnTo>
                    <a:pt x="722" y="2530"/>
                  </a:lnTo>
                  <a:lnTo>
                    <a:pt x="724" y="2530"/>
                  </a:lnTo>
                  <a:lnTo>
                    <a:pt x="722" y="2532"/>
                  </a:lnTo>
                  <a:lnTo>
                    <a:pt x="724" y="2532"/>
                  </a:lnTo>
                  <a:lnTo>
                    <a:pt x="726" y="2532"/>
                  </a:lnTo>
                  <a:lnTo>
                    <a:pt x="724" y="2532"/>
                  </a:lnTo>
                  <a:lnTo>
                    <a:pt x="724" y="2530"/>
                  </a:lnTo>
                  <a:lnTo>
                    <a:pt x="722" y="2530"/>
                  </a:lnTo>
                  <a:lnTo>
                    <a:pt x="722" y="2528"/>
                  </a:lnTo>
                  <a:lnTo>
                    <a:pt x="724" y="2528"/>
                  </a:lnTo>
                  <a:lnTo>
                    <a:pt x="722" y="2528"/>
                  </a:lnTo>
                  <a:lnTo>
                    <a:pt x="722" y="2526"/>
                  </a:lnTo>
                  <a:lnTo>
                    <a:pt x="724" y="2526"/>
                  </a:lnTo>
                  <a:lnTo>
                    <a:pt x="726" y="2526"/>
                  </a:lnTo>
                  <a:lnTo>
                    <a:pt x="726" y="2528"/>
                  </a:lnTo>
                  <a:lnTo>
                    <a:pt x="728" y="2530"/>
                  </a:lnTo>
                  <a:lnTo>
                    <a:pt x="729" y="2530"/>
                  </a:lnTo>
                  <a:lnTo>
                    <a:pt x="728" y="2530"/>
                  </a:lnTo>
                  <a:lnTo>
                    <a:pt x="728" y="2528"/>
                  </a:lnTo>
                  <a:lnTo>
                    <a:pt x="726" y="2528"/>
                  </a:lnTo>
                  <a:lnTo>
                    <a:pt x="726" y="2526"/>
                  </a:lnTo>
                  <a:lnTo>
                    <a:pt x="724" y="2526"/>
                  </a:lnTo>
                  <a:lnTo>
                    <a:pt x="722" y="2526"/>
                  </a:lnTo>
                  <a:lnTo>
                    <a:pt x="720" y="2524"/>
                  </a:lnTo>
                  <a:lnTo>
                    <a:pt x="720" y="2522"/>
                  </a:lnTo>
                  <a:lnTo>
                    <a:pt x="722" y="2522"/>
                  </a:lnTo>
                  <a:lnTo>
                    <a:pt x="722" y="2524"/>
                  </a:lnTo>
                  <a:lnTo>
                    <a:pt x="724" y="2524"/>
                  </a:lnTo>
                  <a:lnTo>
                    <a:pt x="722" y="2524"/>
                  </a:lnTo>
                  <a:lnTo>
                    <a:pt x="722" y="2522"/>
                  </a:lnTo>
                  <a:lnTo>
                    <a:pt x="720" y="2522"/>
                  </a:lnTo>
                  <a:lnTo>
                    <a:pt x="720" y="2520"/>
                  </a:lnTo>
                  <a:lnTo>
                    <a:pt x="718" y="2520"/>
                  </a:lnTo>
                  <a:lnTo>
                    <a:pt x="716" y="2520"/>
                  </a:lnTo>
                  <a:lnTo>
                    <a:pt x="714" y="2519"/>
                  </a:lnTo>
                  <a:lnTo>
                    <a:pt x="714" y="2520"/>
                  </a:lnTo>
                  <a:lnTo>
                    <a:pt x="712" y="2519"/>
                  </a:lnTo>
                  <a:lnTo>
                    <a:pt x="708" y="2519"/>
                  </a:lnTo>
                  <a:lnTo>
                    <a:pt x="706" y="2519"/>
                  </a:lnTo>
                  <a:lnTo>
                    <a:pt x="708" y="2519"/>
                  </a:lnTo>
                  <a:lnTo>
                    <a:pt x="710" y="2519"/>
                  </a:lnTo>
                  <a:lnTo>
                    <a:pt x="708" y="2519"/>
                  </a:lnTo>
                  <a:lnTo>
                    <a:pt x="706" y="2519"/>
                  </a:lnTo>
                  <a:lnTo>
                    <a:pt x="705" y="2519"/>
                  </a:lnTo>
                  <a:lnTo>
                    <a:pt x="703" y="2517"/>
                  </a:lnTo>
                  <a:lnTo>
                    <a:pt x="703" y="2515"/>
                  </a:lnTo>
                  <a:lnTo>
                    <a:pt x="705" y="2517"/>
                  </a:lnTo>
                  <a:lnTo>
                    <a:pt x="706" y="2517"/>
                  </a:lnTo>
                  <a:lnTo>
                    <a:pt x="708" y="2519"/>
                  </a:lnTo>
                  <a:lnTo>
                    <a:pt x="708" y="2517"/>
                  </a:lnTo>
                  <a:lnTo>
                    <a:pt x="706" y="2517"/>
                  </a:lnTo>
                  <a:lnTo>
                    <a:pt x="705" y="2517"/>
                  </a:lnTo>
                  <a:lnTo>
                    <a:pt x="705" y="2515"/>
                  </a:lnTo>
                  <a:lnTo>
                    <a:pt x="706" y="2515"/>
                  </a:lnTo>
                  <a:lnTo>
                    <a:pt x="708" y="2515"/>
                  </a:lnTo>
                  <a:lnTo>
                    <a:pt x="710" y="2515"/>
                  </a:lnTo>
                  <a:lnTo>
                    <a:pt x="712" y="2517"/>
                  </a:lnTo>
                  <a:lnTo>
                    <a:pt x="714" y="2517"/>
                  </a:lnTo>
                  <a:lnTo>
                    <a:pt x="718" y="2515"/>
                  </a:lnTo>
                  <a:lnTo>
                    <a:pt x="718" y="2517"/>
                  </a:lnTo>
                  <a:lnTo>
                    <a:pt x="720" y="2517"/>
                  </a:lnTo>
                  <a:lnTo>
                    <a:pt x="718" y="2517"/>
                  </a:lnTo>
                  <a:lnTo>
                    <a:pt x="718" y="2515"/>
                  </a:lnTo>
                  <a:lnTo>
                    <a:pt x="720" y="2515"/>
                  </a:lnTo>
                  <a:lnTo>
                    <a:pt x="722" y="2515"/>
                  </a:lnTo>
                  <a:lnTo>
                    <a:pt x="722" y="2517"/>
                  </a:lnTo>
                  <a:lnTo>
                    <a:pt x="722" y="2515"/>
                  </a:lnTo>
                  <a:lnTo>
                    <a:pt x="724" y="2515"/>
                  </a:lnTo>
                  <a:lnTo>
                    <a:pt x="724" y="2517"/>
                  </a:lnTo>
                  <a:lnTo>
                    <a:pt x="724" y="2519"/>
                  </a:lnTo>
                  <a:lnTo>
                    <a:pt x="726" y="2519"/>
                  </a:lnTo>
                  <a:lnTo>
                    <a:pt x="724" y="2519"/>
                  </a:lnTo>
                  <a:lnTo>
                    <a:pt x="724" y="2517"/>
                  </a:lnTo>
                  <a:lnTo>
                    <a:pt x="726" y="2517"/>
                  </a:lnTo>
                  <a:lnTo>
                    <a:pt x="728" y="2517"/>
                  </a:lnTo>
                  <a:lnTo>
                    <a:pt x="726" y="2517"/>
                  </a:lnTo>
                  <a:lnTo>
                    <a:pt x="728" y="2519"/>
                  </a:lnTo>
                  <a:lnTo>
                    <a:pt x="728" y="2520"/>
                  </a:lnTo>
                  <a:lnTo>
                    <a:pt x="729" y="2522"/>
                  </a:lnTo>
                  <a:lnTo>
                    <a:pt x="729" y="2520"/>
                  </a:lnTo>
                  <a:lnTo>
                    <a:pt x="728" y="2520"/>
                  </a:lnTo>
                  <a:lnTo>
                    <a:pt x="728" y="2519"/>
                  </a:lnTo>
                  <a:lnTo>
                    <a:pt x="728" y="2517"/>
                  </a:lnTo>
                  <a:lnTo>
                    <a:pt x="729" y="2517"/>
                  </a:lnTo>
                  <a:lnTo>
                    <a:pt x="729" y="2519"/>
                  </a:lnTo>
                  <a:lnTo>
                    <a:pt x="731" y="2519"/>
                  </a:lnTo>
                  <a:lnTo>
                    <a:pt x="731" y="2520"/>
                  </a:lnTo>
                  <a:lnTo>
                    <a:pt x="733" y="2520"/>
                  </a:lnTo>
                  <a:lnTo>
                    <a:pt x="733" y="2519"/>
                  </a:lnTo>
                  <a:lnTo>
                    <a:pt x="733" y="2520"/>
                  </a:lnTo>
                  <a:lnTo>
                    <a:pt x="733" y="2522"/>
                  </a:lnTo>
                  <a:lnTo>
                    <a:pt x="731" y="2524"/>
                  </a:lnTo>
                  <a:lnTo>
                    <a:pt x="733" y="2524"/>
                  </a:lnTo>
                  <a:lnTo>
                    <a:pt x="733" y="2522"/>
                  </a:lnTo>
                  <a:lnTo>
                    <a:pt x="735" y="2522"/>
                  </a:lnTo>
                  <a:lnTo>
                    <a:pt x="737" y="2522"/>
                  </a:lnTo>
                  <a:lnTo>
                    <a:pt x="735" y="2522"/>
                  </a:lnTo>
                  <a:lnTo>
                    <a:pt x="737" y="2522"/>
                  </a:lnTo>
                  <a:lnTo>
                    <a:pt x="735" y="2522"/>
                  </a:lnTo>
                  <a:lnTo>
                    <a:pt x="733" y="2522"/>
                  </a:lnTo>
                  <a:lnTo>
                    <a:pt x="735" y="2522"/>
                  </a:lnTo>
                  <a:lnTo>
                    <a:pt x="735" y="2520"/>
                  </a:lnTo>
                  <a:lnTo>
                    <a:pt x="733" y="2520"/>
                  </a:lnTo>
                  <a:lnTo>
                    <a:pt x="733" y="2519"/>
                  </a:lnTo>
                  <a:lnTo>
                    <a:pt x="731" y="2519"/>
                  </a:lnTo>
                  <a:lnTo>
                    <a:pt x="729" y="2517"/>
                  </a:lnTo>
                  <a:lnTo>
                    <a:pt x="728" y="2515"/>
                  </a:lnTo>
                  <a:lnTo>
                    <a:pt x="729" y="2515"/>
                  </a:lnTo>
                  <a:lnTo>
                    <a:pt x="729" y="2517"/>
                  </a:lnTo>
                  <a:lnTo>
                    <a:pt x="731" y="2517"/>
                  </a:lnTo>
                  <a:lnTo>
                    <a:pt x="733" y="2519"/>
                  </a:lnTo>
                  <a:lnTo>
                    <a:pt x="735" y="2519"/>
                  </a:lnTo>
                  <a:lnTo>
                    <a:pt x="733" y="2519"/>
                  </a:lnTo>
                  <a:lnTo>
                    <a:pt x="733" y="2517"/>
                  </a:lnTo>
                  <a:lnTo>
                    <a:pt x="731" y="2517"/>
                  </a:lnTo>
                  <a:lnTo>
                    <a:pt x="729" y="2515"/>
                  </a:lnTo>
                  <a:lnTo>
                    <a:pt x="728" y="2515"/>
                  </a:lnTo>
                  <a:lnTo>
                    <a:pt x="726" y="2513"/>
                  </a:lnTo>
                  <a:lnTo>
                    <a:pt x="724" y="2515"/>
                  </a:lnTo>
                  <a:lnTo>
                    <a:pt x="722" y="2513"/>
                  </a:lnTo>
                  <a:lnTo>
                    <a:pt x="720" y="2513"/>
                  </a:lnTo>
                  <a:lnTo>
                    <a:pt x="720" y="2511"/>
                  </a:lnTo>
                  <a:lnTo>
                    <a:pt x="720" y="2513"/>
                  </a:lnTo>
                  <a:lnTo>
                    <a:pt x="718" y="2513"/>
                  </a:lnTo>
                  <a:lnTo>
                    <a:pt x="716" y="2511"/>
                  </a:lnTo>
                  <a:lnTo>
                    <a:pt x="714" y="2511"/>
                  </a:lnTo>
                  <a:lnTo>
                    <a:pt x="714" y="2509"/>
                  </a:lnTo>
                  <a:lnTo>
                    <a:pt x="714" y="2507"/>
                  </a:lnTo>
                  <a:lnTo>
                    <a:pt x="714" y="2505"/>
                  </a:lnTo>
                  <a:lnTo>
                    <a:pt x="716" y="2505"/>
                  </a:lnTo>
                  <a:lnTo>
                    <a:pt x="716" y="2507"/>
                  </a:lnTo>
                  <a:lnTo>
                    <a:pt x="716" y="2505"/>
                  </a:lnTo>
                  <a:lnTo>
                    <a:pt x="718" y="2503"/>
                  </a:lnTo>
                  <a:lnTo>
                    <a:pt x="720" y="2505"/>
                  </a:lnTo>
                  <a:lnTo>
                    <a:pt x="722" y="2507"/>
                  </a:lnTo>
                  <a:lnTo>
                    <a:pt x="724" y="2507"/>
                  </a:lnTo>
                  <a:lnTo>
                    <a:pt x="724" y="2509"/>
                  </a:lnTo>
                  <a:lnTo>
                    <a:pt x="726" y="2509"/>
                  </a:lnTo>
                  <a:lnTo>
                    <a:pt x="728" y="2511"/>
                  </a:lnTo>
                  <a:lnTo>
                    <a:pt x="729" y="2511"/>
                  </a:lnTo>
                  <a:lnTo>
                    <a:pt x="728" y="2511"/>
                  </a:lnTo>
                  <a:lnTo>
                    <a:pt x="726" y="2509"/>
                  </a:lnTo>
                  <a:lnTo>
                    <a:pt x="724" y="2509"/>
                  </a:lnTo>
                  <a:lnTo>
                    <a:pt x="724" y="2507"/>
                  </a:lnTo>
                  <a:lnTo>
                    <a:pt x="722" y="2507"/>
                  </a:lnTo>
                  <a:lnTo>
                    <a:pt x="724" y="2507"/>
                  </a:lnTo>
                  <a:lnTo>
                    <a:pt x="729" y="2511"/>
                  </a:lnTo>
                  <a:lnTo>
                    <a:pt x="729" y="2513"/>
                  </a:lnTo>
                  <a:lnTo>
                    <a:pt x="731" y="2513"/>
                  </a:lnTo>
                  <a:lnTo>
                    <a:pt x="731" y="2515"/>
                  </a:lnTo>
                  <a:lnTo>
                    <a:pt x="733" y="2515"/>
                  </a:lnTo>
                  <a:lnTo>
                    <a:pt x="735" y="2515"/>
                  </a:lnTo>
                  <a:lnTo>
                    <a:pt x="737" y="2513"/>
                  </a:lnTo>
                  <a:lnTo>
                    <a:pt x="739" y="2513"/>
                  </a:lnTo>
                  <a:lnTo>
                    <a:pt x="741" y="2513"/>
                  </a:lnTo>
                  <a:lnTo>
                    <a:pt x="743" y="2513"/>
                  </a:lnTo>
                  <a:lnTo>
                    <a:pt x="745" y="2513"/>
                  </a:lnTo>
                  <a:lnTo>
                    <a:pt x="747" y="2513"/>
                  </a:lnTo>
                  <a:lnTo>
                    <a:pt x="749" y="2513"/>
                  </a:lnTo>
                  <a:lnTo>
                    <a:pt x="747" y="2513"/>
                  </a:lnTo>
                  <a:lnTo>
                    <a:pt x="745" y="2513"/>
                  </a:lnTo>
                  <a:lnTo>
                    <a:pt x="743" y="2513"/>
                  </a:lnTo>
                  <a:lnTo>
                    <a:pt x="741" y="2513"/>
                  </a:lnTo>
                  <a:lnTo>
                    <a:pt x="739" y="2513"/>
                  </a:lnTo>
                  <a:lnTo>
                    <a:pt x="739" y="2511"/>
                  </a:lnTo>
                  <a:lnTo>
                    <a:pt x="739" y="2509"/>
                  </a:lnTo>
                  <a:lnTo>
                    <a:pt x="741" y="2509"/>
                  </a:lnTo>
                  <a:lnTo>
                    <a:pt x="741" y="2507"/>
                  </a:lnTo>
                  <a:lnTo>
                    <a:pt x="741" y="2505"/>
                  </a:lnTo>
                  <a:lnTo>
                    <a:pt x="741" y="2507"/>
                  </a:lnTo>
                  <a:lnTo>
                    <a:pt x="739" y="2507"/>
                  </a:lnTo>
                  <a:lnTo>
                    <a:pt x="739" y="2509"/>
                  </a:lnTo>
                  <a:lnTo>
                    <a:pt x="739" y="2511"/>
                  </a:lnTo>
                  <a:lnTo>
                    <a:pt x="737" y="2513"/>
                  </a:lnTo>
                  <a:lnTo>
                    <a:pt x="735" y="2513"/>
                  </a:lnTo>
                  <a:lnTo>
                    <a:pt x="733" y="2513"/>
                  </a:lnTo>
                  <a:lnTo>
                    <a:pt x="731" y="2511"/>
                  </a:lnTo>
                  <a:lnTo>
                    <a:pt x="729" y="2509"/>
                  </a:lnTo>
                  <a:lnTo>
                    <a:pt x="731" y="2509"/>
                  </a:lnTo>
                  <a:lnTo>
                    <a:pt x="733" y="2509"/>
                  </a:lnTo>
                  <a:lnTo>
                    <a:pt x="731" y="2509"/>
                  </a:lnTo>
                  <a:lnTo>
                    <a:pt x="729" y="2509"/>
                  </a:lnTo>
                  <a:lnTo>
                    <a:pt x="731" y="2509"/>
                  </a:lnTo>
                  <a:lnTo>
                    <a:pt x="733" y="2509"/>
                  </a:lnTo>
                  <a:lnTo>
                    <a:pt x="735" y="2507"/>
                  </a:lnTo>
                  <a:lnTo>
                    <a:pt x="735" y="2509"/>
                  </a:lnTo>
                  <a:lnTo>
                    <a:pt x="735" y="2507"/>
                  </a:lnTo>
                  <a:lnTo>
                    <a:pt x="737" y="2507"/>
                  </a:lnTo>
                  <a:lnTo>
                    <a:pt x="735" y="2507"/>
                  </a:lnTo>
                  <a:lnTo>
                    <a:pt x="737" y="2507"/>
                  </a:lnTo>
                  <a:lnTo>
                    <a:pt x="735" y="2507"/>
                  </a:lnTo>
                  <a:lnTo>
                    <a:pt x="737" y="2507"/>
                  </a:lnTo>
                  <a:lnTo>
                    <a:pt x="735" y="2507"/>
                  </a:lnTo>
                  <a:lnTo>
                    <a:pt x="735" y="2505"/>
                  </a:lnTo>
                  <a:lnTo>
                    <a:pt x="735" y="2507"/>
                  </a:lnTo>
                  <a:lnTo>
                    <a:pt x="733" y="2507"/>
                  </a:lnTo>
                  <a:lnTo>
                    <a:pt x="735" y="2507"/>
                  </a:lnTo>
                  <a:lnTo>
                    <a:pt x="733" y="2509"/>
                  </a:lnTo>
                  <a:lnTo>
                    <a:pt x="731" y="2507"/>
                  </a:lnTo>
                  <a:lnTo>
                    <a:pt x="729" y="2507"/>
                  </a:lnTo>
                  <a:lnTo>
                    <a:pt x="729" y="2509"/>
                  </a:lnTo>
                  <a:lnTo>
                    <a:pt x="728" y="2507"/>
                  </a:lnTo>
                  <a:lnTo>
                    <a:pt x="726" y="2507"/>
                  </a:lnTo>
                  <a:lnTo>
                    <a:pt x="726" y="2505"/>
                  </a:lnTo>
                  <a:lnTo>
                    <a:pt x="724" y="2505"/>
                  </a:lnTo>
                  <a:lnTo>
                    <a:pt x="722" y="2505"/>
                  </a:lnTo>
                  <a:lnTo>
                    <a:pt x="722" y="2503"/>
                  </a:lnTo>
                  <a:lnTo>
                    <a:pt x="724" y="2505"/>
                  </a:lnTo>
                  <a:lnTo>
                    <a:pt x="726" y="2505"/>
                  </a:lnTo>
                  <a:lnTo>
                    <a:pt x="724" y="2503"/>
                  </a:lnTo>
                  <a:lnTo>
                    <a:pt x="722" y="2503"/>
                  </a:lnTo>
                  <a:lnTo>
                    <a:pt x="720" y="2503"/>
                  </a:lnTo>
                  <a:lnTo>
                    <a:pt x="722" y="2501"/>
                  </a:lnTo>
                  <a:lnTo>
                    <a:pt x="724" y="2503"/>
                  </a:lnTo>
                  <a:lnTo>
                    <a:pt x="724" y="2501"/>
                  </a:lnTo>
                  <a:lnTo>
                    <a:pt x="724" y="2503"/>
                  </a:lnTo>
                  <a:lnTo>
                    <a:pt x="722" y="2501"/>
                  </a:lnTo>
                  <a:lnTo>
                    <a:pt x="720" y="2501"/>
                  </a:lnTo>
                  <a:lnTo>
                    <a:pt x="720" y="2499"/>
                  </a:lnTo>
                  <a:lnTo>
                    <a:pt x="720" y="2497"/>
                  </a:lnTo>
                  <a:lnTo>
                    <a:pt x="720" y="2495"/>
                  </a:lnTo>
                  <a:lnTo>
                    <a:pt x="720" y="2494"/>
                  </a:lnTo>
                  <a:lnTo>
                    <a:pt x="720" y="2495"/>
                  </a:lnTo>
                  <a:lnTo>
                    <a:pt x="720" y="2497"/>
                  </a:lnTo>
                  <a:lnTo>
                    <a:pt x="722" y="2499"/>
                  </a:lnTo>
                  <a:lnTo>
                    <a:pt x="720" y="2497"/>
                  </a:lnTo>
                  <a:lnTo>
                    <a:pt x="722" y="2495"/>
                  </a:lnTo>
                  <a:lnTo>
                    <a:pt x="722" y="2497"/>
                  </a:lnTo>
                  <a:lnTo>
                    <a:pt x="722" y="2495"/>
                  </a:lnTo>
                  <a:lnTo>
                    <a:pt x="722" y="2497"/>
                  </a:lnTo>
                  <a:lnTo>
                    <a:pt x="724" y="2497"/>
                  </a:lnTo>
                  <a:lnTo>
                    <a:pt x="724" y="2499"/>
                  </a:lnTo>
                  <a:lnTo>
                    <a:pt x="724" y="2497"/>
                  </a:lnTo>
                  <a:lnTo>
                    <a:pt x="722" y="2497"/>
                  </a:lnTo>
                  <a:lnTo>
                    <a:pt x="724" y="2497"/>
                  </a:lnTo>
                  <a:lnTo>
                    <a:pt x="722" y="2495"/>
                  </a:lnTo>
                  <a:lnTo>
                    <a:pt x="722" y="2497"/>
                  </a:lnTo>
                  <a:lnTo>
                    <a:pt x="722" y="2495"/>
                  </a:lnTo>
                  <a:lnTo>
                    <a:pt x="720" y="2497"/>
                  </a:lnTo>
                  <a:lnTo>
                    <a:pt x="720" y="2495"/>
                  </a:lnTo>
                  <a:lnTo>
                    <a:pt x="722" y="2494"/>
                  </a:lnTo>
                  <a:lnTo>
                    <a:pt x="722" y="2492"/>
                  </a:lnTo>
                  <a:lnTo>
                    <a:pt x="722" y="2494"/>
                  </a:lnTo>
                  <a:lnTo>
                    <a:pt x="722" y="2495"/>
                  </a:lnTo>
                  <a:lnTo>
                    <a:pt x="722" y="2494"/>
                  </a:lnTo>
                  <a:lnTo>
                    <a:pt x="722" y="2492"/>
                  </a:lnTo>
                  <a:lnTo>
                    <a:pt x="724" y="2492"/>
                  </a:lnTo>
                  <a:lnTo>
                    <a:pt x="724" y="2494"/>
                  </a:lnTo>
                  <a:lnTo>
                    <a:pt x="722" y="2494"/>
                  </a:lnTo>
                  <a:lnTo>
                    <a:pt x="724" y="2494"/>
                  </a:lnTo>
                  <a:lnTo>
                    <a:pt x="722" y="2494"/>
                  </a:lnTo>
                  <a:lnTo>
                    <a:pt x="724" y="2494"/>
                  </a:lnTo>
                  <a:lnTo>
                    <a:pt x="724" y="2492"/>
                  </a:lnTo>
                  <a:lnTo>
                    <a:pt x="722" y="2492"/>
                  </a:lnTo>
                  <a:lnTo>
                    <a:pt x="724" y="2492"/>
                  </a:lnTo>
                  <a:lnTo>
                    <a:pt x="724" y="2490"/>
                  </a:lnTo>
                  <a:lnTo>
                    <a:pt x="726" y="2490"/>
                  </a:lnTo>
                  <a:lnTo>
                    <a:pt x="726" y="2492"/>
                  </a:lnTo>
                  <a:lnTo>
                    <a:pt x="724" y="2492"/>
                  </a:lnTo>
                  <a:lnTo>
                    <a:pt x="724" y="2494"/>
                  </a:lnTo>
                  <a:lnTo>
                    <a:pt x="724" y="2495"/>
                  </a:lnTo>
                  <a:lnTo>
                    <a:pt x="724" y="2497"/>
                  </a:lnTo>
                  <a:lnTo>
                    <a:pt x="726" y="2497"/>
                  </a:lnTo>
                  <a:lnTo>
                    <a:pt x="726" y="2499"/>
                  </a:lnTo>
                  <a:lnTo>
                    <a:pt x="726" y="2501"/>
                  </a:lnTo>
                  <a:lnTo>
                    <a:pt x="726" y="2499"/>
                  </a:lnTo>
                  <a:lnTo>
                    <a:pt x="726" y="2501"/>
                  </a:lnTo>
                  <a:lnTo>
                    <a:pt x="728" y="2501"/>
                  </a:lnTo>
                  <a:lnTo>
                    <a:pt x="728" y="2503"/>
                  </a:lnTo>
                  <a:lnTo>
                    <a:pt x="729" y="2503"/>
                  </a:lnTo>
                  <a:lnTo>
                    <a:pt x="728" y="2503"/>
                  </a:lnTo>
                  <a:lnTo>
                    <a:pt x="728" y="2501"/>
                  </a:lnTo>
                  <a:lnTo>
                    <a:pt x="729" y="2501"/>
                  </a:lnTo>
                  <a:lnTo>
                    <a:pt x="729" y="2503"/>
                  </a:lnTo>
                  <a:lnTo>
                    <a:pt x="729" y="2501"/>
                  </a:lnTo>
                  <a:lnTo>
                    <a:pt x="728" y="2501"/>
                  </a:lnTo>
                  <a:lnTo>
                    <a:pt x="726" y="2499"/>
                  </a:lnTo>
                  <a:lnTo>
                    <a:pt x="728" y="2499"/>
                  </a:lnTo>
                  <a:lnTo>
                    <a:pt x="726" y="2499"/>
                  </a:lnTo>
                  <a:lnTo>
                    <a:pt x="728" y="2497"/>
                  </a:lnTo>
                  <a:lnTo>
                    <a:pt x="729" y="2497"/>
                  </a:lnTo>
                  <a:lnTo>
                    <a:pt x="729" y="2499"/>
                  </a:lnTo>
                  <a:lnTo>
                    <a:pt x="729" y="2497"/>
                  </a:lnTo>
                  <a:lnTo>
                    <a:pt x="729" y="2499"/>
                  </a:lnTo>
                  <a:lnTo>
                    <a:pt x="731" y="2499"/>
                  </a:lnTo>
                  <a:lnTo>
                    <a:pt x="733" y="2499"/>
                  </a:lnTo>
                  <a:lnTo>
                    <a:pt x="733" y="2501"/>
                  </a:lnTo>
                  <a:lnTo>
                    <a:pt x="735" y="2501"/>
                  </a:lnTo>
                  <a:lnTo>
                    <a:pt x="733" y="2501"/>
                  </a:lnTo>
                  <a:lnTo>
                    <a:pt x="733" y="2499"/>
                  </a:lnTo>
                  <a:lnTo>
                    <a:pt x="731" y="2499"/>
                  </a:lnTo>
                  <a:lnTo>
                    <a:pt x="731" y="2497"/>
                  </a:lnTo>
                  <a:lnTo>
                    <a:pt x="729" y="2497"/>
                  </a:lnTo>
                  <a:lnTo>
                    <a:pt x="731" y="2497"/>
                  </a:lnTo>
                  <a:lnTo>
                    <a:pt x="733" y="2499"/>
                  </a:lnTo>
                  <a:lnTo>
                    <a:pt x="735" y="2499"/>
                  </a:lnTo>
                  <a:lnTo>
                    <a:pt x="735" y="2497"/>
                  </a:lnTo>
                  <a:lnTo>
                    <a:pt x="737" y="2495"/>
                  </a:lnTo>
                  <a:lnTo>
                    <a:pt x="735" y="2495"/>
                  </a:lnTo>
                  <a:lnTo>
                    <a:pt x="737" y="2495"/>
                  </a:lnTo>
                  <a:lnTo>
                    <a:pt x="735" y="2495"/>
                  </a:lnTo>
                  <a:lnTo>
                    <a:pt x="737" y="2495"/>
                  </a:lnTo>
                  <a:lnTo>
                    <a:pt x="737" y="2497"/>
                  </a:lnTo>
                  <a:lnTo>
                    <a:pt x="735" y="2497"/>
                  </a:lnTo>
                  <a:lnTo>
                    <a:pt x="735" y="2499"/>
                  </a:lnTo>
                  <a:lnTo>
                    <a:pt x="733" y="2499"/>
                  </a:lnTo>
                  <a:lnTo>
                    <a:pt x="733" y="2497"/>
                  </a:lnTo>
                  <a:lnTo>
                    <a:pt x="731" y="2497"/>
                  </a:lnTo>
                  <a:lnTo>
                    <a:pt x="733" y="2497"/>
                  </a:lnTo>
                  <a:lnTo>
                    <a:pt x="733" y="2495"/>
                  </a:lnTo>
                  <a:lnTo>
                    <a:pt x="733" y="2497"/>
                  </a:lnTo>
                  <a:lnTo>
                    <a:pt x="733" y="2495"/>
                  </a:lnTo>
                  <a:lnTo>
                    <a:pt x="735" y="2495"/>
                  </a:lnTo>
                  <a:lnTo>
                    <a:pt x="735" y="2494"/>
                  </a:lnTo>
                  <a:lnTo>
                    <a:pt x="733" y="2494"/>
                  </a:lnTo>
                  <a:lnTo>
                    <a:pt x="733" y="2495"/>
                  </a:lnTo>
                  <a:lnTo>
                    <a:pt x="733" y="2497"/>
                  </a:lnTo>
                  <a:lnTo>
                    <a:pt x="731" y="2497"/>
                  </a:lnTo>
                  <a:lnTo>
                    <a:pt x="729" y="2497"/>
                  </a:lnTo>
                  <a:lnTo>
                    <a:pt x="728" y="2497"/>
                  </a:lnTo>
                  <a:lnTo>
                    <a:pt x="726" y="2497"/>
                  </a:lnTo>
                  <a:lnTo>
                    <a:pt x="726" y="2495"/>
                  </a:lnTo>
                  <a:lnTo>
                    <a:pt x="728" y="2495"/>
                  </a:lnTo>
                  <a:lnTo>
                    <a:pt x="729" y="2494"/>
                  </a:lnTo>
                  <a:lnTo>
                    <a:pt x="729" y="2495"/>
                  </a:lnTo>
                  <a:lnTo>
                    <a:pt x="731" y="2495"/>
                  </a:lnTo>
                  <a:lnTo>
                    <a:pt x="729" y="2495"/>
                  </a:lnTo>
                  <a:lnTo>
                    <a:pt x="729" y="2494"/>
                  </a:lnTo>
                  <a:lnTo>
                    <a:pt x="728" y="2494"/>
                  </a:lnTo>
                  <a:lnTo>
                    <a:pt x="728" y="2495"/>
                  </a:lnTo>
                  <a:lnTo>
                    <a:pt x="726" y="2495"/>
                  </a:lnTo>
                  <a:lnTo>
                    <a:pt x="726" y="2494"/>
                  </a:lnTo>
                  <a:lnTo>
                    <a:pt x="726" y="2492"/>
                  </a:lnTo>
                  <a:lnTo>
                    <a:pt x="728" y="2494"/>
                  </a:lnTo>
                  <a:lnTo>
                    <a:pt x="726" y="2492"/>
                  </a:lnTo>
                  <a:lnTo>
                    <a:pt x="728" y="2492"/>
                  </a:lnTo>
                  <a:lnTo>
                    <a:pt x="729" y="2492"/>
                  </a:lnTo>
                  <a:lnTo>
                    <a:pt x="728" y="2492"/>
                  </a:lnTo>
                  <a:lnTo>
                    <a:pt x="729" y="2492"/>
                  </a:lnTo>
                  <a:lnTo>
                    <a:pt x="729" y="2490"/>
                  </a:lnTo>
                  <a:lnTo>
                    <a:pt x="729" y="2492"/>
                  </a:lnTo>
                  <a:lnTo>
                    <a:pt x="729" y="2490"/>
                  </a:lnTo>
                  <a:lnTo>
                    <a:pt x="731" y="2492"/>
                  </a:lnTo>
                  <a:lnTo>
                    <a:pt x="731" y="2490"/>
                  </a:lnTo>
                  <a:lnTo>
                    <a:pt x="729" y="2490"/>
                  </a:lnTo>
                  <a:lnTo>
                    <a:pt x="729" y="2492"/>
                  </a:lnTo>
                  <a:lnTo>
                    <a:pt x="728" y="2492"/>
                  </a:lnTo>
                  <a:lnTo>
                    <a:pt x="728" y="2490"/>
                  </a:lnTo>
                  <a:lnTo>
                    <a:pt x="726" y="2490"/>
                  </a:lnTo>
                  <a:lnTo>
                    <a:pt x="728" y="2490"/>
                  </a:lnTo>
                  <a:lnTo>
                    <a:pt x="726" y="2490"/>
                  </a:lnTo>
                  <a:lnTo>
                    <a:pt x="728" y="2490"/>
                  </a:lnTo>
                  <a:lnTo>
                    <a:pt x="729" y="2490"/>
                  </a:lnTo>
                  <a:lnTo>
                    <a:pt x="729" y="2488"/>
                  </a:lnTo>
                  <a:lnTo>
                    <a:pt x="731" y="2490"/>
                  </a:lnTo>
                  <a:lnTo>
                    <a:pt x="731" y="2488"/>
                  </a:lnTo>
                  <a:lnTo>
                    <a:pt x="731" y="2490"/>
                  </a:lnTo>
                  <a:lnTo>
                    <a:pt x="729" y="2488"/>
                  </a:lnTo>
                  <a:lnTo>
                    <a:pt x="729" y="2490"/>
                  </a:lnTo>
                  <a:lnTo>
                    <a:pt x="728" y="2488"/>
                  </a:lnTo>
                  <a:lnTo>
                    <a:pt x="728" y="2490"/>
                  </a:lnTo>
                  <a:lnTo>
                    <a:pt x="726" y="2488"/>
                  </a:lnTo>
                  <a:lnTo>
                    <a:pt x="728" y="2488"/>
                  </a:lnTo>
                  <a:lnTo>
                    <a:pt x="728" y="2486"/>
                  </a:lnTo>
                  <a:lnTo>
                    <a:pt x="729" y="2486"/>
                  </a:lnTo>
                  <a:lnTo>
                    <a:pt x="728" y="2486"/>
                  </a:lnTo>
                  <a:lnTo>
                    <a:pt x="728" y="2484"/>
                  </a:lnTo>
                  <a:lnTo>
                    <a:pt x="729" y="2484"/>
                  </a:lnTo>
                  <a:lnTo>
                    <a:pt x="729" y="2486"/>
                  </a:lnTo>
                  <a:lnTo>
                    <a:pt x="731" y="2486"/>
                  </a:lnTo>
                  <a:lnTo>
                    <a:pt x="729" y="2484"/>
                  </a:lnTo>
                  <a:lnTo>
                    <a:pt x="729" y="2482"/>
                  </a:lnTo>
                  <a:lnTo>
                    <a:pt x="731" y="2482"/>
                  </a:lnTo>
                  <a:lnTo>
                    <a:pt x="731" y="2484"/>
                  </a:lnTo>
                  <a:lnTo>
                    <a:pt x="731" y="2482"/>
                  </a:lnTo>
                  <a:lnTo>
                    <a:pt x="733" y="2484"/>
                  </a:lnTo>
                  <a:lnTo>
                    <a:pt x="731" y="2482"/>
                  </a:lnTo>
                  <a:lnTo>
                    <a:pt x="733" y="2482"/>
                  </a:lnTo>
                  <a:lnTo>
                    <a:pt x="735" y="2484"/>
                  </a:lnTo>
                  <a:lnTo>
                    <a:pt x="735" y="2482"/>
                  </a:lnTo>
                  <a:lnTo>
                    <a:pt x="733" y="2482"/>
                  </a:lnTo>
                  <a:lnTo>
                    <a:pt x="735" y="2482"/>
                  </a:lnTo>
                  <a:lnTo>
                    <a:pt x="735" y="2484"/>
                  </a:lnTo>
                  <a:lnTo>
                    <a:pt x="735" y="2482"/>
                  </a:lnTo>
                  <a:lnTo>
                    <a:pt x="737" y="2482"/>
                  </a:lnTo>
                  <a:lnTo>
                    <a:pt x="739" y="2482"/>
                  </a:lnTo>
                  <a:lnTo>
                    <a:pt x="739" y="2484"/>
                  </a:lnTo>
                  <a:lnTo>
                    <a:pt x="741" y="2484"/>
                  </a:lnTo>
                  <a:lnTo>
                    <a:pt x="739" y="2484"/>
                  </a:lnTo>
                  <a:lnTo>
                    <a:pt x="739" y="2486"/>
                  </a:lnTo>
                  <a:lnTo>
                    <a:pt x="737" y="2486"/>
                  </a:lnTo>
                  <a:lnTo>
                    <a:pt x="735" y="2486"/>
                  </a:lnTo>
                  <a:lnTo>
                    <a:pt x="737" y="2486"/>
                  </a:lnTo>
                  <a:lnTo>
                    <a:pt x="735" y="2486"/>
                  </a:lnTo>
                  <a:lnTo>
                    <a:pt x="735" y="2488"/>
                  </a:lnTo>
                  <a:lnTo>
                    <a:pt x="735" y="2490"/>
                  </a:lnTo>
                  <a:lnTo>
                    <a:pt x="733" y="2490"/>
                  </a:lnTo>
                  <a:lnTo>
                    <a:pt x="735" y="2490"/>
                  </a:lnTo>
                  <a:lnTo>
                    <a:pt x="735" y="2492"/>
                  </a:lnTo>
                  <a:lnTo>
                    <a:pt x="735" y="2488"/>
                  </a:lnTo>
                  <a:lnTo>
                    <a:pt x="737" y="2488"/>
                  </a:lnTo>
                  <a:lnTo>
                    <a:pt x="737" y="2490"/>
                  </a:lnTo>
                  <a:lnTo>
                    <a:pt x="737" y="2488"/>
                  </a:lnTo>
                  <a:lnTo>
                    <a:pt x="735" y="2488"/>
                  </a:lnTo>
                  <a:lnTo>
                    <a:pt x="737" y="2488"/>
                  </a:lnTo>
                  <a:lnTo>
                    <a:pt x="737" y="2486"/>
                  </a:lnTo>
                  <a:lnTo>
                    <a:pt x="739" y="2486"/>
                  </a:lnTo>
                  <a:lnTo>
                    <a:pt x="741" y="2486"/>
                  </a:lnTo>
                  <a:lnTo>
                    <a:pt x="741" y="2484"/>
                  </a:lnTo>
                  <a:lnTo>
                    <a:pt x="743" y="2484"/>
                  </a:lnTo>
                  <a:lnTo>
                    <a:pt x="743" y="2486"/>
                  </a:lnTo>
                  <a:lnTo>
                    <a:pt x="743" y="2488"/>
                  </a:lnTo>
                  <a:lnTo>
                    <a:pt x="743" y="2490"/>
                  </a:lnTo>
                  <a:lnTo>
                    <a:pt x="743" y="2488"/>
                  </a:lnTo>
                  <a:lnTo>
                    <a:pt x="743" y="2486"/>
                  </a:lnTo>
                  <a:lnTo>
                    <a:pt x="745" y="2486"/>
                  </a:lnTo>
                  <a:lnTo>
                    <a:pt x="747" y="2486"/>
                  </a:lnTo>
                  <a:lnTo>
                    <a:pt x="747" y="2488"/>
                  </a:lnTo>
                  <a:lnTo>
                    <a:pt x="749" y="2488"/>
                  </a:lnTo>
                  <a:lnTo>
                    <a:pt x="749" y="2490"/>
                  </a:lnTo>
                  <a:lnTo>
                    <a:pt x="751" y="2490"/>
                  </a:lnTo>
                  <a:lnTo>
                    <a:pt x="751" y="2492"/>
                  </a:lnTo>
                  <a:lnTo>
                    <a:pt x="749" y="2494"/>
                  </a:lnTo>
                  <a:lnTo>
                    <a:pt x="747" y="2494"/>
                  </a:lnTo>
                  <a:lnTo>
                    <a:pt x="745" y="2494"/>
                  </a:lnTo>
                  <a:lnTo>
                    <a:pt x="743" y="2494"/>
                  </a:lnTo>
                  <a:lnTo>
                    <a:pt x="745" y="2494"/>
                  </a:lnTo>
                  <a:lnTo>
                    <a:pt x="747" y="2494"/>
                  </a:lnTo>
                  <a:lnTo>
                    <a:pt x="749" y="2495"/>
                  </a:lnTo>
                  <a:lnTo>
                    <a:pt x="747" y="2495"/>
                  </a:lnTo>
                  <a:lnTo>
                    <a:pt x="745" y="2495"/>
                  </a:lnTo>
                  <a:lnTo>
                    <a:pt x="743" y="2495"/>
                  </a:lnTo>
                  <a:lnTo>
                    <a:pt x="743" y="2497"/>
                  </a:lnTo>
                  <a:lnTo>
                    <a:pt x="741" y="2497"/>
                  </a:lnTo>
                  <a:lnTo>
                    <a:pt x="741" y="2495"/>
                  </a:lnTo>
                  <a:lnTo>
                    <a:pt x="741" y="2494"/>
                  </a:lnTo>
                  <a:lnTo>
                    <a:pt x="741" y="2495"/>
                  </a:lnTo>
                  <a:lnTo>
                    <a:pt x="741" y="2497"/>
                  </a:lnTo>
                  <a:lnTo>
                    <a:pt x="741" y="2499"/>
                  </a:lnTo>
                  <a:lnTo>
                    <a:pt x="739" y="2499"/>
                  </a:lnTo>
                  <a:lnTo>
                    <a:pt x="741" y="2499"/>
                  </a:lnTo>
                  <a:lnTo>
                    <a:pt x="741" y="2501"/>
                  </a:lnTo>
                  <a:lnTo>
                    <a:pt x="739" y="2501"/>
                  </a:lnTo>
                  <a:lnTo>
                    <a:pt x="741" y="2501"/>
                  </a:lnTo>
                  <a:lnTo>
                    <a:pt x="741" y="2503"/>
                  </a:lnTo>
                  <a:lnTo>
                    <a:pt x="741" y="2501"/>
                  </a:lnTo>
                  <a:lnTo>
                    <a:pt x="743" y="2501"/>
                  </a:lnTo>
                  <a:lnTo>
                    <a:pt x="743" y="2499"/>
                  </a:lnTo>
                  <a:lnTo>
                    <a:pt x="743" y="2501"/>
                  </a:lnTo>
                  <a:lnTo>
                    <a:pt x="743" y="2499"/>
                  </a:lnTo>
                  <a:lnTo>
                    <a:pt x="743" y="2501"/>
                  </a:lnTo>
                  <a:lnTo>
                    <a:pt x="741" y="2501"/>
                  </a:lnTo>
                  <a:lnTo>
                    <a:pt x="741" y="2499"/>
                  </a:lnTo>
                  <a:lnTo>
                    <a:pt x="741" y="2497"/>
                  </a:lnTo>
                  <a:lnTo>
                    <a:pt x="743" y="2497"/>
                  </a:lnTo>
                  <a:lnTo>
                    <a:pt x="745" y="2497"/>
                  </a:lnTo>
                  <a:lnTo>
                    <a:pt x="747" y="2495"/>
                  </a:lnTo>
                  <a:lnTo>
                    <a:pt x="749" y="2495"/>
                  </a:lnTo>
                  <a:lnTo>
                    <a:pt x="747" y="2495"/>
                  </a:lnTo>
                  <a:lnTo>
                    <a:pt x="747" y="2497"/>
                  </a:lnTo>
                  <a:lnTo>
                    <a:pt x="747" y="2495"/>
                  </a:lnTo>
                  <a:lnTo>
                    <a:pt x="749" y="2495"/>
                  </a:lnTo>
                  <a:lnTo>
                    <a:pt x="749" y="2497"/>
                  </a:lnTo>
                  <a:lnTo>
                    <a:pt x="747" y="2497"/>
                  </a:lnTo>
                  <a:lnTo>
                    <a:pt x="749" y="2497"/>
                  </a:lnTo>
                  <a:lnTo>
                    <a:pt x="749" y="2495"/>
                  </a:lnTo>
                  <a:lnTo>
                    <a:pt x="749" y="2494"/>
                  </a:lnTo>
                  <a:lnTo>
                    <a:pt x="751" y="2494"/>
                  </a:lnTo>
                  <a:lnTo>
                    <a:pt x="749" y="2495"/>
                  </a:lnTo>
                  <a:lnTo>
                    <a:pt x="751" y="2495"/>
                  </a:lnTo>
                  <a:lnTo>
                    <a:pt x="749" y="2495"/>
                  </a:lnTo>
                  <a:lnTo>
                    <a:pt x="749" y="2497"/>
                  </a:lnTo>
                  <a:lnTo>
                    <a:pt x="749" y="2495"/>
                  </a:lnTo>
                  <a:lnTo>
                    <a:pt x="751" y="2495"/>
                  </a:lnTo>
                  <a:lnTo>
                    <a:pt x="751" y="2494"/>
                  </a:lnTo>
                  <a:lnTo>
                    <a:pt x="753" y="2494"/>
                  </a:lnTo>
                  <a:lnTo>
                    <a:pt x="753" y="2495"/>
                  </a:lnTo>
                  <a:lnTo>
                    <a:pt x="753" y="2497"/>
                  </a:lnTo>
                  <a:lnTo>
                    <a:pt x="751" y="2497"/>
                  </a:lnTo>
                  <a:lnTo>
                    <a:pt x="749" y="2499"/>
                  </a:lnTo>
                  <a:lnTo>
                    <a:pt x="749" y="2501"/>
                  </a:lnTo>
                  <a:lnTo>
                    <a:pt x="747" y="2501"/>
                  </a:lnTo>
                  <a:lnTo>
                    <a:pt x="745" y="2499"/>
                  </a:lnTo>
                  <a:lnTo>
                    <a:pt x="747" y="2501"/>
                  </a:lnTo>
                  <a:lnTo>
                    <a:pt x="749" y="2501"/>
                  </a:lnTo>
                  <a:lnTo>
                    <a:pt x="749" y="2499"/>
                  </a:lnTo>
                  <a:lnTo>
                    <a:pt x="751" y="2499"/>
                  </a:lnTo>
                  <a:lnTo>
                    <a:pt x="753" y="2499"/>
                  </a:lnTo>
                  <a:lnTo>
                    <a:pt x="753" y="2501"/>
                  </a:lnTo>
                  <a:lnTo>
                    <a:pt x="754" y="2501"/>
                  </a:lnTo>
                  <a:lnTo>
                    <a:pt x="754" y="2503"/>
                  </a:lnTo>
                  <a:lnTo>
                    <a:pt x="753" y="2503"/>
                  </a:lnTo>
                  <a:lnTo>
                    <a:pt x="754" y="2503"/>
                  </a:lnTo>
                  <a:lnTo>
                    <a:pt x="753" y="2503"/>
                  </a:lnTo>
                  <a:lnTo>
                    <a:pt x="754" y="2503"/>
                  </a:lnTo>
                  <a:lnTo>
                    <a:pt x="754" y="2505"/>
                  </a:lnTo>
                  <a:lnTo>
                    <a:pt x="751" y="2505"/>
                  </a:lnTo>
                  <a:lnTo>
                    <a:pt x="753" y="2505"/>
                  </a:lnTo>
                  <a:lnTo>
                    <a:pt x="753" y="2507"/>
                  </a:lnTo>
                  <a:lnTo>
                    <a:pt x="751" y="2507"/>
                  </a:lnTo>
                  <a:lnTo>
                    <a:pt x="751" y="2509"/>
                  </a:lnTo>
                  <a:lnTo>
                    <a:pt x="751" y="2507"/>
                  </a:lnTo>
                  <a:lnTo>
                    <a:pt x="753" y="2507"/>
                  </a:lnTo>
                  <a:lnTo>
                    <a:pt x="753" y="2505"/>
                  </a:lnTo>
                  <a:lnTo>
                    <a:pt x="754" y="2505"/>
                  </a:lnTo>
                  <a:lnTo>
                    <a:pt x="753" y="2505"/>
                  </a:lnTo>
                  <a:lnTo>
                    <a:pt x="754" y="2505"/>
                  </a:lnTo>
                  <a:lnTo>
                    <a:pt x="753" y="2507"/>
                  </a:lnTo>
                  <a:lnTo>
                    <a:pt x="754" y="2505"/>
                  </a:lnTo>
                  <a:lnTo>
                    <a:pt x="754" y="2507"/>
                  </a:lnTo>
                  <a:lnTo>
                    <a:pt x="754" y="2509"/>
                  </a:lnTo>
                  <a:lnTo>
                    <a:pt x="754" y="2511"/>
                  </a:lnTo>
                  <a:lnTo>
                    <a:pt x="754" y="2509"/>
                  </a:lnTo>
                  <a:lnTo>
                    <a:pt x="754" y="2507"/>
                  </a:lnTo>
                  <a:lnTo>
                    <a:pt x="756" y="2505"/>
                  </a:lnTo>
                  <a:lnTo>
                    <a:pt x="756" y="2503"/>
                  </a:lnTo>
                  <a:lnTo>
                    <a:pt x="758" y="2505"/>
                  </a:lnTo>
                  <a:lnTo>
                    <a:pt x="758" y="2507"/>
                  </a:lnTo>
                  <a:lnTo>
                    <a:pt x="758" y="2509"/>
                  </a:lnTo>
                  <a:lnTo>
                    <a:pt x="760" y="2509"/>
                  </a:lnTo>
                  <a:lnTo>
                    <a:pt x="760" y="2511"/>
                  </a:lnTo>
                  <a:lnTo>
                    <a:pt x="762" y="2513"/>
                  </a:lnTo>
                  <a:lnTo>
                    <a:pt x="762" y="2515"/>
                  </a:lnTo>
                  <a:lnTo>
                    <a:pt x="764" y="2515"/>
                  </a:lnTo>
                  <a:lnTo>
                    <a:pt x="764" y="2517"/>
                  </a:lnTo>
                  <a:lnTo>
                    <a:pt x="762" y="2513"/>
                  </a:lnTo>
                  <a:lnTo>
                    <a:pt x="760" y="2511"/>
                  </a:lnTo>
                  <a:lnTo>
                    <a:pt x="758" y="2511"/>
                  </a:lnTo>
                  <a:lnTo>
                    <a:pt x="760" y="2511"/>
                  </a:lnTo>
                  <a:lnTo>
                    <a:pt x="758" y="2511"/>
                  </a:lnTo>
                  <a:lnTo>
                    <a:pt x="758" y="2513"/>
                  </a:lnTo>
                  <a:lnTo>
                    <a:pt x="758" y="2515"/>
                  </a:lnTo>
                  <a:lnTo>
                    <a:pt x="756" y="2515"/>
                  </a:lnTo>
                  <a:lnTo>
                    <a:pt x="758" y="2515"/>
                  </a:lnTo>
                  <a:lnTo>
                    <a:pt x="758" y="2517"/>
                  </a:lnTo>
                  <a:lnTo>
                    <a:pt x="756" y="2517"/>
                  </a:lnTo>
                  <a:lnTo>
                    <a:pt x="756" y="2515"/>
                  </a:lnTo>
                  <a:lnTo>
                    <a:pt x="754" y="2515"/>
                  </a:lnTo>
                  <a:lnTo>
                    <a:pt x="754" y="2517"/>
                  </a:lnTo>
                  <a:lnTo>
                    <a:pt x="756" y="2517"/>
                  </a:lnTo>
                  <a:lnTo>
                    <a:pt x="754" y="2517"/>
                  </a:lnTo>
                  <a:lnTo>
                    <a:pt x="753" y="2519"/>
                  </a:lnTo>
                  <a:lnTo>
                    <a:pt x="753" y="2517"/>
                  </a:lnTo>
                  <a:lnTo>
                    <a:pt x="754" y="2517"/>
                  </a:lnTo>
                  <a:lnTo>
                    <a:pt x="751" y="2519"/>
                  </a:lnTo>
                  <a:lnTo>
                    <a:pt x="751" y="2520"/>
                  </a:lnTo>
                  <a:lnTo>
                    <a:pt x="749" y="2522"/>
                  </a:lnTo>
                  <a:lnTo>
                    <a:pt x="747" y="2522"/>
                  </a:lnTo>
                  <a:lnTo>
                    <a:pt x="745" y="2524"/>
                  </a:lnTo>
                  <a:lnTo>
                    <a:pt x="743" y="2524"/>
                  </a:lnTo>
                  <a:lnTo>
                    <a:pt x="743" y="2526"/>
                  </a:lnTo>
                  <a:lnTo>
                    <a:pt x="741" y="2526"/>
                  </a:lnTo>
                  <a:lnTo>
                    <a:pt x="741" y="2528"/>
                  </a:lnTo>
                  <a:lnTo>
                    <a:pt x="739" y="2528"/>
                  </a:lnTo>
                  <a:lnTo>
                    <a:pt x="737" y="2530"/>
                  </a:lnTo>
                  <a:lnTo>
                    <a:pt x="735" y="2530"/>
                  </a:lnTo>
                  <a:lnTo>
                    <a:pt x="735" y="2532"/>
                  </a:lnTo>
                  <a:lnTo>
                    <a:pt x="733" y="2532"/>
                  </a:lnTo>
                  <a:lnTo>
                    <a:pt x="731" y="2534"/>
                  </a:lnTo>
                  <a:lnTo>
                    <a:pt x="733" y="2534"/>
                  </a:lnTo>
                  <a:lnTo>
                    <a:pt x="733" y="2532"/>
                  </a:lnTo>
                  <a:lnTo>
                    <a:pt x="735" y="2532"/>
                  </a:lnTo>
                  <a:lnTo>
                    <a:pt x="735" y="2530"/>
                  </a:lnTo>
                  <a:lnTo>
                    <a:pt x="737" y="2530"/>
                  </a:lnTo>
                  <a:lnTo>
                    <a:pt x="739" y="2528"/>
                  </a:lnTo>
                  <a:lnTo>
                    <a:pt x="741" y="2528"/>
                  </a:lnTo>
                  <a:lnTo>
                    <a:pt x="741" y="2526"/>
                  </a:lnTo>
                  <a:lnTo>
                    <a:pt x="743" y="2524"/>
                  </a:lnTo>
                  <a:lnTo>
                    <a:pt x="745" y="2524"/>
                  </a:lnTo>
                  <a:lnTo>
                    <a:pt x="747" y="2522"/>
                  </a:lnTo>
                  <a:lnTo>
                    <a:pt x="749" y="2522"/>
                  </a:lnTo>
                  <a:lnTo>
                    <a:pt x="751" y="2520"/>
                  </a:lnTo>
                  <a:lnTo>
                    <a:pt x="753" y="2519"/>
                  </a:lnTo>
                  <a:lnTo>
                    <a:pt x="754" y="2519"/>
                  </a:lnTo>
                  <a:lnTo>
                    <a:pt x="756" y="2517"/>
                  </a:lnTo>
                  <a:lnTo>
                    <a:pt x="758" y="2517"/>
                  </a:lnTo>
                  <a:lnTo>
                    <a:pt x="756" y="2517"/>
                  </a:lnTo>
                  <a:lnTo>
                    <a:pt x="758" y="2519"/>
                  </a:lnTo>
                  <a:lnTo>
                    <a:pt x="758" y="2517"/>
                  </a:lnTo>
                  <a:lnTo>
                    <a:pt x="758" y="2515"/>
                  </a:lnTo>
                  <a:lnTo>
                    <a:pt x="760" y="2515"/>
                  </a:lnTo>
                  <a:lnTo>
                    <a:pt x="760" y="2517"/>
                  </a:lnTo>
                  <a:lnTo>
                    <a:pt x="762" y="2517"/>
                  </a:lnTo>
                  <a:lnTo>
                    <a:pt x="762" y="2519"/>
                  </a:lnTo>
                  <a:lnTo>
                    <a:pt x="762" y="2517"/>
                  </a:lnTo>
                  <a:lnTo>
                    <a:pt x="762" y="2519"/>
                  </a:lnTo>
                  <a:lnTo>
                    <a:pt x="764" y="2519"/>
                  </a:lnTo>
                  <a:lnTo>
                    <a:pt x="764" y="2520"/>
                  </a:lnTo>
                  <a:lnTo>
                    <a:pt x="762" y="2520"/>
                  </a:lnTo>
                  <a:lnTo>
                    <a:pt x="762" y="2522"/>
                  </a:lnTo>
                  <a:lnTo>
                    <a:pt x="764" y="2520"/>
                  </a:lnTo>
                  <a:lnTo>
                    <a:pt x="764" y="2522"/>
                  </a:lnTo>
                  <a:lnTo>
                    <a:pt x="764" y="2520"/>
                  </a:lnTo>
                  <a:lnTo>
                    <a:pt x="766" y="2520"/>
                  </a:lnTo>
                  <a:lnTo>
                    <a:pt x="764" y="2520"/>
                  </a:lnTo>
                  <a:lnTo>
                    <a:pt x="766" y="2520"/>
                  </a:lnTo>
                  <a:lnTo>
                    <a:pt x="764" y="2520"/>
                  </a:lnTo>
                  <a:lnTo>
                    <a:pt x="766" y="2520"/>
                  </a:lnTo>
                  <a:lnTo>
                    <a:pt x="764" y="2522"/>
                  </a:lnTo>
                  <a:lnTo>
                    <a:pt x="766" y="2522"/>
                  </a:lnTo>
                  <a:lnTo>
                    <a:pt x="768" y="2522"/>
                  </a:lnTo>
                  <a:lnTo>
                    <a:pt x="768" y="2524"/>
                  </a:lnTo>
                  <a:lnTo>
                    <a:pt x="751" y="2545"/>
                  </a:lnTo>
                  <a:lnTo>
                    <a:pt x="739" y="2557"/>
                  </a:lnTo>
                  <a:lnTo>
                    <a:pt x="735" y="2561"/>
                  </a:lnTo>
                  <a:lnTo>
                    <a:pt x="733" y="2563"/>
                  </a:lnTo>
                  <a:lnTo>
                    <a:pt x="728" y="2570"/>
                  </a:lnTo>
                  <a:lnTo>
                    <a:pt x="724" y="2574"/>
                  </a:lnTo>
                  <a:lnTo>
                    <a:pt x="712" y="2588"/>
                  </a:lnTo>
                  <a:lnTo>
                    <a:pt x="705" y="2595"/>
                  </a:lnTo>
                  <a:lnTo>
                    <a:pt x="703" y="2595"/>
                  </a:lnTo>
                  <a:lnTo>
                    <a:pt x="703" y="2597"/>
                  </a:lnTo>
                  <a:lnTo>
                    <a:pt x="701" y="2597"/>
                  </a:lnTo>
                  <a:lnTo>
                    <a:pt x="699" y="2599"/>
                  </a:lnTo>
                  <a:lnTo>
                    <a:pt x="697" y="2601"/>
                  </a:lnTo>
                  <a:lnTo>
                    <a:pt x="678" y="2613"/>
                  </a:lnTo>
                  <a:lnTo>
                    <a:pt x="674" y="2615"/>
                  </a:lnTo>
                  <a:lnTo>
                    <a:pt x="657" y="2624"/>
                  </a:lnTo>
                  <a:lnTo>
                    <a:pt x="643" y="2632"/>
                  </a:lnTo>
                  <a:lnTo>
                    <a:pt x="639" y="2636"/>
                  </a:lnTo>
                  <a:lnTo>
                    <a:pt x="635" y="2638"/>
                  </a:lnTo>
                  <a:lnTo>
                    <a:pt x="634" y="2638"/>
                  </a:lnTo>
                  <a:lnTo>
                    <a:pt x="634" y="2640"/>
                  </a:lnTo>
                  <a:lnTo>
                    <a:pt x="632" y="2640"/>
                  </a:lnTo>
                  <a:lnTo>
                    <a:pt x="630" y="2641"/>
                  </a:lnTo>
                  <a:lnTo>
                    <a:pt x="622" y="2645"/>
                  </a:lnTo>
                  <a:lnTo>
                    <a:pt x="622" y="2647"/>
                  </a:lnTo>
                  <a:lnTo>
                    <a:pt x="620" y="2647"/>
                  </a:lnTo>
                  <a:lnTo>
                    <a:pt x="618" y="2647"/>
                  </a:lnTo>
                  <a:lnTo>
                    <a:pt x="614" y="2649"/>
                  </a:lnTo>
                  <a:lnTo>
                    <a:pt x="610" y="2653"/>
                  </a:lnTo>
                  <a:lnTo>
                    <a:pt x="609" y="2653"/>
                  </a:lnTo>
                  <a:lnTo>
                    <a:pt x="609" y="2655"/>
                  </a:lnTo>
                  <a:lnTo>
                    <a:pt x="607" y="2657"/>
                  </a:lnTo>
                  <a:lnTo>
                    <a:pt x="603" y="2659"/>
                  </a:lnTo>
                  <a:lnTo>
                    <a:pt x="599" y="2659"/>
                  </a:lnTo>
                  <a:lnTo>
                    <a:pt x="595" y="2659"/>
                  </a:lnTo>
                  <a:lnTo>
                    <a:pt x="587" y="2661"/>
                  </a:lnTo>
                  <a:lnTo>
                    <a:pt x="586" y="2661"/>
                  </a:lnTo>
                  <a:lnTo>
                    <a:pt x="586" y="2655"/>
                  </a:lnTo>
                  <a:lnTo>
                    <a:pt x="584" y="2653"/>
                  </a:lnTo>
                  <a:lnTo>
                    <a:pt x="584" y="2655"/>
                  </a:lnTo>
                  <a:lnTo>
                    <a:pt x="582" y="2655"/>
                  </a:lnTo>
                  <a:lnTo>
                    <a:pt x="584" y="2655"/>
                  </a:lnTo>
                  <a:lnTo>
                    <a:pt x="580" y="2657"/>
                  </a:lnTo>
                  <a:lnTo>
                    <a:pt x="578" y="2657"/>
                  </a:lnTo>
                  <a:lnTo>
                    <a:pt x="576" y="2657"/>
                  </a:lnTo>
                  <a:lnTo>
                    <a:pt x="574" y="2659"/>
                  </a:lnTo>
                  <a:lnTo>
                    <a:pt x="572" y="2659"/>
                  </a:lnTo>
                  <a:lnTo>
                    <a:pt x="572" y="2657"/>
                  </a:lnTo>
                  <a:lnTo>
                    <a:pt x="572" y="2655"/>
                  </a:lnTo>
                  <a:lnTo>
                    <a:pt x="570" y="2653"/>
                  </a:lnTo>
                  <a:lnTo>
                    <a:pt x="566" y="2653"/>
                  </a:lnTo>
                  <a:lnTo>
                    <a:pt x="564" y="2653"/>
                  </a:lnTo>
                  <a:lnTo>
                    <a:pt x="561" y="2655"/>
                  </a:lnTo>
                  <a:lnTo>
                    <a:pt x="559" y="2655"/>
                  </a:lnTo>
                  <a:lnTo>
                    <a:pt x="557" y="2657"/>
                  </a:lnTo>
                  <a:lnTo>
                    <a:pt x="555" y="2659"/>
                  </a:lnTo>
                  <a:lnTo>
                    <a:pt x="553" y="2659"/>
                  </a:lnTo>
                  <a:lnTo>
                    <a:pt x="551" y="2661"/>
                  </a:lnTo>
                  <a:lnTo>
                    <a:pt x="551" y="2663"/>
                  </a:lnTo>
                  <a:lnTo>
                    <a:pt x="549" y="2663"/>
                  </a:lnTo>
                  <a:lnTo>
                    <a:pt x="547" y="2663"/>
                  </a:lnTo>
                  <a:lnTo>
                    <a:pt x="545" y="2663"/>
                  </a:lnTo>
                  <a:lnTo>
                    <a:pt x="543" y="2665"/>
                  </a:lnTo>
                  <a:lnTo>
                    <a:pt x="541" y="2666"/>
                  </a:lnTo>
                  <a:lnTo>
                    <a:pt x="539" y="2668"/>
                  </a:lnTo>
                  <a:lnTo>
                    <a:pt x="539" y="2666"/>
                  </a:lnTo>
                  <a:lnTo>
                    <a:pt x="538" y="2668"/>
                  </a:lnTo>
                  <a:lnTo>
                    <a:pt x="536" y="2672"/>
                  </a:lnTo>
                  <a:lnTo>
                    <a:pt x="534" y="2672"/>
                  </a:lnTo>
                  <a:lnTo>
                    <a:pt x="534" y="2674"/>
                  </a:lnTo>
                  <a:lnTo>
                    <a:pt x="534" y="2676"/>
                  </a:lnTo>
                  <a:lnTo>
                    <a:pt x="532" y="2676"/>
                  </a:lnTo>
                  <a:lnTo>
                    <a:pt x="532" y="2678"/>
                  </a:lnTo>
                  <a:lnTo>
                    <a:pt x="530" y="2678"/>
                  </a:lnTo>
                  <a:lnTo>
                    <a:pt x="528" y="2678"/>
                  </a:lnTo>
                  <a:lnTo>
                    <a:pt x="526" y="2678"/>
                  </a:lnTo>
                  <a:lnTo>
                    <a:pt x="524" y="2678"/>
                  </a:lnTo>
                  <a:lnTo>
                    <a:pt x="522" y="2678"/>
                  </a:lnTo>
                  <a:lnTo>
                    <a:pt x="518" y="2678"/>
                  </a:lnTo>
                  <a:lnTo>
                    <a:pt x="518" y="2680"/>
                  </a:lnTo>
                  <a:lnTo>
                    <a:pt x="518" y="2682"/>
                  </a:lnTo>
                  <a:lnTo>
                    <a:pt x="518" y="2684"/>
                  </a:lnTo>
                  <a:lnTo>
                    <a:pt x="516" y="2684"/>
                  </a:lnTo>
                  <a:lnTo>
                    <a:pt x="515" y="2684"/>
                  </a:lnTo>
                  <a:lnTo>
                    <a:pt x="515" y="2686"/>
                  </a:lnTo>
                  <a:lnTo>
                    <a:pt x="515" y="2688"/>
                  </a:lnTo>
                  <a:lnTo>
                    <a:pt x="513" y="2690"/>
                  </a:lnTo>
                  <a:lnTo>
                    <a:pt x="509" y="2688"/>
                  </a:lnTo>
                  <a:lnTo>
                    <a:pt x="507" y="2688"/>
                  </a:lnTo>
                  <a:lnTo>
                    <a:pt x="507" y="2690"/>
                  </a:lnTo>
                  <a:lnTo>
                    <a:pt x="505" y="2690"/>
                  </a:lnTo>
                  <a:lnTo>
                    <a:pt x="503" y="2690"/>
                  </a:lnTo>
                  <a:lnTo>
                    <a:pt x="501" y="2690"/>
                  </a:lnTo>
                  <a:lnTo>
                    <a:pt x="497" y="2690"/>
                  </a:lnTo>
                  <a:lnTo>
                    <a:pt x="499" y="2691"/>
                  </a:lnTo>
                  <a:lnTo>
                    <a:pt x="491" y="2693"/>
                  </a:lnTo>
                  <a:lnTo>
                    <a:pt x="490" y="2690"/>
                  </a:lnTo>
                  <a:lnTo>
                    <a:pt x="490" y="2688"/>
                  </a:lnTo>
                  <a:lnTo>
                    <a:pt x="490" y="2686"/>
                  </a:lnTo>
                  <a:lnTo>
                    <a:pt x="488" y="2682"/>
                  </a:lnTo>
                  <a:lnTo>
                    <a:pt x="484" y="2686"/>
                  </a:lnTo>
                  <a:lnTo>
                    <a:pt x="480" y="2686"/>
                  </a:lnTo>
                  <a:lnTo>
                    <a:pt x="478" y="2686"/>
                  </a:lnTo>
                  <a:lnTo>
                    <a:pt x="478" y="2688"/>
                  </a:lnTo>
                  <a:lnTo>
                    <a:pt x="476" y="2688"/>
                  </a:lnTo>
                  <a:lnTo>
                    <a:pt x="474" y="2688"/>
                  </a:lnTo>
                  <a:lnTo>
                    <a:pt x="476" y="2695"/>
                  </a:lnTo>
                  <a:lnTo>
                    <a:pt x="476" y="2697"/>
                  </a:lnTo>
                  <a:lnTo>
                    <a:pt x="474" y="2697"/>
                  </a:lnTo>
                  <a:lnTo>
                    <a:pt x="472" y="2697"/>
                  </a:lnTo>
                  <a:lnTo>
                    <a:pt x="472" y="2699"/>
                  </a:lnTo>
                  <a:lnTo>
                    <a:pt x="470" y="2701"/>
                  </a:lnTo>
                  <a:lnTo>
                    <a:pt x="465" y="2703"/>
                  </a:lnTo>
                  <a:lnTo>
                    <a:pt x="463" y="2703"/>
                  </a:lnTo>
                  <a:lnTo>
                    <a:pt x="461" y="2705"/>
                  </a:lnTo>
                  <a:lnTo>
                    <a:pt x="459" y="2705"/>
                  </a:lnTo>
                  <a:lnTo>
                    <a:pt x="457" y="2705"/>
                  </a:lnTo>
                  <a:lnTo>
                    <a:pt x="457" y="2703"/>
                  </a:lnTo>
                  <a:lnTo>
                    <a:pt x="455" y="2703"/>
                  </a:lnTo>
                  <a:lnTo>
                    <a:pt x="453" y="2703"/>
                  </a:lnTo>
                  <a:lnTo>
                    <a:pt x="451" y="2705"/>
                  </a:lnTo>
                  <a:lnTo>
                    <a:pt x="449" y="2705"/>
                  </a:lnTo>
                  <a:lnTo>
                    <a:pt x="447" y="2705"/>
                  </a:lnTo>
                  <a:lnTo>
                    <a:pt x="447" y="2707"/>
                  </a:lnTo>
                  <a:lnTo>
                    <a:pt x="447" y="2705"/>
                  </a:lnTo>
                  <a:lnTo>
                    <a:pt x="445" y="2703"/>
                  </a:lnTo>
                  <a:lnTo>
                    <a:pt x="445" y="2701"/>
                  </a:lnTo>
                  <a:lnTo>
                    <a:pt x="445" y="2699"/>
                  </a:lnTo>
                  <a:lnTo>
                    <a:pt x="443" y="2697"/>
                  </a:lnTo>
                  <a:lnTo>
                    <a:pt x="442" y="2697"/>
                  </a:lnTo>
                  <a:lnTo>
                    <a:pt x="442" y="2695"/>
                  </a:lnTo>
                  <a:lnTo>
                    <a:pt x="440" y="2695"/>
                  </a:lnTo>
                  <a:lnTo>
                    <a:pt x="442" y="2695"/>
                  </a:lnTo>
                  <a:lnTo>
                    <a:pt x="442" y="2693"/>
                  </a:lnTo>
                  <a:lnTo>
                    <a:pt x="443" y="2693"/>
                  </a:lnTo>
                  <a:lnTo>
                    <a:pt x="445" y="2691"/>
                  </a:lnTo>
                  <a:lnTo>
                    <a:pt x="449" y="2690"/>
                  </a:lnTo>
                  <a:lnTo>
                    <a:pt x="451" y="2688"/>
                  </a:lnTo>
                  <a:lnTo>
                    <a:pt x="453" y="2688"/>
                  </a:lnTo>
                  <a:lnTo>
                    <a:pt x="455" y="2684"/>
                  </a:lnTo>
                  <a:lnTo>
                    <a:pt x="455" y="2682"/>
                  </a:lnTo>
                  <a:lnTo>
                    <a:pt x="455" y="2680"/>
                  </a:lnTo>
                  <a:lnTo>
                    <a:pt x="453" y="2676"/>
                  </a:lnTo>
                  <a:lnTo>
                    <a:pt x="453" y="2674"/>
                  </a:lnTo>
                  <a:lnTo>
                    <a:pt x="451" y="2674"/>
                  </a:lnTo>
                  <a:lnTo>
                    <a:pt x="447" y="2676"/>
                  </a:lnTo>
                  <a:lnTo>
                    <a:pt x="445" y="2678"/>
                  </a:lnTo>
                  <a:lnTo>
                    <a:pt x="443" y="2678"/>
                  </a:lnTo>
                  <a:lnTo>
                    <a:pt x="442" y="2680"/>
                  </a:lnTo>
                  <a:lnTo>
                    <a:pt x="434" y="2684"/>
                  </a:lnTo>
                  <a:lnTo>
                    <a:pt x="432" y="2686"/>
                  </a:lnTo>
                  <a:lnTo>
                    <a:pt x="430" y="2686"/>
                  </a:lnTo>
                  <a:lnTo>
                    <a:pt x="428" y="2688"/>
                  </a:lnTo>
                  <a:lnTo>
                    <a:pt x="426" y="2688"/>
                  </a:lnTo>
                  <a:lnTo>
                    <a:pt x="424" y="2690"/>
                  </a:lnTo>
                  <a:lnTo>
                    <a:pt x="422" y="2690"/>
                  </a:lnTo>
                  <a:lnTo>
                    <a:pt x="419" y="2686"/>
                  </a:lnTo>
                  <a:lnTo>
                    <a:pt x="417" y="2688"/>
                  </a:lnTo>
                  <a:lnTo>
                    <a:pt x="413" y="2686"/>
                  </a:lnTo>
                  <a:lnTo>
                    <a:pt x="411" y="2686"/>
                  </a:lnTo>
                  <a:lnTo>
                    <a:pt x="407" y="2684"/>
                  </a:lnTo>
                  <a:lnTo>
                    <a:pt x="405" y="2684"/>
                  </a:lnTo>
                  <a:lnTo>
                    <a:pt x="403" y="2686"/>
                  </a:lnTo>
                  <a:lnTo>
                    <a:pt x="396" y="2690"/>
                  </a:lnTo>
                  <a:lnTo>
                    <a:pt x="396" y="2688"/>
                  </a:lnTo>
                  <a:lnTo>
                    <a:pt x="396" y="2690"/>
                  </a:lnTo>
                  <a:lnTo>
                    <a:pt x="394" y="2690"/>
                  </a:lnTo>
                  <a:lnTo>
                    <a:pt x="392" y="2690"/>
                  </a:lnTo>
                  <a:lnTo>
                    <a:pt x="390" y="2688"/>
                  </a:lnTo>
                  <a:lnTo>
                    <a:pt x="386" y="2686"/>
                  </a:lnTo>
                  <a:lnTo>
                    <a:pt x="382" y="2684"/>
                  </a:lnTo>
                  <a:lnTo>
                    <a:pt x="378" y="2684"/>
                  </a:lnTo>
                  <a:lnTo>
                    <a:pt x="378" y="2682"/>
                  </a:lnTo>
                  <a:lnTo>
                    <a:pt x="376" y="2682"/>
                  </a:lnTo>
                  <a:lnTo>
                    <a:pt x="378" y="2686"/>
                  </a:lnTo>
                  <a:lnTo>
                    <a:pt x="374" y="2686"/>
                  </a:lnTo>
                  <a:lnTo>
                    <a:pt x="372" y="2686"/>
                  </a:lnTo>
                  <a:lnTo>
                    <a:pt x="371" y="2682"/>
                  </a:lnTo>
                  <a:lnTo>
                    <a:pt x="369" y="2680"/>
                  </a:lnTo>
                  <a:lnTo>
                    <a:pt x="367" y="2680"/>
                  </a:lnTo>
                  <a:lnTo>
                    <a:pt x="365" y="2680"/>
                  </a:lnTo>
                  <a:lnTo>
                    <a:pt x="365" y="2678"/>
                  </a:lnTo>
                  <a:lnTo>
                    <a:pt x="365" y="2676"/>
                  </a:lnTo>
                  <a:lnTo>
                    <a:pt x="365" y="2674"/>
                  </a:lnTo>
                  <a:lnTo>
                    <a:pt x="365" y="2672"/>
                  </a:lnTo>
                  <a:lnTo>
                    <a:pt x="365" y="2668"/>
                  </a:lnTo>
                  <a:lnTo>
                    <a:pt x="365" y="2666"/>
                  </a:lnTo>
                  <a:lnTo>
                    <a:pt x="365" y="2665"/>
                  </a:lnTo>
                  <a:lnTo>
                    <a:pt x="365" y="2663"/>
                  </a:lnTo>
                  <a:lnTo>
                    <a:pt x="365" y="2661"/>
                  </a:lnTo>
                  <a:lnTo>
                    <a:pt x="365" y="2659"/>
                  </a:lnTo>
                  <a:lnTo>
                    <a:pt x="365" y="2657"/>
                  </a:lnTo>
                  <a:lnTo>
                    <a:pt x="367" y="2655"/>
                  </a:lnTo>
                  <a:lnTo>
                    <a:pt x="367" y="2653"/>
                  </a:lnTo>
                  <a:lnTo>
                    <a:pt x="367" y="2651"/>
                  </a:lnTo>
                  <a:lnTo>
                    <a:pt x="367" y="2649"/>
                  </a:lnTo>
                  <a:lnTo>
                    <a:pt x="367" y="2647"/>
                  </a:lnTo>
                  <a:lnTo>
                    <a:pt x="367" y="2643"/>
                  </a:lnTo>
                  <a:lnTo>
                    <a:pt x="369" y="2636"/>
                  </a:lnTo>
                  <a:lnTo>
                    <a:pt x="369" y="2632"/>
                  </a:lnTo>
                  <a:lnTo>
                    <a:pt x="374" y="2622"/>
                  </a:lnTo>
                  <a:lnTo>
                    <a:pt x="367" y="2618"/>
                  </a:lnTo>
                  <a:lnTo>
                    <a:pt x="367" y="2617"/>
                  </a:lnTo>
                  <a:lnTo>
                    <a:pt x="365" y="2617"/>
                  </a:lnTo>
                  <a:lnTo>
                    <a:pt x="361" y="2611"/>
                  </a:lnTo>
                  <a:lnTo>
                    <a:pt x="357" y="2609"/>
                  </a:lnTo>
                  <a:lnTo>
                    <a:pt x="355" y="2611"/>
                  </a:lnTo>
                  <a:lnTo>
                    <a:pt x="351" y="2615"/>
                  </a:lnTo>
                  <a:lnTo>
                    <a:pt x="346" y="2611"/>
                  </a:lnTo>
                  <a:lnTo>
                    <a:pt x="344" y="2607"/>
                  </a:lnTo>
                  <a:lnTo>
                    <a:pt x="346" y="2605"/>
                  </a:lnTo>
                  <a:lnTo>
                    <a:pt x="344" y="2605"/>
                  </a:lnTo>
                  <a:lnTo>
                    <a:pt x="342" y="2603"/>
                  </a:lnTo>
                  <a:lnTo>
                    <a:pt x="342" y="2599"/>
                  </a:lnTo>
                  <a:lnTo>
                    <a:pt x="340" y="2599"/>
                  </a:lnTo>
                  <a:lnTo>
                    <a:pt x="338" y="2599"/>
                  </a:lnTo>
                  <a:lnTo>
                    <a:pt x="332" y="2597"/>
                  </a:lnTo>
                  <a:lnTo>
                    <a:pt x="319" y="2593"/>
                  </a:lnTo>
                  <a:lnTo>
                    <a:pt x="317" y="2592"/>
                  </a:lnTo>
                  <a:lnTo>
                    <a:pt x="313" y="2592"/>
                  </a:lnTo>
                  <a:lnTo>
                    <a:pt x="311" y="2592"/>
                  </a:lnTo>
                  <a:lnTo>
                    <a:pt x="309" y="2593"/>
                  </a:lnTo>
                  <a:lnTo>
                    <a:pt x="305" y="2593"/>
                  </a:lnTo>
                  <a:lnTo>
                    <a:pt x="303" y="2593"/>
                  </a:lnTo>
                  <a:lnTo>
                    <a:pt x="303" y="2592"/>
                  </a:lnTo>
                  <a:lnTo>
                    <a:pt x="301" y="2592"/>
                  </a:lnTo>
                  <a:lnTo>
                    <a:pt x="300" y="2590"/>
                  </a:lnTo>
                  <a:lnTo>
                    <a:pt x="298" y="2590"/>
                  </a:lnTo>
                  <a:lnTo>
                    <a:pt x="288" y="2586"/>
                  </a:lnTo>
                  <a:lnTo>
                    <a:pt x="288" y="2584"/>
                  </a:lnTo>
                  <a:lnTo>
                    <a:pt x="286" y="2580"/>
                  </a:lnTo>
                  <a:lnTo>
                    <a:pt x="282" y="2578"/>
                  </a:lnTo>
                  <a:lnTo>
                    <a:pt x="278" y="2578"/>
                  </a:lnTo>
                  <a:lnTo>
                    <a:pt x="275" y="2578"/>
                  </a:lnTo>
                  <a:lnTo>
                    <a:pt x="275" y="2574"/>
                  </a:lnTo>
                  <a:lnTo>
                    <a:pt x="273" y="2574"/>
                  </a:lnTo>
                  <a:lnTo>
                    <a:pt x="269" y="2570"/>
                  </a:lnTo>
                  <a:lnTo>
                    <a:pt x="263" y="2567"/>
                  </a:lnTo>
                  <a:lnTo>
                    <a:pt x="259" y="2563"/>
                  </a:lnTo>
                  <a:lnTo>
                    <a:pt x="255" y="2563"/>
                  </a:lnTo>
                  <a:lnTo>
                    <a:pt x="248" y="2563"/>
                  </a:lnTo>
                  <a:lnTo>
                    <a:pt x="246" y="2565"/>
                  </a:lnTo>
                  <a:lnTo>
                    <a:pt x="244" y="2565"/>
                  </a:lnTo>
                  <a:lnTo>
                    <a:pt x="238" y="2561"/>
                  </a:lnTo>
                  <a:lnTo>
                    <a:pt x="236" y="2561"/>
                  </a:lnTo>
                  <a:lnTo>
                    <a:pt x="236" y="2559"/>
                  </a:lnTo>
                  <a:lnTo>
                    <a:pt x="232" y="2557"/>
                  </a:lnTo>
                  <a:lnTo>
                    <a:pt x="230" y="2557"/>
                  </a:lnTo>
                  <a:lnTo>
                    <a:pt x="229" y="2557"/>
                  </a:lnTo>
                  <a:lnTo>
                    <a:pt x="227" y="2557"/>
                  </a:lnTo>
                  <a:lnTo>
                    <a:pt x="225" y="2555"/>
                  </a:lnTo>
                  <a:lnTo>
                    <a:pt x="225" y="2553"/>
                  </a:lnTo>
                  <a:lnTo>
                    <a:pt x="223" y="2551"/>
                  </a:lnTo>
                  <a:lnTo>
                    <a:pt x="223" y="2549"/>
                  </a:lnTo>
                  <a:lnTo>
                    <a:pt x="221" y="2549"/>
                  </a:lnTo>
                  <a:lnTo>
                    <a:pt x="213" y="2545"/>
                  </a:lnTo>
                  <a:lnTo>
                    <a:pt x="202" y="2538"/>
                  </a:lnTo>
                  <a:lnTo>
                    <a:pt x="204" y="2538"/>
                  </a:lnTo>
                  <a:lnTo>
                    <a:pt x="202" y="2536"/>
                  </a:lnTo>
                  <a:lnTo>
                    <a:pt x="198" y="2542"/>
                  </a:lnTo>
                  <a:lnTo>
                    <a:pt x="194" y="2545"/>
                  </a:lnTo>
                  <a:lnTo>
                    <a:pt x="192" y="2545"/>
                  </a:lnTo>
                  <a:lnTo>
                    <a:pt x="194" y="2549"/>
                  </a:lnTo>
                  <a:lnTo>
                    <a:pt x="196" y="2551"/>
                  </a:lnTo>
                  <a:lnTo>
                    <a:pt x="198" y="2553"/>
                  </a:lnTo>
                  <a:lnTo>
                    <a:pt x="196" y="2555"/>
                  </a:lnTo>
                  <a:lnTo>
                    <a:pt x="194" y="2555"/>
                  </a:lnTo>
                  <a:lnTo>
                    <a:pt x="194" y="2557"/>
                  </a:lnTo>
                  <a:lnTo>
                    <a:pt x="194" y="2559"/>
                  </a:lnTo>
                  <a:lnTo>
                    <a:pt x="192" y="2563"/>
                  </a:lnTo>
                  <a:lnTo>
                    <a:pt x="192" y="2561"/>
                  </a:lnTo>
                  <a:lnTo>
                    <a:pt x="190" y="2561"/>
                  </a:lnTo>
                  <a:lnTo>
                    <a:pt x="190" y="2559"/>
                  </a:lnTo>
                  <a:lnTo>
                    <a:pt x="188" y="2559"/>
                  </a:lnTo>
                  <a:lnTo>
                    <a:pt x="186" y="2561"/>
                  </a:lnTo>
                  <a:lnTo>
                    <a:pt x="186" y="2559"/>
                  </a:lnTo>
                  <a:lnTo>
                    <a:pt x="184" y="2557"/>
                  </a:lnTo>
                  <a:lnTo>
                    <a:pt x="184" y="2555"/>
                  </a:lnTo>
                  <a:lnTo>
                    <a:pt x="179" y="2551"/>
                  </a:lnTo>
                  <a:lnTo>
                    <a:pt x="179" y="2549"/>
                  </a:lnTo>
                  <a:lnTo>
                    <a:pt x="177" y="2547"/>
                  </a:lnTo>
                  <a:lnTo>
                    <a:pt x="173" y="2547"/>
                  </a:lnTo>
                  <a:lnTo>
                    <a:pt x="173" y="2553"/>
                  </a:lnTo>
                  <a:lnTo>
                    <a:pt x="171" y="2555"/>
                  </a:lnTo>
                  <a:lnTo>
                    <a:pt x="169" y="2555"/>
                  </a:lnTo>
                  <a:lnTo>
                    <a:pt x="169" y="2557"/>
                  </a:lnTo>
                  <a:lnTo>
                    <a:pt x="167" y="2557"/>
                  </a:lnTo>
                  <a:lnTo>
                    <a:pt x="167" y="2555"/>
                  </a:lnTo>
                  <a:lnTo>
                    <a:pt x="165" y="2555"/>
                  </a:lnTo>
                  <a:lnTo>
                    <a:pt x="165" y="2553"/>
                  </a:lnTo>
                  <a:lnTo>
                    <a:pt x="163" y="2553"/>
                  </a:lnTo>
                  <a:lnTo>
                    <a:pt x="161" y="2553"/>
                  </a:lnTo>
                  <a:lnTo>
                    <a:pt x="159" y="2553"/>
                  </a:lnTo>
                  <a:lnTo>
                    <a:pt x="158" y="2557"/>
                  </a:lnTo>
                  <a:lnTo>
                    <a:pt x="158" y="2559"/>
                  </a:lnTo>
                  <a:lnTo>
                    <a:pt x="156" y="2561"/>
                  </a:lnTo>
                  <a:lnTo>
                    <a:pt x="154" y="2563"/>
                  </a:lnTo>
                  <a:lnTo>
                    <a:pt x="150" y="2563"/>
                  </a:lnTo>
                  <a:lnTo>
                    <a:pt x="146" y="2555"/>
                  </a:lnTo>
                  <a:lnTo>
                    <a:pt x="140" y="2555"/>
                  </a:lnTo>
                  <a:lnTo>
                    <a:pt x="136" y="2557"/>
                  </a:lnTo>
                  <a:lnTo>
                    <a:pt x="134" y="2557"/>
                  </a:lnTo>
                  <a:lnTo>
                    <a:pt x="134" y="2559"/>
                  </a:lnTo>
                  <a:lnTo>
                    <a:pt x="134" y="2567"/>
                  </a:lnTo>
                  <a:lnTo>
                    <a:pt x="136" y="2570"/>
                  </a:lnTo>
                  <a:lnTo>
                    <a:pt x="136" y="2578"/>
                  </a:lnTo>
                  <a:lnTo>
                    <a:pt x="136" y="2586"/>
                  </a:lnTo>
                  <a:lnTo>
                    <a:pt x="138" y="2588"/>
                  </a:lnTo>
                  <a:lnTo>
                    <a:pt x="138" y="2593"/>
                  </a:lnTo>
                  <a:lnTo>
                    <a:pt x="138" y="2599"/>
                  </a:lnTo>
                  <a:lnTo>
                    <a:pt x="140" y="2613"/>
                  </a:lnTo>
                  <a:lnTo>
                    <a:pt x="140" y="2615"/>
                  </a:lnTo>
                  <a:lnTo>
                    <a:pt x="123" y="2615"/>
                  </a:lnTo>
                  <a:lnTo>
                    <a:pt x="121" y="2615"/>
                  </a:lnTo>
                  <a:lnTo>
                    <a:pt x="111" y="2615"/>
                  </a:lnTo>
                  <a:lnTo>
                    <a:pt x="110" y="2615"/>
                  </a:lnTo>
                  <a:lnTo>
                    <a:pt x="102" y="2615"/>
                  </a:lnTo>
                  <a:lnTo>
                    <a:pt x="100" y="2615"/>
                  </a:lnTo>
                  <a:lnTo>
                    <a:pt x="96" y="2615"/>
                  </a:lnTo>
                  <a:lnTo>
                    <a:pt x="94" y="2615"/>
                  </a:lnTo>
                  <a:lnTo>
                    <a:pt x="92" y="2615"/>
                  </a:lnTo>
                  <a:lnTo>
                    <a:pt x="90" y="2615"/>
                  </a:lnTo>
                  <a:lnTo>
                    <a:pt x="85" y="2615"/>
                  </a:lnTo>
                  <a:lnTo>
                    <a:pt x="81" y="2615"/>
                  </a:lnTo>
                  <a:lnTo>
                    <a:pt x="75" y="2615"/>
                  </a:lnTo>
                  <a:lnTo>
                    <a:pt x="71" y="2615"/>
                  </a:lnTo>
                  <a:lnTo>
                    <a:pt x="69" y="2615"/>
                  </a:lnTo>
                  <a:lnTo>
                    <a:pt x="67" y="2615"/>
                  </a:lnTo>
                  <a:lnTo>
                    <a:pt x="67" y="2613"/>
                  </a:lnTo>
                  <a:lnTo>
                    <a:pt x="65" y="2613"/>
                  </a:lnTo>
                  <a:lnTo>
                    <a:pt x="63" y="2613"/>
                  </a:lnTo>
                  <a:lnTo>
                    <a:pt x="63" y="2611"/>
                  </a:lnTo>
                  <a:lnTo>
                    <a:pt x="60" y="2609"/>
                  </a:lnTo>
                  <a:lnTo>
                    <a:pt x="58" y="2609"/>
                  </a:lnTo>
                  <a:lnTo>
                    <a:pt x="56" y="2607"/>
                  </a:lnTo>
                  <a:lnTo>
                    <a:pt x="52" y="2609"/>
                  </a:lnTo>
                  <a:lnTo>
                    <a:pt x="52" y="2607"/>
                  </a:lnTo>
                  <a:lnTo>
                    <a:pt x="52" y="2605"/>
                  </a:lnTo>
                  <a:lnTo>
                    <a:pt x="50" y="2601"/>
                  </a:lnTo>
                  <a:lnTo>
                    <a:pt x="50" y="2599"/>
                  </a:lnTo>
                  <a:lnTo>
                    <a:pt x="50" y="2597"/>
                  </a:lnTo>
                  <a:lnTo>
                    <a:pt x="50" y="2595"/>
                  </a:lnTo>
                  <a:lnTo>
                    <a:pt x="50" y="2593"/>
                  </a:lnTo>
                  <a:lnTo>
                    <a:pt x="48" y="2592"/>
                  </a:lnTo>
                  <a:lnTo>
                    <a:pt x="46" y="2592"/>
                  </a:lnTo>
                  <a:lnTo>
                    <a:pt x="46" y="2590"/>
                  </a:lnTo>
                  <a:lnTo>
                    <a:pt x="44" y="2590"/>
                  </a:lnTo>
                  <a:lnTo>
                    <a:pt x="46" y="2588"/>
                  </a:lnTo>
                  <a:lnTo>
                    <a:pt x="44" y="2588"/>
                  </a:lnTo>
                  <a:lnTo>
                    <a:pt x="44" y="2586"/>
                  </a:lnTo>
                  <a:lnTo>
                    <a:pt x="42" y="2588"/>
                  </a:lnTo>
                  <a:lnTo>
                    <a:pt x="42" y="2590"/>
                  </a:lnTo>
                  <a:lnTo>
                    <a:pt x="40" y="2590"/>
                  </a:lnTo>
                  <a:lnTo>
                    <a:pt x="39" y="2590"/>
                  </a:lnTo>
                  <a:lnTo>
                    <a:pt x="37" y="2590"/>
                  </a:lnTo>
                  <a:lnTo>
                    <a:pt x="35" y="2590"/>
                  </a:lnTo>
                  <a:lnTo>
                    <a:pt x="35" y="2586"/>
                  </a:lnTo>
                  <a:lnTo>
                    <a:pt x="35" y="2584"/>
                  </a:lnTo>
                  <a:lnTo>
                    <a:pt x="33" y="2582"/>
                  </a:lnTo>
                  <a:lnTo>
                    <a:pt x="31" y="2580"/>
                  </a:lnTo>
                  <a:lnTo>
                    <a:pt x="29" y="2580"/>
                  </a:lnTo>
                  <a:lnTo>
                    <a:pt x="27" y="2578"/>
                  </a:lnTo>
                  <a:lnTo>
                    <a:pt x="25" y="2576"/>
                  </a:lnTo>
                  <a:lnTo>
                    <a:pt x="25" y="2574"/>
                  </a:lnTo>
                  <a:lnTo>
                    <a:pt x="23" y="2570"/>
                  </a:lnTo>
                  <a:lnTo>
                    <a:pt x="21" y="2568"/>
                  </a:lnTo>
                  <a:lnTo>
                    <a:pt x="21" y="2567"/>
                  </a:lnTo>
                  <a:lnTo>
                    <a:pt x="21" y="2565"/>
                  </a:lnTo>
                  <a:lnTo>
                    <a:pt x="19" y="2565"/>
                  </a:lnTo>
                  <a:lnTo>
                    <a:pt x="17" y="2565"/>
                  </a:lnTo>
                  <a:lnTo>
                    <a:pt x="15" y="2565"/>
                  </a:lnTo>
                  <a:lnTo>
                    <a:pt x="15" y="2563"/>
                  </a:lnTo>
                  <a:lnTo>
                    <a:pt x="14" y="2563"/>
                  </a:lnTo>
                  <a:lnTo>
                    <a:pt x="12" y="2561"/>
                  </a:lnTo>
                  <a:lnTo>
                    <a:pt x="12" y="2559"/>
                  </a:lnTo>
                  <a:lnTo>
                    <a:pt x="12" y="2557"/>
                  </a:lnTo>
                  <a:lnTo>
                    <a:pt x="12" y="2555"/>
                  </a:lnTo>
                  <a:lnTo>
                    <a:pt x="14" y="2555"/>
                  </a:lnTo>
                  <a:lnTo>
                    <a:pt x="15" y="2555"/>
                  </a:lnTo>
                  <a:lnTo>
                    <a:pt x="17" y="2553"/>
                  </a:lnTo>
                  <a:lnTo>
                    <a:pt x="17" y="2551"/>
                  </a:lnTo>
                  <a:lnTo>
                    <a:pt x="15" y="2551"/>
                  </a:lnTo>
                  <a:lnTo>
                    <a:pt x="15" y="2549"/>
                  </a:lnTo>
                  <a:lnTo>
                    <a:pt x="17" y="2547"/>
                  </a:lnTo>
                  <a:lnTo>
                    <a:pt x="17" y="2545"/>
                  </a:lnTo>
                  <a:lnTo>
                    <a:pt x="15" y="2545"/>
                  </a:lnTo>
                  <a:lnTo>
                    <a:pt x="15" y="2544"/>
                  </a:lnTo>
                  <a:lnTo>
                    <a:pt x="14" y="2544"/>
                  </a:lnTo>
                  <a:lnTo>
                    <a:pt x="12" y="2542"/>
                  </a:lnTo>
                  <a:lnTo>
                    <a:pt x="10" y="2540"/>
                  </a:lnTo>
                  <a:lnTo>
                    <a:pt x="8" y="2538"/>
                  </a:lnTo>
                  <a:lnTo>
                    <a:pt x="6" y="2534"/>
                  </a:lnTo>
                  <a:lnTo>
                    <a:pt x="6" y="2532"/>
                  </a:lnTo>
                  <a:lnTo>
                    <a:pt x="6" y="2528"/>
                  </a:lnTo>
                  <a:lnTo>
                    <a:pt x="8" y="2526"/>
                  </a:lnTo>
                  <a:lnTo>
                    <a:pt x="8" y="2528"/>
                  </a:lnTo>
                  <a:lnTo>
                    <a:pt x="10" y="2526"/>
                  </a:lnTo>
                  <a:lnTo>
                    <a:pt x="12" y="2526"/>
                  </a:lnTo>
                  <a:lnTo>
                    <a:pt x="14" y="2526"/>
                  </a:lnTo>
                  <a:lnTo>
                    <a:pt x="14" y="2524"/>
                  </a:lnTo>
                  <a:lnTo>
                    <a:pt x="15" y="2524"/>
                  </a:lnTo>
                  <a:lnTo>
                    <a:pt x="12" y="2520"/>
                  </a:lnTo>
                  <a:lnTo>
                    <a:pt x="12" y="2519"/>
                  </a:lnTo>
                  <a:lnTo>
                    <a:pt x="6" y="2513"/>
                  </a:lnTo>
                  <a:lnTo>
                    <a:pt x="4" y="2509"/>
                  </a:lnTo>
                  <a:lnTo>
                    <a:pt x="0" y="2505"/>
                  </a:lnTo>
                  <a:lnTo>
                    <a:pt x="2" y="2503"/>
                  </a:lnTo>
                  <a:lnTo>
                    <a:pt x="6" y="2501"/>
                  </a:lnTo>
                  <a:lnTo>
                    <a:pt x="21" y="2486"/>
                  </a:lnTo>
                  <a:lnTo>
                    <a:pt x="27" y="2480"/>
                  </a:lnTo>
                  <a:lnTo>
                    <a:pt x="27" y="2472"/>
                  </a:lnTo>
                  <a:lnTo>
                    <a:pt x="25" y="2471"/>
                  </a:lnTo>
                  <a:lnTo>
                    <a:pt x="25" y="2469"/>
                  </a:lnTo>
                  <a:lnTo>
                    <a:pt x="21" y="2465"/>
                  </a:lnTo>
                  <a:lnTo>
                    <a:pt x="19" y="2459"/>
                  </a:lnTo>
                  <a:lnTo>
                    <a:pt x="19" y="2451"/>
                  </a:lnTo>
                  <a:lnTo>
                    <a:pt x="21" y="2446"/>
                  </a:lnTo>
                  <a:lnTo>
                    <a:pt x="19" y="2442"/>
                  </a:lnTo>
                  <a:lnTo>
                    <a:pt x="19" y="2440"/>
                  </a:lnTo>
                  <a:lnTo>
                    <a:pt x="19" y="2438"/>
                  </a:lnTo>
                  <a:lnTo>
                    <a:pt x="19" y="2436"/>
                  </a:lnTo>
                  <a:lnTo>
                    <a:pt x="19" y="2434"/>
                  </a:lnTo>
                  <a:lnTo>
                    <a:pt x="19" y="2432"/>
                  </a:lnTo>
                  <a:lnTo>
                    <a:pt x="17" y="2432"/>
                  </a:lnTo>
                  <a:lnTo>
                    <a:pt x="17" y="2430"/>
                  </a:lnTo>
                  <a:lnTo>
                    <a:pt x="17" y="2428"/>
                  </a:lnTo>
                  <a:lnTo>
                    <a:pt x="17" y="2426"/>
                  </a:lnTo>
                  <a:lnTo>
                    <a:pt x="19" y="2426"/>
                  </a:lnTo>
                  <a:lnTo>
                    <a:pt x="19" y="2424"/>
                  </a:lnTo>
                  <a:lnTo>
                    <a:pt x="23" y="2423"/>
                  </a:lnTo>
                  <a:lnTo>
                    <a:pt x="25" y="2421"/>
                  </a:lnTo>
                  <a:lnTo>
                    <a:pt x="27" y="2419"/>
                  </a:lnTo>
                  <a:lnTo>
                    <a:pt x="29" y="2419"/>
                  </a:lnTo>
                  <a:lnTo>
                    <a:pt x="29" y="2417"/>
                  </a:lnTo>
                  <a:lnTo>
                    <a:pt x="29" y="2415"/>
                  </a:lnTo>
                  <a:lnTo>
                    <a:pt x="29" y="2417"/>
                  </a:lnTo>
                  <a:lnTo>
                    <a:pt x="29" y="2419"/>
                  </a:lnTo>
                  <a:lnTo>
                    <a:pt x="29" y="2421"/>
                  </a:lnTo>
                  <a:lnTo>
                    <a:pt x="31" y="2419"/>
                  </a:lnTo>
                  <a:lnTo>
                    <a:pt x="31" y="2417"/>
                  </a:lnTo>
                  <a:lnTo>
                    <a:pt x="31" y="2415"/>
                  </a:lnTo>
                  <a:lnTo>
                    <a:pt x="31" y="2417"/>
                  </a:lnTo>
                  <a:lnTo>
                    <a:pt x="31" y="2419"/>
                  </a:lnTo>
                  <a:lnTo>
                    <a:pt x="33" y="2417"/>
                  </a:lnTo>
                  <a:lnTo>
                    <a:pt x="33" y="2415"/>
                  </a:lnTo>
                  <a:lnTo>
                    <a:pt x="33" y="2417"/>
                  </a:lnTo>
                  <a:lnTo>
                    <a:pt x="35" y="2417"/>
                  </a:lnTo>
                  <a:lnTo>
                    <a:pt x="37" y="2417"/>
                  </a:lnTo>
                  <a:lnTo>
                    <a:pt x="39" y="2415"/>
                  </a:lnTo>
                  <a:lnTo>
                    <a:pt x="40" y="2415"/>
                  </a:lnTo>
                  <a:lnTo>
                    <a:pt x="44" y="2415"/>
                  </a:lnTo>
                  <a:lnTo>
                    <a:pt x="46" y="2415"/>
                  </a:lnTo>
                  <a:lnTo>
                    <a:pt x="46" y="2413"/>
                  </a:lnTo>
                  <a:lnTo>
                    <a:pt x="48" y="2413"/>
                  </a:lnTo>
                  <a:lnTo>
                    <a:pt x="52" y="2411"/>
                  </a:lnTo>
                  <a:lnTo>
                    <a:pt x="54" y="2411"/>
                  </a:lnTo>
                  <a:lnTo>
                    <a:pt x="56" y="2411"/>
                  </a:lnTo>
                  <a:lnTo>
                    <a:pt x="56" y="2409"/>
                  </a:lnTo>
                  <a:lnTo>
                    <a:pt x="58" y="2409"/>
                  </a:lnTo>
                  <a:lnTo>
                    <a:pt x="60" y="2407"/>
                  </a:lnTo>
                  <a:lnTo>
                    <a:pt x="62" y="2407"/>
                  </a:lnTo>
                  <a:lnTo>
                    <a:pt x="63" y="2407"/>
                  </a:lnTo>
                  <a:lnTo>
                    <a:pt x="65" y="2405"/>
                  </a:lnTo>
                  <a:lnTo>
                    <a:pt x="67" y="2405"/>
                  </a:lnTo>
                  <a:lnTo>
                    <a:pt x="73" y="2403"/>
                  </a:lnTo>
                  <a:lnTo>
                    <a:pt x="73" y="2405"/>
                  </a:lnTo>
                  <a:lnTo>
                    <a:pt x="75" y="2405"/>
                  </a:lnTo>
                  <a:lnTo>
                    <a:pt x="75" y="2403"/>
                  </a:lnTo>
                  <a:lnTo>
                    <a:pt x="75" y="2405"/>
                  </a:lnTo>
                  <a:lnTo>
                    <a:pt x="77" y="2405"/>
                  </a:lnTo>
                  <a:lnTo>
                    <a:pt x="77" y="2403"/>
                  </a:lnTo>
                  <a:lnTo>
                    <a:pt x="77" y="2405"/>
                  </a:lnTo>
                  <a:lnTo>
                    <a:pt x="73" y="2405"/>
                  </a:lnTo>
                  <a:lnTo>
                    <a:pt x="75" y="2405"/>
                  </a:lnTo>
                  <a:lnTo>
                    <a:pt x="75" y="2407"/>
                  </a:lnTo>
                  <a:lnTo>
                    <a:pt x="77" y="2407"/>
                  </a:lnTo>
                  <a:lnTo>
                    <a:pt x="79" y="2407"/>
                  </a:lnTo>
                  <a:lnTo>
                    <a:pt x="81" y="2407"/>
                  </a:lnTo>
                  <a:lnTo>
                    <a:pt x="83" y="2407"/>
                  </a:lnTo>
                  <a:lnTo>
                    <a:pt x="85" y="2407"/>
                  </a:lnTo>
                  <a:lnTo>
                    <a:pt x="87" y="2405"/>
                  </a:lnTo>
                  <a:lnTo>
                    <a:pt x="88" y="2405"/>
                  </a:lnTo>
                  <a:lnTo>
                    <a:pt x="90" y="2405"/>
                  </a:lnTo>
                  <a:lnTo>
                    <a:pt x="92" y="2405"/>
                  </a:lnTo>
                  <a:lnTo>
                    <a:pt x="96" y="2403"/>
                  </a:lnTo>
                  <a:lnTo>
                    <a:pt x="96" y="2401"/>
                  </a:lnTo>
                  <a:lnTo>
                    <a:pt x="96" y="2403"/>
                  </a:lnTo>
                  <a:lnTo>
                    <a:pt x="98" y="2403"/>
                  </a:lnTo>
                  <a:lnTo>
                    <a:pt x="102" y="2403"/>
                  </a:lnTo>
                  <a:lnTo>
                    <a:pt x="104" y="2403"/>
                  </a:lnTo>
                  <a:lnTo>
                    <a:pt x="106" y="2403"/>
                  </a:lnTo>
                  <a:lnTo>
                    <a:pt x="108" y="2401"/>
                  </a:lnTo>
                  <a:lnTo>
                    <a:pt x="110" y="2401"/>
                  </a:lnTo>
                  <a:lnTo>
                    <a:pt x="111" y="2401"/>
                  </a:lnTo>
                  <a:lnTo>
                    <a:pt x="113" y="2401"/>
                  </a:lnTo>
                  <a:lnTo>
                    <a:pt x="115" y="2401"/>
                  </a:lnTo>
                  <a:lnTo>
                    <a:pt x="117" y="2401"/>
                  </a:lnTo>
                  <a:lnTo>
                    <a:pt x="117" y="2399"/>
                  </a:lnTo>
                  <a:lnTo>
                    <a:pt x="119" y="2399"/>
                  </a:lnTo>
                  <a:lnTo>
                    <a:pt x="121" y="2399"/>
                  </a:lnTo>
                  <a:lnTo>
                    <a:pt x="123" y="2399"/>
                  </a:lnTo>
                  <a:lnTo>
                    <a:pt x="125" y="2398"/>
                  </a:lnTo>
                  <a:lnTo>
                    <a:pt x="127" y="2398"/>
                  </a:lnTo>
                  <a:lnTo>
                    <a:pt x="129" y="2396"/>
                  </a:lnTo>
                  <a:lnTo>
                    <a:pt x="133" y="2396"/>
                  </a:lnTo>
                  <a:lnTo>
                    <a:pt x="134" y="2394"/>
                  </a:lnTo>
                  <a:lnTo>
                    <a:pt x="136" y="2394"/>
                  </a:lnTo>
                  <a:lnTo>
                    <a:pt x="136" y="2392"/>
                  </a:lnTo>
                  <a:lnTo>
                    <a:pt x="138" y="2392"/>
                  </a:lnTo>
                  <a:lnTo>
                    <a:pt x="138" y="2390"/>
                  </a:lnTo>
                  <a:lnTo>
                    <a:pt x="136" y="2390"/>
                  </a:lnTo>
                  <a:lnTo>
                    <a:pt x="138" y="2390"/>
                  </a:lnTo>
                  <a:lnTo>
                    <a:pt x="138" y="2388"/>
                  </a:lnTo>
                  <a:lnTo>
                    <a:pt x="138" y="2390"/>
                  </a:lnTo>
                  <a:lnTo>
                    <a:pt x="140" y="2388"/>
                  </a:lnTo>
                  <a:lnTo>
                    <a:pt x="140" y="2390"/>
                  </a:lnTo>
                  <a:lnTo>
                    <a:pt x="146" y="2388"/>
                  </a:lnTo>
                  <a:lnTo>
                    <a:pt x="150" y="2388"/>
                  </a:lnTo>
                  <a:lnTo>
                    <a:pt x="152" y="2388"/>
                  </a:lnTo>
                  <a:lnTo>
                    <a:pt x="154" y="2390"/>
                  </a:lnTo>
                  <a:lnTo>
                    <a:pt x="156" y="2390"/>
                  </a:lnTo>
                  <a:lnTo>
                    <a:pt x="158" y="2390"/>
                  </a:lnTo>
                  <a:lnTo>
                    <a:pt x="159" y="2390"/>
                  </a:lnTo>
                  <a:lnTo>
                    <a:pt x="161" y="2392"/>
                  </a:lnTo>
                  <a:lnTo>
                    <a:pt x="163" y="2392"/>
                  </a:lnTo>
                  <a:lnTo>
                    <a:pt x="165" y="2392"/>
                  </a:lnTo>
                  <a:lnTo>
                    <a:pt x="167" y="2392"/>
                  </a:lnTo>
                  <a:lnTo>
                    <a:pt x="167" y="2394"/>
                  </a:lnTo>
                  <a:lnTo>
                    <a:pt x="169" y="2394"/>
                  </a:lnTo>
                  <a:lnTo>
                    <a:pt x="171" y="2394"/>
                  </a:lnTo>
                  <a:lnTo>
                    <a:pt x="173" y="2394"/>
                  </a:lnTo>
                  <a:lnTo>
                    <a:pt x="175" y="2394"/>
                  </a:lnTo>
                  <a:lnTo>
                    <a:pt x="177" y="2394"/>
                  </a:lnTo>
                  <a:lnTo>
                    <a:pt x="177" y="2396"/>
                  </a:lnTo>
                  <a:lnTo>
                    <a:pt x="179" y="2394"/>
                  </a:lnTo>
                  <a:lnTo>
                    <a:pt x="181" y="2394"/>
                  </a:lnTo>
                  <a:lnTo>
                    <a:pt x="179" y="2394"/>
                  </a:lnTo>
                  <a:lnTo>
                    <a:pt x="177" y="2396"/>
                  </a:lnTo>
                  <a:lnTo>
                    <a:pt x="175" y="2398"/>
                  </a:lnTo>
                  <a:lnTo>
                    <a:pt x="177" y="2398"/>
                  </a:lnTo>
                  <a:lnTo>
                    <a:pt x="175" y="2398"/>
                  </a:lnTo>
                  <a:lnTo>
                    <a:pt x="177" y="2399"/>
                  </a:lnTo>
                  <a:lnTo>
                    <a:pt x="177" y="2398"/>
                  </a:lnTo>
                  <a:lnTo>
                    <a:pt x="177" y="2399"/>
                  </a:lnTo>
                  <a:lnTo>
                    <a:pt x="179" y="2399"/>
                  </a:lnTo>
                  <a:lnTo>
                    <a:pt x="179" y="2401"/>
                  </a:lnTo>
                  <a:lnTo>
                    <a:pt x="181" y="2399"/>
                  </a:lnTo>
                  <a:lnTo>
                    <a:pt x="182" y="2398"/>
                  </a:lnTo>
                  <a:lnTo>
                    <a:pt x="182" y="2396"/>
                  </a:lnTo>
                  <a:lnTo>
                    <a:pt x="182" y="2398"/>
                  </a:lnTo>
                  <a:lnTo>
                    <a:pt x="181" y="2399"/>
                  </a:lnTo>
                  <a:lnTo>
                    <a:pt x="182" y="2401"/>
                  </a:lnTo>
                  <a:lnTo>
                    <a:pt x="182" y="2403"/>
                  </a:lnTo>
                  <a:lnTo>
                    <a:pt x="184" y="2403"/>
                  </a:lnTo>
                  <a:lnTo>
                    <a:pt x="186" y="2403"/>
                  </a:lnTo>
                  <a:lnTo>
                    <a:pt x="188" y="2403"/>
                  </a:lnTo>
                  <a:lnTo>
                    <a:pt x="190" y="2403"/>
                  </a:lnTo>
                  <a:lnTo>
                    <a:pt x="190" y="2405"/>
                  </a:lnTo>
                  <a:lnTo>
                    <a:pt x="192" y="2403"/>
                  </a:lnTo>
                  <a:lnTo>
                    <a:pt x="194" y="2403"/>
                  </a:lnTo>
                  <a:lnTo>
                    <a:pt x="194" y="2401"/>
                  </a:lnTo>
                  <a:lnTo>
                    <a:pt x="194" y="2403"/>
                  </a:lnTo>
                  <a:lnTo>
                    <a:pt x="192" y="2405"/>
                  </a:lnTo>
                  <a:lnTo>
                    <a:pt x="188" y="2407"/>
                  </a:lnTo>
                  <a:lnTo>
                    <a:pt x="188" y="2409"/>
                  </a:lnTo>
                  <a:lnTo>
                    <a:pt x="190" y="2407"/>
                  </a:lnTo>
                  <a:lnTo>
                    <a:pt x="192" y="2405"/>
                  </a:lnTo>
                  <a:lnTo>
                    <a:pt x="190" y="2409"/>
                  </a:lnTo>
                  <a:lnTo>
                    <a:pt x="192" y="2409"/>
                  </a:lnTo>
                  <a:lnTo>
                    <a:pt x="194" y="2407"/>
                  </a:lnTo>
                  <a:lnTo>
                    <a:pt x="194" y="2409"/>
                  </a:lnTo>
                  <a:lnTo>
                    <a:pt x="194" y="2411"/>
                  </a:lnTo>
                  <a:lnTo>
                    <a:pt x="196" y="2411"/>
                  </a:lnTo>
                  <a:lnTo>
                    <a:pt x="196" y="2409"/>
                  </a:lnTo>
                  <a:lnTo>
                    <a:pt x="198" y="2411"/>
                  </a:lnTo>
                  <a:lnTo>
                    <a:pt x="200" y="2409"/>
                  </a:lnTo>
                  <a:lnTo>
                    <a:pt x="194" y="2405"/>
                  </a:lnTo>
                  <a:lnTo>
                    <a:pt x="194" y="2403"/>
                  </a:lnTo>
                  <a:lnTo>
                    <a:pt x="194" y="2405"/>
                  </a:lnTo>
                  <a:lnTo>
                    <a:pt x="200" y="2411"/>
                  </a:lnTo>
                  <a:lnTo>
                    <a:pt x="202" y="2411"/>
                  </a:lnTo>
                  <a:lnTo>
                    <a:pt x="202" y="2413"/>
                  </a:lnTo>
                  <a:lnTo>
                    <a:pt x="202" y="2415"/>
                  </a:lnTo>
                  <a:lnTo>
                    <a:pt x="204" y="2415"/>
                  </a:lnTo>
                  <a:lnTo>
                    <a:pt x="206" y="2419"/>
                  </a:lnTo>
                  <a:lnTo>
                    <a:pt x="206" y="2421"/>
                  </a:lnTo>
                  <a:lnTo>
                    <a:pt x="207" y="2419"/>
                  </a:lnTo>
                  <a:lnTo>
                    <a:pt x="207" y="2421"/>
                  </a:lnTo>
                  <a:lnTo>
                    <a:pt x="209" y="2423"/>
                  </a:lnTo>
                  <a:lnTo>
                    <a:pt x="211" y="2423"/>
                  </a:lnTo>
                  <a:lnTo>
                    <a:pt x="213" y="2424"/>
                  </a:lnTo>
                  <a:lnTo>
                    <a:pt x="219" y="2424"/>
                  </a:lnTo>
                  <a:lnTo>
                    <a:pt x="219" y="2423"/>
                  </a:lnTo>
                  <a:lnTo>
                    <a:pt x="219" y="2424"/>
                  </a:lnTo>
                  <a:lnTo>
                    <a:pt x="221" y="2424"/>
                  </a:lnTo>
                  <a:lnTo>
                    <a:pt x="221" y="2423"/>
                  </a:lnTo>
                  <a:lnTo>
                    <a:pt x="221" y="2424"/>
                  </a:lnTo>
                  <a:lnTo>
                    <a:pt x="221" y="2426"/>
                  </a:lnTo>
                  <a:lnTo>
                    <a:pt x="221" y="2424"/>
                  </a:lnTo>
                  <a:lnTo>
                    <a:pt x="223" y="2426"/>
                  </a:lnTo>
                  <a:lnTo>
                    <a:pt x="225" y="2426"/>
                  </a:lnTo>
                  <a:lnTo>
                    <a:pt x="227" y="2426"/>
                  </a:lnTo>
                  <a:lnTo>
                    <a:pt x="227" y="2428"/>
                  </a:lnTo>
                  <a:lnTo>
                    <a:pt x="232" y="2430"/>
                  </a:lnTo>
                  <a:lnTo>
                    <a:pt x="232" y="2432"/>
                  </a:lnTo>
                  <a:lnTo>
                    <a:pt x="232" y="2434"/>
                  </a:lnTo>
                  <a:lnTo>
                    <a:pt x="240" y="2436"/>
                  </a:lnTo>
                  <a:lnTo>
                    <a:pt x="240" y="2438"/>
                  </a:lnTo>
                  <a:lnTo>
                    <a:pt x="240" y="2436"/>
                  </a:lnTo>
                  <a:lnTo>
                    <a:pt x="240" y="2438"/>
                  </a:lnTo>
                  <a:lnTo>
                    <a:pt x="244" y="2438"/>
                  </a:lnTo>
                  <a:lnTo>
                    <a:pt x="244" y="2436"/>
                  </a:lnTo>
                  <a:lnTo>
                    <a:pt x="244" y="2438"/>
                  </a:lnTo>
                  <a:lnTo>
                    <a:pt x="246" y="2440"/>
                  </a:lnTo>
                  <a:lnTo>
                    <a:pt x="246" y="2438"/>
                  </a:lnTo>
                  <a:lnTo>
                    <a:pt x="246" y="2440"/>
                  </a:lnTo>
                  <a:lnTo>
                    <a:pt x="250" y="2440"/>
                  </a:lnTo>
                  <a:lnTo>
                    <a:pt x="252" y="2442"/>
                  </a:lnTo>
                  <a:lnTo>
                    <a:pt x="252" y="2440"/>
                  </a:lnTo>
                  <a:lnTo>
                    <a:pt x="252" y="2442"/>
                  </a:lnTo>
                  <a:lnTo>
                    <a:pt x="253" y="2442"/>
                  </a:lnTo>
                  <a:lnTo>
                    <a:pt x="255" y="2442"/>
                  </a:lnTo>
                  <a:lnTo>
                    <a:pt x="255" y="2444"/>
                  </a:lnTo>
                  <a:lnTo>
                    <a:pt x="257" y="2444"/>
                  </a:lnTo>
                  <a:lnTo>
                    <a:pt x="257" y="2442"/>
                  </a:lnTo>
                  <a:lnTo>
                    <a:pt x="257" y="2444"/>
                  </a:lnTo>
                  <a:lnTo>
                    <a:pt x="259" y="2442"/>
                  </a:lnTo>
                  <a:lnTo>
                    <a:pt x="259" y="2444"/>
                  </a:lnTo>
                  <a:lnTo>
                    <a:pt x="261" y="2444"/>
                  </a:lnTo>
                  <a:lnTo>
                    <a:pt x="263" y="2446"/>
                  </a:lnTo>
                  <a:lnTo>
                    <a:pt x="263" y="2444"/>
                  </a:lnTo>
                  <a:lnTo>
                    <a:pt x="263" y="2446"/>
                  </a:lnTo>
                  <a:lnTo>
                    <a:pt x="265" y="2446"/>
                  </a:lnTo>
                  <a:lnTo>
                    <a:pt x="267" y="2446"/>
                  </a:lnTo>
                  <a:lnTo>
                    <a:pt x="267" y="2444"/>
                  </a:lnTo>
                  <a:lnTo>
                    <a:pt x="267" y="2446"/>
                  </a:lnTo>
                  <a:lnTo>
                    <a:pt x="273" y="2447"/>
                  </a:lnTo>
                  <a:lnTo>
                    <a:pt x="275" y="2446"/>
                  </a:lnTo>
                  <a:lnTo>
                    <a:pt x="275" y="2447"/>
                  </a:lnTo>
                  <a:lnTo>
                    <a:pt x="278" y="2447"/>
                  </a:lnTo>
                  <a:lnTo>
                    <a:pt x="284" y="2449"/>
                  </a:lnTo>
                  <a:lnTo>
                    <a:pt x="288" y="2451"/>
                  </a:lnTo>
                  <a:lnTo>
                    <a:pt x="294" y="2453"/>
                  </a:lnTo>
                  <a:lnTo>
                    <a:pt x="292" y="2449"/>
                  </a:lnTo>
                  <a:lnTo>
                    <a:pt x="294" y="2449"/>
                  </a:lnTo>
                  <a:lnTo>
                    <a:pt x="294" y="2451"/>
                  </a:lnTo>
                  <a:lnTo>
                    <a:pt x="294" y="2453"/>
                  </a:lnTo>
                  <a:lnTo>
                    <a:pt x="296" y="2451"/>
                  </a:lnTo>
                  <a:lnTo>
                    <a:pt x="294" y="2453"/>
                  </a:lnTo>
                  <a:lnTo>
                    <a:pt x="296" y="2453"/>
                  </a:lnTo>
                  <a:lnTo>
                    <a:pt x="296" y="2455"/>
                  </a:lnTo>
                  <a:lnTo>
                    <a:pt x="296" y="2453"/>
                  </a:lnTo>
                  <a:lnTo>
                    <a:pt x="296" y="2455"/>
                  </a:lnTo>
                  <a:lnTo>
                    <a:pt x="298" y="2457"/>
                  </a:lnTo>
                  <a:lnTo>
                    <a:pt x="298" y="2459"/>
                  </a:lnTo>
                  <a:lnTo>
                    <a:pt x="298" y="2461"/>
                  </a:lnTo>
                  <a:lnTo>
                    <a:pt x="298" y="2457"/>
                  </a:lnTo>
                  <a:lnTo>
                    <a:pt x="298" y="2461"/>
                  </a:lnTo>
                  <a:lnTo>
                    <a:pt x="298" y="2457"/>
                  </a:lnTo>
                  <a:lnTo>
                    <a:pt x="298" y="2461"/>
                  </a:lnTo>
                  <a:lnTo>
                    <a:pt x="300" y="2461"/>
                  </a:lnTo>
                  <a:lnTo>
                    <a:pt x="298" y="2461"/>
                  </a:lnTo>
                  <a:lnTo>
                    <a:pt x="298" y="2463"/>
                  </a:lnTo>
                  <a:lnTo>
                    <a:pt x="300" y="2461"/>
                  </a:lnTo>
                  <a:lnTo>
                    <a:pt x="300" y="2463"/>
                  </a:lnTo>
                  <a:lnTo>
                    <a:pt x="298" y="2463"/>
                  </a:lnTo>
                  <a:lnTo>
                    <a:pt x="300" y="2463"/>
                  </a:lnTo>
                  <a:lnTo>
                    <a:pt x="301" y="2465"/>
                  </a:lnTo>
                  <a:lnTo>
                    <a:pt x="301" y="2467"/>
                  </a:lnTo>
                  <a:lnTo>
                    <a:pt x="303" y="2467"/>
                  </a:lnTo>
                  <a:lnTo>
                    <a:pt x="305" y="2469"/>
                  </a:lnTo>
                  <a:lnTo>
                    <a:pt x="307" y="2467"/>
                  </a:lnTo>
                  <a:lnTo>
                    <a:pt x="305" y="2469"/>
                  </a:lnTo>
                  <a:lnTo>
                    <a:pt x="307" y="2471"/>
                  </a:lnTo>
                  <a:lnTo>
                    <a:pt x="309" y="2471"/>
                  </a:lnTo>
                  <a:lnTo>
                    <a:pt x="309" y="2472"/>
                  </a:lnTo>
                  <a:lnTo>
                    <a:pt x="311" y="2474"/>
                  </a:lnTo>
                  <a:lnTo>
                    <a:pt x="313" y="2474"/>
                  </a:lnTo>
                  <a:lnTo>
                    <a:pt x="313" y="2476"/>
                  </a:lnTo>
                  <a:lnTo>
                    <a:pt x="315" y="2474"/>
                  </a:lnTo>
                  <a:lnTo>
                    <a:pt x="315" y="2472"/>
                  </a:lnTo>
                  <a:lnTo>
                    <a:pt x="315" y="2474"/>
                  </a:lnTo>
                  <a:lnTo>
                    <a:pt x="313" y="2476"/>
                  </a:lnTo>
                  <a:lnTo>
                    <a:pt x="315" y="2476"/>
                  </a:lnTo>
                  <a:lnTo>
                    <a:pt x="315" y="2478"/>
                  </a:lnTo>
                  <a:lnTo>
                    <a:pt x="315" y="2480"/>
                  </a:lnTo>
                  <a:lnTo>
                    <a:pt x="317" y="2480"/>
                  </a:lnTo>
                  <a:lnTo>
                    <a:pt x="315" y="2480"/>
                  </a:lnTo>
                  <a:lnTo>
                    <a:pt x="315" y="2478"/>
                  </a:lnTo>
                  <a:lnTo>
                    <a:pt x="317" y="2478"/>
                  </a:lnTo>
                  <a:lnTo>
                    <a:pt x="317" y="2480"/>
                  </a:lnTo>
                  <a:lnTo>
                    <a:pt x="317" y="2478"/>
                  </a:lnTo>
                  <a:lnTo>
                    <a:pt x="317" y="2480"/>
                  </a:lnTo>
                  <a:lnTo>
                    <a:pt x="319" y="2480"/>
                  </a:lnTo>
                  <a:lnTo>
                    <a:pt x="319" y="2482"/>
                  </a:lnTo>
                  <a:lnTo>
                    <a:pt x="321" y="2482"/>
                  </a:lnTo>
                  <a:lnTo>
                    <a:pt x="321" y="2484"/>
                  </a:lnTo>
                  <a:lnTo>
                    <a:pt x="323" y="2484"/>
                  </a:lnTo>
                  <a:lnTo>
                    <a:pt x="323" y="2486"/>
                  </a:lnTo>
                  <a:lnTo>
                    <a:pt x="325" y="2486"/>
                  </a:lnTo>
                  <a:lnTo>
                    <a:pt x="326" y="2486"/>
                  </a:lnTo>
                  <a:lnTo>
                    <a:pt x="328" y="2486"/>
                  </a:lnTo>
                  <a:lnTo>
                    <a:pt x="330" y="2486"/>
                  </a:lnTo>
                  <a:lnTo>
                    <a:pt x="328" y="2486"/>
                  </a:lnTo>
                  <a:lnTo>
                    <a:pt x="328" y="2488"/>
                  </a:lnTo>
                  <a:lnTo>
                    <a:pt x="330" y="2488"/>
                  </a:lnTo>
                  <a:lnTo>
                    <a:pt x="332" y="2488"/>
                  </a:lnTo>
                  <a:lnTo>
                    <a:pt x="334" y="2488"/>
                  </a:lnTo>
                  <a:lnTo>
                    <a:pt x="338" y="2488"/>
                  </a:lnTo>
                  <a:lnTo>
                    <a:pt x="340" y="2488"/>
                  </a:lnTo>
                  <a:lnTo>
                    <a:pt x="342" y="2488"/>
                  </a:lnTo>
                  <a:lnTo>
                    <a:pt x="344" y="2490"/>
                  </a:lnTo>
                  <a:lnTo>
                    <a:pt x="349" y="2490"/>
                  </a:lnTo>
                  <a:lnTo>
                    <a:pt x="353" y="2490"/>
                  </a:lnTo>
                  <a:lnTo>
                    <a:pt x="353" y="2492"/>
                  </a:lnTo>
                  <a:lnTo>
                    <a:pt x="353" y="2494"/>
                  </a:lnTo>
                  <a:lnTo>
                    <a:pt x="355" y="2494"/>
                  </a:lnTo>
                  <a:lnTo>
                    <a:pt x="353" y="2494"/>
                  </a:lnTo>
                  <a:lnTo>
                    <a:pt x="351" y="2495"/>
                  </a:lnTo>
                  <a:lnTo>
                    <a:pt x="349" y="2495"/>
                  </a:lnTo>
                  <a:lnTo>
                    <a:pt x="349" y="2497"/>
                  </a:lnTo>
                  <a:lnTo>
                    <a:pt x="349" y="2499"/>
                  </a:lnTo>
                  <a:lnTo>
                    <a:pt x="349" y="2501"/>
                  </a:lnTo>
                  <a:lnTo>
                    <a:pt x="351" y="2501"/>
                  </a:lnTo>
                  <a:lnTo>
                    <a:pt x="353" y="2501"/>
                  </a:lnTo>
                  <a:lnTo>
                    <a:pt x="353" y="2503"/>
                  </a:lnTo>
                  <a:lnTo>
                    <a:pt x="357" y="2505"/>
                  </a:lnTo>
                  <a:lnTo>
                    <a:pt x="361" y="2507"/>
                  </a:lnTo>
                  <a:lnTo>
                    <a:pt x="363" y="2507"/>
                  </a:lnTo>
                  <a:lnTo>
                    <a:pt x="363" y="2503"/>
                  </a:lnTo>
                  <a:lnTo>
                    <a:pt x="361" y="2503"/>
                  </a:lnTo>
                  <a:lnTo>
                    <a:pt x="359" y="2501"/>
                  </a:lnTo>
                  <a:lnTo>
                    <a:pt x="357" y="2501"/>
                  </a:lnTo>
                  <a:lnTo>
                    <a:pt x="359" y="2501"/>
                  </a:lnTo>
                  <a:lnTo>
                    <a:pt x="361" y="2503"/>
                  </a:lnTo>
                  <a:lnTo>
                    <a:pt x="363" y="2503"/>
                  </a:lnTo>
                  <a:lnTo>
                    <a:pt x="363" y="2494"/>
                  </a:lnTo>
                  <a:lnTo>
                    <a:pt x="361" y="2494"/>
                  </a:lnTo>
                  <a:lnTo>
                    <a:pt x="361" y="2495"/>
                  </a:lnTo>
                  <a:lnTo>
                    <a:pt x="361" y="2494"/>
                  </a:lnTo>
                  <a:lnTo>
                    <a:pt x="361" y="2492"/>
                  </a:lnTo>
                  <a:lnTo>
                    <a:pt x="361" y="2494"/>
                  </a:lnTo>
                  <a:lnTo>
                    <a:pt x="363" y="2494"/>
                  </a:lnTo>
                  <a:lnTo>
                    <a:pt x="363" y="2492"/>
                  </a:lnTo>
                  <a:lnTo>
                    <a:pt x="363" y="2490"/>
                  </a:lnTo>
                  <a:lnTo>
                    <a:pt x="365" y="2488"/>
                  </a:lnTo>
                  <a:lnTo>
                    <a:pt x="369" y="2488"/>
                  </a:lnTo>
                  <a:lnTo>
                    <a:pt x="371" y="2490"/>
                  </a:lnTo>
                  <a:lnTo>
                    <a:pt x="371" y="2488"/>
                  </a:lnTo>
                  <a:lnTo>
                    <a:pt x="372" y="2488"/>
                  </a:lnTo>
                  <a:lnTo>
                    <a:pt x="371" y="2490"/>
                  </a:lnTo>
                  <a:lnTo>
                    <a:pt x="372" y="2490"/>
                  </a:lnTo>
                  <a:lnTo>
                    <a:pt x="374" y="2488"/>
                  </a:lnTo>
                  <a:lnTo>
                    <a:pt x="374" y="2490"/>
                  </a:lnTo>
                  <a:lnTo>
                    <a:pt x="374" y="2488"/>
                  </a:lnTo>
                  <a:lnTo>
                    <a:pt x="374" y="2490"/>
                  </a:lnTo>
                  <a:lnTo>
                    <a:pt x="376" y="2490"/>
                  </a:lnTo>
                  <a:lnTo>
                    <a:pt x="378" y="2490"/>
                  </a:lnTo>
                  <a:lnTo>
                    <a:pt x="380" y="2490"/>
                  </a:lnTo>
                  <a:lnTo>
                    <a:pt x="382" y="2494"/>
                  </a:lnTo>
                  <a:lnTo>
                    <a:pt x="384" y="2495"/>
                  </a:lnTo>
                  <a:lnTo>
                    <a:pt x="386" y="2497"/>
                  </a:lnTo>
                  <a:lnTo>
                    <a:pt x="388" y="2497"/>
                  </a:lnTo>
                  <a:lnTo>
                    <a:pt x="388" y="2495"/>
                  </a:lnTo>
                  <a:lnTo>
                    <a:pt x="388" y="2497"/>
                  </a:lnTo>
                  <a:lnTo>
                    <a:pt x="390" y="2499"/>
                  </a:lnTo>
                  <a:lnTo>
                    <a:pt x="392" y="2497"/>
                  </a:lnTo>
                  <a:lnTo>
                    <a:pt x="390" y="2499"/>
                  </a:lnTo>
                  <a:lnTo>
                    <a:pt x="392" y="2499"/>
                  </a:lnTo>
                  <a:lnTo>
                    <a:pt x="392" y="2497"/>
                  </a:lnTo>
                  <a:lnTo>
                    <a:pt x="392" y="2499"/>
                  </a:lnTo>
                  <a:lnTo>
                    <a:pt x="394" y="2499"/>
                  </a:lnTo>
                  <a:lnTo>
                    <a:pt x="394" y="2497"/>
                  </a:lnTo>
                  <a:lnTo>
                    <a:pt x="394" y="2499"/>
                  </a:lnTo>
                  <a:lnTo>
                    <a:pt x="396" y="2499"/>
                  </a:lnTo>
                  <a:lnTo>
                    <a:pt x="397" y="2499"/>
                  </a:lnTo>
                  <a:lnTo>
                    <a:pt x="397" y="2501"/>
                  </a:lnTo>
                  <a:lnTo>
                    <a:pt x="396" y="2501"/>
                  </a:lnTo>
                  <a:lnTo>
                    <a:pt x="396" y="2503"/>
                  </a:lnTo>
                  <a:lnTo>
                    <a:pt x="396" y="2505"/>
                  </a:lnTo>
                  <a:lnTo>
                    <a:pt x="396" y="2507"/>
                  </a:lnTo>
                  <a:lnTo>
                    <a:pt x="396" y="2509"/>
                  </a:lnTo>
                  <a:lnTo>
                    <a:pt x="399" y="2517"/>
                  </a:lnTo>
                  <a:lnTo>
                    <a:pt x="399" y="2519"/>
                  </a:lnTo>
                  <a:lnTo>
                    <a:pt x="399" y="2520"/>
                  </a:lnTo>
                  <a:lnTo>
                    <a:pt x="401" y="2520"/>
                  </a:lnTo>
                  <a:lnTo>
                    <a:pt x="401" y="2519"/>
                  </a:lnTo>
                  <a:lnTo>
                    <a:pt x="401" y="2517"/>
                  </a:lnTo>
                  <a:lnTo>
                    <a:pt x="401" y="2515"/>
                  </a:lnTo>
                  <a:lnTo>
                    <a:pt x="401" y="2513"/>
                  </a:lnTo>
                  <a:lnTo>
                    <a:pt x="399" y="2513"/>
                  </a:lnTo>
                  <a:lnTo>
                    <a:pt x="399" y="2511"/>
                  </a:lnTo>
                  <a:lnTo>
                    <a:pt x="399" y="2509"/>
                  </a:lnTo>
                  <a:lnTo>
                    <a:pt x="401" y="2509"/>
                  </a:lnTo>
                  <a:lnTo>
                    <a:pt x="401" y="2511"/>
                  </a:lnTo>
                  <a:lnTo>
                    <a:pt x="403" y="2511"/>
                  </a:lnTo>
                  <a:lnTo>
                    <a:pt x="401" y="2511"/>
                  </a:lnTo>
                  <a:lnTo>
                    <a:pt x="403" y="2511"/>
                  </a:lnTo>
                  <a:lnTo>
                    <a:pt x="403" y="2509"/>
                  </a:lnTo>
                  <a:lnTo>
                    <a:pt x="403" y="2507"/>
                  </a:lnTo>
                  <a:lnTo>
                    <a:pt x="401" y="2501"/>
                  </a:lnTo>
                  <a:lnTo>
                    <a:pt x="405" y="2501"/>
                  </a:lnTo>
                  <a:lnTo>
                    <a:pt x="403" y="2503"/>
                  </a:lnTo>
                  <a:lnTo>
                    <a:pt x="403" y="2505"/>
                  </a:lnTo>
                  <a:lnTo>
                    <a:pt x="405" y="2509"/>
                  </a:lnTo>
                  <a:lnTo>
                    <a:pt x="405" y="2511"/>
                  </a:lnTo>
                  <a:lnTo>
                    <a:pt x="407" y="2509"/>
                  </a:lnTo>
                  <a:lnTo>
                    <a:pt x="407" y="2507"/>
                  </a:lnTo>
                  <a:lnTo>
                    <a:pt x="407" y="2505"/>
                  </a:lnTo>
                  <a:lnTo>
                    <a:pt x="407" y="2503"/>
                  </a:lnTo>
                  <a:lnTo>
                    <a:pt x="407" y="2505"/>
                  </a:lnTo>
                  <a:lnTo>
                    <a:pt x="409" y="2505"/>
                  </a:lnTo>
                  <a:lnTo>
                    <a:pt x="411" y="2503"/>
                  </a:lnTo>
                  <a:lnTo>
                    <a:pt x="409" y="2503"/>
                  </a:lnTo>
                  <a:lnTo>
                    <a:pt x="409" y="2505"/>
                  </a:lnTo>
                  <a:lnTo>
                    <a:pt x="409" y="2503"/>
                  </a:lnTo>
                  <a:lnTo>
                    <a:pt x="411" y="2503"/>
                  </a:lnTo>
                  <a:lnTo>
                    <a:pt x="413" y="2503"/>
                  </a:lnTo>
                  <a:lnTo>
                    <a:pt x="413" y="2501"/>
                  </a:lnTo>
                  <a:lnTo>
                    <a:pt x="413" y="2503"/>
                  </a:lnTo>
                  <a:lnTo>
                    <a:pt x="411" y="2505"/>
                  </a:lnTo>
                  <a:lnTo>
                    <a:pt x="413" y="2507"/>
                  </a:lnTo>
                  <a:lnTo>
                    <a:pt x="415" y="2507"/>
                  </a:lnTo>
                  <a:lnTo>
                    <a:pt x="415" y="2505"/>
                  </a:lnTo>
                  <a:lnTo>
                    <a:pt x="415" y="2503"/>
                  </a:lnTo>
                  <a:lnTo>
                    <a:pt x="415" y="2505"/>
                  </a:lnTo>
                  <a:lnTo>
                    <a:pt x="415" y="2507"/>
                  </a:lnTo>
                  <a:lnTo>
                    <a:pt x="415" y="2505"/>
                  </a:lnTo>
                  <a:lnTo>
                    <a:pt x="417" y="2505"/>
                  </a:lnTo>
                  <a:lnTo>
                    <a:pt x="415" y="2507"/>
                  </a:lnTo>
                  <a:lnTo>
                    <a:pt x="415" y="2509"/>
                  </a:lnTo>
                  <a:lnTo>
                    <a:pt x="417" y="2507"/>
                  </a:lnTo>
                  <a:lnTo>
                    <a:pt x="415" y="2509"/>
                  </a:lnTo>
                  <a:lnTo>
                    <a:pt x="417" y="2509"/>
                  </a:lnTo>
                  <a:lnTo>
                    <a:pt x="419" y="2509"/>
                  </a:lnTo>
                  <a:lnTo>
                    <a:pt x="419" y="2507"/>
                  </a:lnTo>
                  <a:lnTo>
                    <a:pt x="419" y="2509"/>
                  </a:lnTo>
                  <a:lnTo>
                    <a:pt x="419" y="2507"/>
                  </a:lnTo>
                  <a:lnTo>
                    <a:pt x="419" y="2509"/>
                  </a:lnTo>
                  <a:lnTo>
                    <a:pt x="420" y="2507"/>
                  </a:lnTo>
                  <a:lnTo>
                    <a:pt x="419" y="2509"/>
                  </a:lnTo>
                  <a:lnTo>
                    <a:pt x="419" y="2511"/>
                  </a:lnTo>
                  <a:lnTo>
                    <a:pt x="420" y="2511"/>
                  </a:lnTo>
                  <a:lnTo>
                    <a:pt x="422" y="2513"/>
                  </a:lnTo>
                  <a:lnTo>
                    <a:pt x="424" y="2513"/>
                  </a:lnTo>
                  <a:lnTo>
                    <a:pt x="426" y="2513"/>
                  </a:lnTo>
                  <a:lnTo>
                    <a:pt x="428" y="2515"/>
                  </a:lnTo>
                  <a:lnTo>
                    <a:pt x="430" y="2515"/>
                  </a:lnTo>
                  <a:lnTo>
                    <a:pt x="430" y="2511"/>
                  </a:lnTo>
                  <a:lnTo>
                    <a:pt x="430" y="2515"/>
                  </a:lnTo>
                  <a:lnTo>
                    <a:pt x="432" y="2515"/>
                  </a:lnTo>
                  <a:lnTo>
                    <a:pt x="434" y="2515"/>
                  </a:lnTo>
                  <a:lnTo>
                    <a:pt x="436" y="2515"/>
                  </a:lnTo>
                  <a:lnTo>
                    <a:pt x="438" y="2515"/>
                  </a:lnTo>
                  <a:lnTo>
                    <a:pt x="440" y="2515"/>
                  </a:lnTo>
                  <a:lnTo>
                    <a:pt x="442" y="2515"/>
                  </a:lnTo>
                  <a:lnTo>
                    <a:pt x="443" y="2515"/>
                  </a:lnTo>
                  <a:lnTo>
                    <a:pt x="445" y="2515"/>
                  </a:lnTo>
                  <a:lnTo>
                    <a:pt x="447" y="2515"/>
                  </a:lnTo>
                  <a:lnTo>
                    <a:pt x="447" y="2513"/>
                  </a:lnTo>
                  <a:lnTo>
                    <a:pt x="449" y="2511"/>
                  </a:lnTo>
                  <a:lnTo>
                    <a:pt x="447" y="2507"/>
                  </a:lnTo>
                  <a:lnTo>
                    <a:pt x="449" y="2511"/>
                  </a:lnTo>
                  <a:lnTo>
                    <a:pt x="447" y="2507"/>
                  </a:lnTo>
                  <a:lnTo>
                    <a:pt x="449" y="2511"/>
                  </a:lnTo>
                  <a:lnTo>
                    <a:pt x="449" y="2509"/>
                  </a:lnTo>
                  <a:lnTo>
                    <a:pt x="449" y="2507"/>
                  </a:lnTo>
                  <a:lnTo>
                    <a:pt x="449" y="2509"/>
                  </a:lnTo>
                  <a:lnTo>
                    <a:pt x="451" y="2509"/>
                  </a:lnTo>
                  <a:lnTo>
                    <a:pt x="449" y="2507"/>
                  </a:lnTo>
                  <a:lnTo>
                    <a:pt x="451" y="2509"/>
                  </a:lnTo>
                  <a:lnTo>
                    <a:pt x="451" y="2507"/>
                  </a:lnTo>
                  <a:lnTo>
                    <a:pt x="451" y="2509"/>
                  </a:lnTo>
                  <a:lnTo>
                    <a:pt x="451" y="2505"/>
                  </a:lnTo>
                  <a:lnTo>
                    <a:pt x="453" y="2509"/>
                  </a:lnTo>
                  <a:lnTo>
                    <a:pt x="453" y="2507"/>
                  </a:lnTo>
                  <a:lnTo>
                    <a:pt x="451" y="2505"/>
                  </a:lnTo>
                  <a:lnTo>
                    <a:pt x="453" y="2507"/>
                  </a:lnTo>
                  <a:lnTo>
                    <a:pt x="453" y="2505"/>
                  </a:lnTo>
                  <a:lnTo>
                    <a:pt x="453" y="2507"/>
                  </a:lnTo>
                  <a:lnTo>
                    <a:pt x="453" y="2505"/>
                  </a:lnTo>
                  <a:lnTo>
                    <a:pt x="453" y="2503"/>
                  </a:lnTo>
                  <a:lnTo>
                    <a:pt x="453" y="2505"/>
                  </a:lnTo>
                  <a:lnTo>
                    <a:pt x="455" y="2503"/>
                  </a:lnTo>
                  <a:lnTo>
                    <a:pt x="453" y="2503"/>
                  </a:lnTo>
                  <a:lnTo>
                    <a:pt x="455" y="2503"/>
                  </a:lnTo>
                  <a:lnTo>
                    <a:pt x="455" y="2501"/>
                  </a:lnTo>
                  <a:lnTo>
                    <a:pt x="459" y="2501"/>
                  </a:lnTo>
                  <a:lnTo>
                    <a:pt x="461" y="2501"/>
                  </a:lnTo>
                  <a:lnTo>
                    <a:pt x="461" y="2499"/>
                  </a:lnTo>
                  <a:lnTo>
                    <a:pt x="461" y="2501"/>
                  </a:lnTo>
                  <a:lnTo>
                    <a:pt x="463" y="2501"/>
                  </a:lnTo>
                  <a:lnTo>
                    <a:pt x="463" y="2499"/>
                  </a:lnTo>
                  <a:lnTo>
                    <a:pt x="463" y="2501"/>
                  </a:lnTo>
                  <a:lnTo>
                    <a:pt x="463" y="2499"/>
                  </a:lnTo>
                  <a:lnTo>
                    <a:pt x="465" y="2497"/>
                  </a:lnTo>
                  <a:lnTo>
                    <a:pt x="465" y="2499"/>
                  </a:lnTo>
                  <a:lnTo>
                    <a:pt x="468" y="2499"/>
                  </a:lnTo>
                  <a:lnTo>
                    <a:pt x="470" y="2499"/>
                  </a:lnTo>
                  <a:lnTo>
                    <a:pt x="470" y="2497"/>
                  </a:lnTo>
                  <a:lnTo>
                    <a:pt x="470" y="2495"/>
                  </a:lnTo>
                  <a:lnTo>
                    <a:pt x="470" y="2497"/>
                  </a:lnTo>
                  <a:lnTo>
                    <a:pt x="472" y="2495"/>
                  </a:lnTo>
                  <a:lnTo>
                    <a:pt x="474" y="2494"/>
                  </a:lnTo>
                  <a:lnTo>
                    <a:pt x="480" y="2492"/>
                  </a:lnTo>
                  <a:lnTo>
                    <a:pt x="482" y="2490"/>
                  </a:lnTo>
                  <a:lnTo>
                    <a:pt x="482" y="2488"/>
                  </a:lnTo>
                  <a:lnTo>
                    <a:pt x="488" y="2486"/>
                  </a:lnTo>
                  <a:lnTo>
                    <a:pt x="490" y="2486"/>
                  </a:lnTo>
                  <a:lnTo>
                    <a:pt x="488" y="2484"/>
                  </a:lnTo>
                  <a:lnTo>
                    <a:pt x="490" y="2486"/>
                  </a:lnTo>
                  <a:lnTo>
                    <a:pt x="491" y="2484"/>
                  </a:lnTo>
                  <a:lnTo>
                    <a:pt x="490" y="2484"/>
                  </a:lnTo>
                  <a:lnTo>
                    <a:pt x="491" y="2484"/>
                  </a:lnTo>
                  <a:lnTo>
                    <a:pt x="491" y="2482"/>
                  </a:lnTo>
                  <a:lnTo>
                    <a:pt x="491" y="2484"/>
                  </a:lnTo>
                  <a:lnTo>
                    <a:pt x="493" y="2484"/>
                  </a:lnTo>
                  <a:lnTo>
                    <a:pt x="491" y="2482"/>
                  </a:lnTo>
                  <a:lnTo>
                    <a:pt x="493" y="2484"/>
                  </a:lnTo>
                  <a:lnTo>
                    <a:pt x="493" y="2482"/>
                  </a:lnTo>
                  <a:lnTo>
                    <a:pt x="493" y="2484"/>
                  </a:lnTo>
                  <a:lnTo>
                    <a:pt x="503" y="2482"/>
                  </a:lnTo>
                  <a:lnTo>
                    <a:pt x="505" y="2482"/>
                  </a:lnTo>
                  <a:lnTo>
                    <a:pt x="505" y="2480"/>
                  </a:lnTo>
                  <a:lnTo>
                    <a:pt x="503" y="2478"/>
                  </a:lnTo>
                  <a:lnTo>
                    <a:pt x="505" y="2480"/>
                  </a:lnTo>
                  <a:lnTo>
                    <a:pt x="505" y="2482"/>
                  </a:lnTo>
                  <a:lnTo>
                    <a:pt x="509" y="2482"/>
                  </a:lnTo>
                  <a:lnTo>
                    <a:pt x="511" y="2482"/>
                  </a:lnTo>
                  <a:lnTo>
                    <a:pt x="515" y="2480"/>
                  </a:lnTo>
                  <a:lnTo>
                    <a:pt x="516" y="2478"/>
                  </a:lnTo>
                  <a:lnTo>
                    <a:pt x="518" y="2478"/>
                  </a:lnTo>
                  <a:lnTo>
                    <a:pt x="520" y="2478"/>
                  </a:lnTo>
                  <a:lnTo>
                    <a:pt x="522" y="2478"/>
                  </a:lnTo>
                  <a:lnTo>
                    <a:pt x="524" y="2478"/>
                  </a:lnTo>
                  <a:lnTo>
                    <a:pt x="526" y="2478"/>
                  </a:lnTo>
                  <a:lnTo>
                    <a:pt x="526" y="2480"/>
                  </a:lnTo>
                  <a:lnTo>
                    <a:pt x="528" y="2480"/>
                  </a:lnTo>
                  <a:lnTo>
                    <a:pt x="530" y="2482"/>
                  </a:lnTo>
                  <a:lnTo>
                    <a:pt x="530" y="2480"/>
                  </a:lnTo>
                  <a:lnTo>
                    <a:pt x="532" y="2476"/>
                  </a:lnTo>
                  <a:lnTo>
                    <a:pt x="532" y="2472"/>
                  </a:lnTo>
                  <a:lnTo>
                    <a:pt x="534" y="2469"/>
                  </a:lnTo>
                  <a:lnTo>
                    <a:pt x="534" y="2467"/>
                  </a:lnTo>
                  <a:lnTo>
                    <a:pt x="536" y="2467"/>
                  </a:lnTo>
                  <a:lnTo>
                    <a:pt x="536" y="2459"/>
                  </a:lnTo>
                  <a:lnTo>
                    <a:pt x="539" y="2455"/>
                  </a:lnTo>
                  <a:lnTo>
                    <a:pt x="539" y="2453"/>
                  </a:lnTo>
                  <a:lnTo>
                    <a:pt x="541" y="2453"/>
                  </a:lnTo>
                  <a:lnTo>
                    <a:pt x="539" y="2449"/>
                  </a:lnTo>
                  <a:lnTo>
                    <a:pt x="539" y="2447"/>
                  </a:lnTo>
                  <a:lnTo>
                    <a:pt x="539" y="2446"/>
                  </a:lnTo>
                  <a:lnTo>
                    <a:pt x="539" y="2444"/>
                  </a:lnTo>
                  <a:lnTo>
                    <a:pt x="539" y="2438"/>
                  </a:lnTo>
                  <a:lnTo>
                    <a:pt x="539" y="2436"/>
                  </a:lnTo>
                  <a:lnTo>
                    <a:pt x="538" y="2434"/>
                  </a:lnTo>
                  <a:lnTo>
                    <a:pt x="538" y="2432"/>
                  </a:lnTo>
                  <a:lnTo>
                    <a:pt x="538" y="2434"/>
                  </a:lnTo>
                  <a:lnTo>
                    <a:pt x="539" y="2434"/>
                  </a:lnTo>
                  <a:lnTo>
                    <a:pt x="538" y="2434"/>
                  </a:lnTo>
                  <a:lnTo>
                    <a:pt x="539" y="2436"/>
                  </a:lnTo>
                  <a:lnTo>
                    <a:pt x="541" y="2436"/>
                  </a:lnTo>
                  <a:lnTo>
                    <a:pt x="539" y="2436"/>
                  </a:lnTo>
                  <a:lnTo>
                    <a:pt x="541" y="2434"/>
                  </a:lnTo>
                  <a:lnTo>
                    <a:pt x="547" y="2428"/>
                  </a:lnTo>
                  <a:lnTo>
                    <a:pt x="547" y="2426"/>
                  </a:lnTo>
                  <a:lnTo>
                    <a:pt x="545" y="2426"/>
                  </a:lnTo>
                  <a:lnTo>
                    <a:pt x="543" y="2423"/>
                  </a:lnTo>
                  <a:lnTo>
                    <a:pt x="545" y="2426"/>
                  </a:lnTo>
                  <a:lnTo>
                    <a:pt x="547" y="2426"/>
                  </a:lnTo>
                  <a:lnTo>
                    <a:pt x="549" y="2424"/>
                  </a:lnTo>
                  <a:lnTo>
                    <a:pt x="547" y="2423"/>
                  </a:lnTo>
                  <a:lnTo>
                    <a:pt x="549" y="2424"/>
                  </a:lnTo>
                  <a:lnTo>
                    <a:pt x="551" y="2424"/>
                  </a:lnTo>
                  <a:lnTo>
                    <a:pt x="555" y="2424"/>
                  </a:lnTo>
                  <a:lnTo>
                    <a:pt x="555" y="2426"/>
                  </a:lnTo>
                  <a:lnTo>
                    <a:pt x="555" y="2424"/>
                  </a:lnTo>
                  <a:lnTo>
                    <a:pt x="557" y="2426"/>
                  </a:lnTo>
                  <a:lnTo>
                    <a:pt x="557" y="2424"/>
                  </a:lnTo>
                  <a:lnTo>
                    <a:pt x="557" y="2426"/>
                  </a:lnTo>
                  <a:lnTo>
                    <a:pt x="559" y="2426"/>
                  </a:lnTo>
                  <a:lnTo>
                    <a:pt x="559" y="2424"/>
                  </a:lnTo>
                  <a:lnTo>
                    <a:pt x="559" y="2426"/>
                  </a:lnTo>
                  <a:lnTo>
                    <a:pt x="559" y="2424"/>
                  </a:lnTo>
                  <a:lnTo>
                    <a:pt x="561" y="2424"/>
                  </a:lnTo>
                  <a:lnTo>
                    <a:pt x="559" y="2426"/>
                  </a:lnTo>
                  <a:lnTo>
                    <a:pt x="561" y="2426"/>
                  </a:lnTo>
                  <a:lnTo>
                    <a:pt x="561" y="2424"/>
                  </a:lnTo>
                  <a:lnTo>
                    <a:pt x="561" y="2426"/>
                  </a:lnTo>
                  <a:lnTo>
                    <a:pt x="562" y="2426"/>
                  </a:lnTo>
                  <a:lnTo>
                    <a:pt x="562" y="2424"/>
                  </a:lnTo>
                  <a:lnTo>
                    <a:pt x="562" y="2426"/>
                  </a:lnTo>
                  <a:lnTo>
                    <a:pt x="564" y="2426"/>
                  </a:lnTo>
                  <a:lnTo>
                    <a:pt x="564" y="2428"/>
                  </a:lnTo>
                  <a:lnTo>
                    <a:pt x="564" y="2426"/>
                  </a:lnTo>
                  <a:lnTo>
                    <a:pt x="564" y="2424"/>
                  </a:lnTo>
                  <a:lnTo>
                    <a:pt x="564" y="2423"/>
                  </a:lnTo>
                  <a:lnTo>
                    <a:pt x="564" y="2421"/>
                  </a:lnTo>
                  <a:lnTo>
                    <a:pt x="564" y="2423"/>
                  </a:lnTo>
                  <a:lnTo>
                    <a:pt x="564" y="2424"/>
                  </a:lnTo>
                  <a:lnTo>
                    <a:pt x="564" y="2426"/>
                  </a:lnTo>
                  <a:close/>
                  <a:moveTo>
                    <a:pt x="325" y="2252"/>
                  </a:moveTo>
                  <a:lnTo>
                    <a:pt x="326" y="2252"/>
                  </a:lnTo>
                  <a:lnTo>
                    <a:pt x="326" y="2253"/>
                  </a:lnTo>
                  <a:lnTo>
                    <a:pt x="328" y="2253"/>
                  </a:lnTo>
                  <a:lnTo>
                    <a:pt x="328" y="2255"/>
                  </a:lnTo>
                  <a:lnTo>
                    <a:pt x="330" y="2255"/>
                  </a:lnTo>
                  <a:lnTo>
                    <a:pt x="326" y="2255"/>
                  </a:lnTo>
                  <a:lnTo>
                    <a:pt x="325" y="2255"/>
                  </a:lnTo>
                  <a:lnTo>
                    <a:pt x="325" y="2253"/>
                  </a:lnTo>
                  <a:lnTo>
                    <a:pt x="323" y="2252"/>
                  </a:lnTo>
                  <a:lnTo>
                    <a:pt x="325" y="2252"/>
                  </a:lnTo>
                  <a:close/>
                  <a:moveTo>
                    <a:pt x="344" y="2246"/>
                  </a:moveTo>
                  <a:lnTo>
                    <a:pt x="342" y="2246"/>
                  </a:lnTo>
                  <a:lnTo>
                    <a:pt x="342" y="2244"/>
                  </a:lnTo>
                  <a:lnTo>
                    <a:pt x="344" y="2244"/>
                  </a:lnTo>
                  <a:lnTo>
                    <a:pt x="346" y="2246"/>
                  </a:lnTo>
                  <a:lnTo>
                    <a:pt x="344" y="2246"/>
                  </a:lnTo>
                  <a:close/>
                  <a:moveTo>
                    <a:pt x="317" y="2238"/>
                  </a:moveTo>
                  <a:lnTo>
                    <a:pt x="319" y="2238"/>
                  </a:lnTo>
                  <a:lnTo>
                    <a:pt x="319" y="2240"/>
                  </a:lnTo>
                  <a:lnTo>
                    <a:pt x="317" y="2240"/>
                  </a:lnTo>
                  <a:lnTo>
                    <a:pt x="317" y="2238"/>
                  </a:lnTo>
                  <a:close/>
                  <a:moveTo>
                    <a:pt x="340" y="2240"/>
                  </a:moveTo>
                  <a:lnTo>
                    <a:pt x="340" y="2238"/>
                  </a:lnTo>
                  <a:lnTo>
                    <a:pt x="342" y="2238"/>
                  </a:lnTo>
                  <a:lnTo>
                    <a:pt x="342" y="2236"/>
                  </a:lnTo>
                  <a:lnTo>
                    <a:pt x="342" y="2238"/>
                  </a:lnTo>
                  <a:lnTo>
                    <a:pt x="340" y="2240"/>
                  </a:lnTo>
                  <a:close/>
                  <a:moveTo>
                    <a:pt x="317" y="2234"/>
                  </a:moveTo>
                  <a:lnTo>
                    <a:pt x="315" y="2234"/>
                  </a:lnTo>
                  <a:lnTo>
                    <a:pt x="317" y="2232"/>
                  </a:lnTo>
                  <a:lnTo>
                    <a:pt x="317" y="2230"/>
                  </a:lnTo>
                  <a:lnTo>
                    <a:pt x="317" y="2232"/>
                  </a:lnTo>
                  <a:lnTo>
                    <a:pt x="317" y="2234"/>
                  </a:lnTo>
                  <a:close/>
                  <a:moveTo>
                    <a:pt x="344" y="2234"/>
                  </a:moveTo>
                  <a:lnTo>
                    <a:pt x="342" y="2234"/>
                  </a:lnTo>
                  <a:lnTo>
                    <a:pt x="340" y="2236"/>
                  </a:lnTo>
                  <a:lnTo>
                    <a:pt x="338" y="2238"/>
                  </a:lnTo>
                  <a:lnTo>
                    <a:pt x="338" y="2240"/>
                  </a:lnTo>
                  <a:lnTo>
                    <a:pt x="340" y="2240"/>
                  </a:lnTo>
                  <a:lnTo>
                    <a:pt x="340" y="2242"/>
                  </a:lnTo>
                  <a:lnTo>
                    <a:pt x="338" y="2242"/>
                  </a:lnTo>
                  <a:lnTo>
                    <a:pt x="336" y="2242"/>
                  </a:lnTo>
                  <a:lnTo>
                    <a:pt x="336" y="2240"/>
                  </a:lnTo>
                  <a:lnTo>
                    <a:pt x="338" y="2236"/>
                  </a:lnTo>
                  <a:lnTo>
                    <a:pt x="340" y="2234"/>
                  </a:lnTo>
                  <a:lnTo>
                    <a:pt x="342" y="2232"/>
                  </a:lnTo>
                  <a:lnTo>
                    <a:pt x="344" y="2232"/>
                  </a:lnTo>
                  <a:lnTo>
                    <a:pt x="342" y="2230"/>
                  </a:lnTo>
                  <a:lnTo>
                    <a:pt x="344" y="2230"/>
                  </a:lnTo>
                  <a:lnTo>
                    <a:pt x="344" y="2232"/>
                  </a:lnTo>
                  <a:lnTo>
                    <a:pt x="344" y="2234"/>
                  </a:lnTo>
                  <a:close/>
                  <a:moveTo>
                    <a:pt x="346" y="2228"/>
                  </a:moveTo>
                  <a:lnTo>
                    <a:pt x="346" y="2230"/>
                  </a:lnTo>
                  <a:lnTo>
                    <a:pt x="346" y="2228"/>
                  </a:lnTo>
                  <a:lnTo>
                    <a:pt x="344" y="2228"/>
                  </a:lnTo>
                  <a:lnTo>
                    <a:pt x="344" y="2230"/>
                  </a:lnTo>
                  <a:lnTo>
                    <a:pt x="344" y="2232"/>
                  </a:lnTo>
                  <a:lnTo>
                    <a:pt x="344" y="2228"/>
                  </a:lnTo>
                  <a:lnTo>
                    <a:pt x="346" y="2228"/>
                  </a:lnTo>
                  <a:lnTo>
                    <a:pt x="346" y="2227"/>
                  </a:lnTo>
                  <a:lnTo>
                    <a:pt x="346" y="2228"/>
                  </a:lnTo>
                  <a:close/>
                  <a:moveTo>
                    <a:pt x="319" y="2223"/>
                  </a:moveTo>
                  <a:lnTo>
                    <a:pt x="317" y="2223"/>
                  </a:lnTo>
                  <a:lnTo>
                    <a:pt x="319" y="2221"/>
                  </a:lnTo>
                  <a:lnTo>
                    <a:pt x="321" y="2221"/>
                  </a:lnTo>
                  <a:lnTo>
                    <a:pt x="321" y="2219"/>
                  </a:lnTo>
                  <a:lnTo>
                    <a:pt x="323" y="2217"/>
                  </a:lnTo>
                  <a:lnTo>
                    <a:pt x="323" y="2219"/>
                  </a:lnTo>
                  <a:lnTo>
                    <a:pt x="321" y="2221"/>
                  </a:lnTo>
                  <a:lnTo>
                    <a:pt x="319" y="2223"/>
                  </a:lnTo>
                  <a:close/>
                  <a:moveTo>
                    <a:pt x="409" y="2221"/>
                  </a:moveTo>
                  <a:lnTo>
                    <a:pt x="407" y="2221"/>
                  </a:lnTo>
                  <a:lnTo>
                    <a:pt x="405" y="2219"/>
                  </a:lnTo>
                  <a:lnTo>
                    <a:pt x="407" y="2219"/>
                  </a:lnTo>
                  <a:lnTo>
                    <a:pt x="409" y="2221"/>
                  </a:lnTo>
                  <a:close/>
                  <a:moveTo>
                    <a:pt x="403" y="2217"/>
                  </a:moveTo>
                  <a:lnTo>
                    <a:pt x="403" y="2219"/>
                  </a:lnTo>
                  <a:lnTo>
                    <a:pt x="403" y="2217"/>
                  </a:lnTo>
                  <a:lnTo>
                    <a:pt x="401" y="2217"/>
                  </a:lnTo>
                  <a:lnTo>
                    <a:pt x="401" y="2219"/>
                  </a:lnTo>
                  <a:lnTo>
                    <a:pt x="401" y="2217"/>
                  </a:lnTo>
                  <a:lnTo>
                    <a:pt x="403" y="2217"/>
                  </a:lnTo>
                  <a:close/>
                  <a:moveTo>
                    <a:pt x="390" y="2207"/>
                  </a:moveTo>
                  <a:lnTo>
                    <a:pt x="392" y="2207"/>
                  </a:lnTo>
                  <a:lnTo>
                    <a:pt x="394" y="2207"/>
                  </a:lnTo>
                  <a:lnTo>
                    <a:pt x="394" y="2209"/>
                  </a:lnTo>
                  <a:lnTo>
                    <a:pt x="396" y="2209"/>
                  </a:lnTo>
                  <a:lnTo>
                    <a:pt x="396" y="2211"/>
                  </a:lnTo>
                  <a:lnTo>
                    <a:pt x="396" y="2213"/>
                  </a:lnTo>
                  <a:lnTo>
                    <a:pt x="394" y="2213"/>
                  </a:lnTo>
                  <a:lnTo>
                    <a:pt x="396" y="2213"/>
                  </a:lnTo>
                  <a:lnTo>
                    <a:pt x="396" y="2211"/>
                  </a:lnTo>
                  <a:lnTo>
                    <a:pt x="396" y="2213"/>
                  </a:lnTo>
                  <a:lnTo>
                    <a:pt x="394" y="2213"/>
                  </a:lnTo>
                  <a:lnTo>
                    <a:pt x="392" y="2211"/>
                  </a:lnTo>
                  <a:lnTo>
                    <a:pt x="388" y="2209"/>
                  </a:lnTo>
                  <a:lnTo>
                    <a:pt x="390" y="2207"/>
                  </a:lnTo>
                  <a:close/>
                  <a:moveTo>
                    <a:pt x="388" y="2205"/>
                  </a:moveTo>
                  <a:lnTo>
                    <a:pt x="388" y="2207"/>
                  </a:lnTo>
                  <a:lnTo>
                    <a:pt x="388" y="2209"/>
                  </a:lnTo>
                  <a:lnTo>
                    <a:pt x="388" y="2211"/>
                  </a:lnTo>
                  <a:lnTo>
                    <a:pt x="390" y="2211"/>
                  </a:lnTo>
                  <a:lnTo>
                    <a:pt x="390" y="2213"/>
                  </a:lnTo>
                  <a:lnTo>
                    <a:pt x="388" y="2213"/>
                  </a:lnTo>
                  <a:lnTo>
                    <a:pt x="386" y="2213"/>
                  </a:lnTo>
                  <a:lnTo>
                    <a:pt x="382" y="2211"/>
                  </a:lnTo>
                  <a:lnTo>
                    <a:pt x="380" y="2211"/>
                  </a:lnTo>
                  <a:lnTo>
                    <a:pt x="378" y="2211"/>
                  </a:lnTo>
                  <a:lnTo>
                    <a:pt x="376" y="2211"/>
                  </a:lnTo>
                  <a:lnTo>
                    <a:pt x="376" y="2209"/>
                  </a:lnTo>
                  <a:lnTo>
                    <a:pt x="376" y="2207"/>
                  </a:lnTo>
                  <a:lnTo>
                    <a:pt x="378" y="2207"/>
                  </a:lnTo>
                  <a:lnTo>
                    <a:pt x="380" y="2207"/>
                  </a:lnTo>
                  <a:lnTo>
                    <a:pt x="382" y="2207"/>
                  </a:lnTo>
                  <a:lnTo>
                    <a:pt x="384" y="2207"/>
                  </a:lnTo>
                  <a:lnTo>
                    <a:pt x="384" y="2205"/>
                  </a:lnTo>
                  <a:lnTo>
                    <a:pt x="386" y="2205"/>
                  </a:lnTo>
                  <a:lnTo>
                    <a:pt x="388" y="2205"/>
                  </a:lnTo>
                  <a:close/>
                  <a:moveTo>
                    <a:pt x="321" y="2204"/>
                  </a:moveTo>
                  <a:lnTo>
                    <a:pt x="321" y="2205"/>
                  </a:lnTo>
                  <a:lnTo>
                    <a:pt x="321" y="2207"/>
                  </a:lnTo>
                  <a:lnTo>
                    <a:pt x="323" y="2207"/>
                  </a:lnTo>
                  <a:lnTo>
                    <a:pt x="323" y="2209"/>
                  </a:lnTo>
                  <a:lnTo>
                    <a:pt x="323" y="2211"/>
                  </a:lnTo>
                  <a:lnTo>
                    <a:pt x="323" y="2213"/>
                  </a:lnTo>
                  <a:lnTo>
                    <a:pt x="323" y="2215"/>
                  </a:lnTo>
                  <a:lnTo>
                    <a:pt x="321" y="2215"/>
                  </a:lnTo>
                  <a:lnTo>
                    <a:pt x="321" y="2213"/>
                  </a:lnTo>
                  <a:lnTo>
                    <a:pt x="319" y="2215"/>
                  </a:lnTo>
                  <a:lnTo>
                    <a:pt x="319" y="2217"/>
                  </a:lnTo>
                  <a:lnTo>
                    <a:pt x="319" y="2219"/>
                  </a:lnTo>
                  <a:lnTo>
                    <a:pt x="319" y="2221"/>
                  </a:lnTo>
                  <a:lnTo>
                    <a:pt x="317" y="2221"/>
                  </a:lnTo>
                  <a:lnTo>
                    <a:pt x="315" y="2221"/>
                  </a:lnTo>
                  <a:lnTo>
                    <a:pt x="315" y="2219"/>
                  </a:lnTo>
                  <a:lnTo>
                    <a:pt x="315" y="2215"/>
                  </a:lnTo>
                  <a:lnTo>
                    <a:pt x="315" y="2213"/>
                  </a:lnTo>
                  <a:lnTo>
                    <a:pt x="315" y="2211"/>
                  </a:lnTo>
                  <a:lnTo>
                    <a:pt x="313" y="2209"/>
                  </a:lnTo>
                  <a:lnTo>
                    <a:pt x="313" y="2207"/>
                  </a:lnTo>
                  <a:lnTo>
                    <a:pt x="311" y="2205"/>
                  </a:lnTo>
                  <a:lnTo>
                    <a:pt x="311" y="2204"/>
                  </a:lnTo>
                  <a:lnTo>
                    <a:pt x="311" y="2202"/>
                  </a:lnTo>
                  <a:lnTo>
                    <a:pt x="311" y="2200"/>
                  </a:lnTo>
                  <a:lnTo>
                    <a:pt x="313" y="2200"/>
                  </a:lnTo>
                  <a:lnTo>
                    <a:pt x="313" y="2198"/>
                  </a:lnTo>
                  <a:lnTo>
                    <a:pt x="315" y="2200"/>
                  </a:lnTo>
                  <a:lnTo>
                    <a:pt x="317" y="2200"/>
                  </a:lnTo>
                  <a:lnTo>
                    <a:pt x="317" y="2202"/>
                  </a:lnTo>
                  <a:lnTo>
                    <a:pt x="319" y="2202"/>
                  </a:lnTo>
                  <a:lnTo>
                    <a:pt x="319" y="2204"/>
                  </a:lnTo>
                  <a:lnTo>
                    <a:pt x="321" y="2204"/>
                  </a:lnTo>
                  <a:close/>
                  <a:moveTo>
                    <a:pt x="305" y="2190"/>
                  </a:moveTo>
                  <a:lnTo>
                    <a:pt x="305" y="2192"/>
                  </a:lnTo>
                  <a:lnTo>
                    <a:pt x="305" y="2194"/>
                  </a:lnTo>
                  <a:lnTo>
                    <a:pt x="307" y="2194"/>
                  </a:lnTo>
                  <a:lnTo>
                    <a:pt x="307" y="2196"/>
                  </a:lnTo>
                  <a:lnTo>
                    <a:pt x="305" y="2196"/>
                  </a:lnTo>
                  <a:lnTo>
                    <a:pt x="305" y="2194"/>
                  </a:lnTo>
                  <a:lnTo>
                    <a:pt x="305" y="2192"/>
                  </a:lnTo>
                  <a:lnTo>
                    <a:pt x="303" y="2192"/>
                  </a:lnTo>
                  <a:lnTo>
                    <a:pt x="305" y="2192"/>
                  </a:lnTo>
                  <a:lnTo>
                    <a:pt x="303" y="2192"/>
                  </a:lnTo>
                  <a:lnTo>
                    <a:pt x="303" y="2190"/>
                  </a:lnTo>
                  <a:lnTo>
                    <a:pt x="305" y="2190"/>
                  </a:lnTo>
                  <a:close/>
                  <a:moveTo>
                    <a:pt x="300" y="2184"/>
                  </a:moveTo>
                  <a:lnTo>
                    <a:pt x="301" y="2184"/>
                  </a:lnTo>
                  <a:lnTo>
                    <a:pt x="303" y="2184"/>
                  </a:lnTo>
                  <a:lnTo>
                    <a:pt x="303" y="2186"/>
                  </a:lnTo>
                  <a:lnTo>
                    <a:pt x="305" y="2186"/>
                  </a:lnTo>
                  <a:lnTo>
                    <a:pt x="303" y="2186"/>
                  </a:lnTo>
                  <a:lnTo>
                    <a:pt x="305" y="2188"/>
                  </a:lnTo>
                  <a:lnTo>
                    <a:pt x="301" y="2186"/>
                  </a:lnTo>
                  <a:lnTo>
                    <a:pt x="300" y="2186"/>
                  </a:lnTo>
                  <a:lnTo>
                    <a:pt x="300" y="2188"/>
                  </a:lnTo>
                  <a:lnTo>
                    <a:pt x="298" y="2188"/>
                  </a:lnTo>
                  <a:lnTo>
                    <a:pt x="300" y="2186"/>
                  </a:lnTo>
                  <a:lnTo>
                    <a:pt x="300" y="2184"/>
                  </a:lnTo>
                  <a:close/>
                  <a:moveTo>
                    <a:pt x="728" y="2159"/>
                  </a:moveTo>
                  <a:lnTo>
                    <a:pt x="728" y="2161"/>
                  </a:lnTo>
                  <a:lnTo>
                    <a:pt x="729" y="2161"/>
                  </a:lnTo>
                  <a:lnTo>
                    <a:pt x="729" y="2159"/>
                  </a:lnTo>
                  <a:lnTo>
                    <a:pt x="729" y="2161"/>
                  </a:lnTo>
                  <a:lnTo>
                    <a:pt x="728" y="2161"/>
                  </a:lnTo>
                  <a:lnTo>
                    <a:pt x="726" y="2163"/>
                  </a:lnTo>
                  <a:lnTo>
                    <a:pt x="724" y="2161"/>
                  </a:lnTo>
                  <a:lnTo>
                    <a:pt x="726" y="2161"/>
                  </a:lnTo>
                  <a:lnTo>
                    <a:pt x="728" y="2161"/>
                  </a:lnTo>
                  <a:lnTo>
                    <a:pt x="726" y="2161"/>
                  </a:lnTo>
                  <a:lnTo>
                    <a:pt x="726" y="2159"/>
                  </a:lnTo>
                  <a:lnTo>
                    <a:pt x="726" y="2157"/>
                  </a:lnTo>
                  <a:lnTo>
                    <a:pt x="728" y="2159"/>
                  </a:lnTo>
                  <a:close/>
                  <a:moveTo>
                    <a:pt x="739" y="2157"/>
                  </a:moveTo>
                  <a:lnTo>
                    <a:pt x="737" y="2157"/>
                  </a:lnTo>
                  <a:lnTo>
                    <a:pt x="735" y="2157"/>
                  </a:lnTo>
                  <a:lnTo>
                    <a:pt x="737" y="2157"/>
                  </a:lnTo>
                  <a:lnTo>
                    <a:pt x="739" y="2157"/>
                  </a:lnTo>
                  <a:close/>
                  <a:moveTo>
                    <a:pt x="355" y="2090"/>
                  </a:moveTo>
                  <a:lnTo>
                    <a:pt x="353" y="2090"/>
                  </a:lnTo>
                  <a:lnTo>
                    <a:pt x="351" y="2090"/>
                  </a:lnTo>
                  <a:lnTo>
                    <a:pt x="351" y="2088"/>
                  </a:lnTo>
                  <a:lnTo>
                    <a:pt x="353" y="2088"/>
                  </a:lnTo>
                  <a:lnTo>
                    <a:pt x="353" y="2090"/>
                  </a:lnTo>
                  <a:lnTo>
                    <a:pt x="355" y="2088"/>
                  </a:lnTo>
                  <a:lnTo>
                    <a:pt x="355" y="2090"/>
                  </a:lnTo>
                  <a:close/>
                  <a:moveTo>
                    <a:pt x="793" y="2121"/>
                  </a:moveTo>
                  <a:lnTo>
                    <a:pt x="791" y="2121"/>
                  </a:lnTo>
                  <a:lnTo>
                    <a:pt x="789" y="2121"/>
                  </a:lnTo>
                  <a:lnTo>
                    <a:pt x="789" y="2119"/>
                  </a:lnTo>
                  <a:lnTo>
                    <a:pt x="791" y="2121"/>
                  </a:lnTo>
                  <a:lnTo>
                    <a:pt x="793" y="2121"/>
                  </a:lnTo>
                  <a:close/>
                  <a:moveTo>
                    <a:pt x="776" y="2117"/>
                  </a:moveTo>
                  <a:lnTo>
                    <a:pt x="777" y="2117"/>
                  </a:lnTo>
                  <a:lnTo>
                    <a:pt x="776" y="2117"/>
                  </a:lnTo>
                  <a:lnTo>
                    <a:pt x="777" y="2117"/>
                  </a:lnTo>
                  <a:lnTo>
                    <a:pt x="779" y="2117"/>
                  </a:lnTo>
                  <a:lnTo>
                    <a:pt x="781" y="2117"/>
                  </a:lnTo>
                  <a:lnTo>
                    <a:pt x="781" y="2119"/>
                  </a:lnTo>
                  <a:lnTo>
                    <a:pt x="783" y="2119"/>
                  </a:lnTo>
                  <a:lnTo>
                    <a:pt x="785" y="2121"/>
                  </a:lnTo>
                  <a:lnTo>
                    <a:pt x="785" y="2123"/>
                  </a:lnTo>
                  <a:lnTo>
                    <a:pt x="783" y="2123"/>
                  </a:lnTo>
                  <a:lnTo>
                    <a:pt x="781" y="2123"/>
                  </a:lnTo>
                  <a:lnTo>
                    <a:pt x="781" y="2125"/>
                  </a:lnTo>
                  <a:lnTo>
                    <a:pt x="779" y="2125"/>
                  </a:lnTo>
                  <a:lnTo>
                    <a:pt x="779" y="2123"/>
                  </a:lnTo>
                  <a:lnTo>
                    <a:pt x="781" y="2123"/>
                  </a:lnTo>
                  <a:lnTo>
                    <a:pt x="779" y="2123"/>
                  </a:lnTo>
                  <a:lnTo>
                    <a:pt x="777" y="2123"/>
                  </a:lnTo>
                  <a:lnTo>
                    <a:pt x="776" y="2125"/>
                  </a:lnTo>
                  <a:lnTo>
                    <a:pt x="774" y="2123"/>
                  </a:lnTo>
                  <a:lnTo>
                    <a:pt x="772" y="2123"/>
                  </a:lnTo>
                  <a:lnTo>
                    <a:pt x="772" y="2121"/>
                  </a:lnTo>
                  <a:lnTo>
                    <a:pt x="770" y="2121"/>
                  </a:lnTo>
                  <a:lnTo>
                    <a:pt x="770" y="2119"/>
                  </a:lnTo>
                  <a:lnTo>
                    <a:pt x="768" y="2119"/>
                  </a:lnTo>
                  <a:lnTo>
                    <a:pt x="768" y="2117"/>
                  </a:lnTo>
                  <a:lnTo>
                    <a:pt x="770" y="2117"/>
                  </a:lnTo>
                  <a:lnTo>
                    <a:pt x="772" y="2115"/>
                  </a:lnTo>
                  <a:lnTo>
                    <a:pt x="774" y="2115"/>
                  </a:lnTo>
                  <a:lnTo>
                    <a:pt x="776" y="2117"/>
                  </a:lnTo>
                  <a:close/>
                  <a:moveTo>
                    <a:pt x="777" y="2113"/>
                  </a:moveTo>
                  <a:lnTo>
                    <a:pt x="779" y="2113"/>
                  </a:lnTo>
                  <a:lnTo>
                    <a:pt x="779" y="2115"/>
                  </a:lnTo>
                  <a:lnTo>
                    <a:pt x="777" y="2113"/>
                  </a:lnTo>
                  <a:lnTo>
                    <a:pt x="779" y="2113"/>
                  </a:lnTo>
                  <a:lnTo>
                    <a:pt x="779" y="2115"/>
                  </a:lnTo>
                  <a:lnTo>
                    <a:pt x="777" y="2115"/>
                  </a:lnTo>
                  <a:lnTo>
                    <a:pt x="776" y="2115"/>
                  </a:lnTo>
                  <a:lnTo>
                    <a:pt x="777" y="2113"/>
                  </a:lnTo>
                  <a:lnTo>
                    <a:pt x="776" y="2113"/>
                  </a:lnTo>
                  <a:lnTo>
                    <a:pt x="777" y="2113"/>
                  </a:lnTo>
                  <a:close/>
                  <a:moveTo>
                    <a:pt x="770" y="2113"/>
                  </a:moveTo>
                  <a:lnTo>
                    <a:pt x="772" y="2113"/>
                  </a:lnTo>
                  <a:lnTo>
                    <a:pt x="774" y="2113"/>
                  </a:lnTo>
                  <a:lnTo>
                    <a:pt x="772" y="2113"/>
                  </a:lnTo>
                  <a:lnTo>
                    <a:pt x="772" y="2115"/>
                  </a:lnTo>
                  <a:lnTo>
                    <a:pt x="770" y="2115"/>
                  </a:lnTo>
                  <a:lnTo>
                    <a:pt x="770" y="2113"/>
                  </a:lnTo>
                  <a:lnTo>
                    <a:pt x="772" y="2113"/>
                  </a:lnTo>
                  <a:lnTo>
                    <a:pt x="774" y="2113"/>
                  </a:lnTo>
                  <a:lnTo>
                    <a:pt x="772" y="2113"/>
                  </a:lnTo>
                  <a:lnTo>
                    <a:pt x="770" y="2113"/>
                  </a:lnTo>
                  <a:close/>
                  <a:moveTo>
                    <a:pt x="774" y="2107"/>
                  </a:moveTo>
                  <a:lnTo>
                    <a:pt x="774" y="2109"/>
                  </a:lnTo>
                  <a:lnTo>
                    <a:pt x="772" y="2109"/>
                  </a:lnTo>
                  <a:lnTo>
                    <a:pt x="770" y="2109"/>
                  </a:lnTo>
                  <a:lnTo>
                    <a:pt x="768" y="2109"/>
                  </a:lnTo>
                  <a:lnTo>
                    <a:pt x="770" y="2107"/>
                  </a:lnTo>
                  <a:lnTo>
                    <a:pt x="770" y="2109"/>
                  </a:lnTo>
                  <a:lnTo>
                    <a:pt x="772" y="2109"/>
                  </a:lnTo>
                  <a:lnTo>
                    <a:pt x="774" y="2109"/>
                  </a:lnTo>
                  <a:lnTo>
                    <a:pt x="772" y="2107"/>
                  </a:lnTo>
                  <a:lnTo>
                    <a:pt x="774" y="2107"/>
                  </a:lnTo>
                  <a:close/>
                  <a:moveTo>
                    <a:pt x="806" y="2113"/>
                  </a:moveTo>
                  <a:lnTo>
                    <a:pt x="804" y="2113"/>
                  </a:lnTo>
                  <a:lnTo>
                    <a:pt x="804" y="2111"/>
                  </a:lnTo>
                  <a:lnTo>
                    <a:pt x="802" y="2111"/>
                  </a:lnTo>
                  <a:lnTo>
                    <a:pt x="804" y="2109"/>
                  </a:lnTo>
                  <a:lnTo>
                    <a:pt x="804" y="2111"/>
                  </a:lnTo>
                  <a:lnTo>
                    <a:pt x="806" y="2111"/>
                  </a:lnTo>
                  <a:lnTo>
                    <a:pt x="806" y="2113"/>
                  </a:lnTo>
                  <a:close/>
                  <a:moveTo>
                    <a:pt x="810" y="2109"/>
                  </a:moveTo>
                  <a:lnTo>
                    <a:pt x="810" y="2111"/>
                  </a:lnTo>
                  <a:lnTo>
                    <a:pt x="808" y="2113"/>
                  </a:lnTo>
                  <a:lnTo>
                    <a:pt x="806" y="2111"/>
                  </a:lnTo>
                  <a:lnTo>
                    <a:pt x="806" y="2109"/>
                  </a:lnTo>
                  <a:lnTo>
                    <a:pt x="808" y="2109"/>
                  </a:lnTo>
                  <a:lnTo>
                    <a:pt x="810" y="2109"/>
                  </a:lnTo>
                  <a:close/>
                  <a:moveTo>
                    <a:pt x="808" y="2107"/>
                  </a:moveTo>
                  <a:lnTo>
                    <a:pt x="806" y="2107"/>
                  </a:lnTo>
                  <a:lnTo>
                    <a:pt x="804" y="2107"/>
                  </a:lnTo>
                  <a:lnTo>
                    <a:pt x="804" y="2109"/>
                  </a:lnTo>
                  <a:lnTo>
                    <a:pt x="804" y="2107"/>
                  </a:lnTo>
                  <a:lnTo>
                    <a:pt x="806" y="2107"/>
                  </a:lnTo>
                  <a:lnTo>
                    <a:pt x="808" y="2107"/>
                  </a:lnTo>
                  <a:close/>
                  <a:moveTo>
                    <a:pt x="770" y="2104"/>
                  </a:moveTo>
                  <a:lnTo>
                    <a:pt x="772" y="2106"/>
                  </a:lnTo>
                  <a:lnTo>
                    <a:pt x="772" y="2107"/>
                  </a:lnTo>
                  <a:lnTo>
                    <a:pt x="770" y="2107"/>
                  </a:lnTo>
                  <a:lnTo>
                    <a:pt x="770" y="2106"/>
                  </a:lnTo>
                  <a:lnTo>
                    <a:pt x="770" y="2104"/>
                  </a:lnTo>
                  <a:lnTo>
                    <a:pt x="770" y="2106"/>
                  </a:lnTo>
                  <a:lnTo>
                    <a:pt x="768" y="2106"/>
                  </a:lnTo>
                  <a:lnTo>
                    <a:pt x="768" y="2104"/>
                  </a:lnTo>
                  <a:lnTo>
                    <a:pt x="770" y="2104"/>
                  </a:lnTo>
                  <a:lnTo>
                    <a:pt x="768" y="2104"/>
                  </a:lnTo>
                  <a:lnTo>
                    <a:pt x="770" y="2104"/>
                  </a:lnTo>
                  <a:close/>
                  <a:moveTo>
                    <a:pt x="766" y="2102"/>
                  </a:moveTo>
                  <a:lnTo>
                    <a:pt x="764" y="2102"/>
                  </a:lnTo>
                  <a:lnTo>
                    <a:pt x="764" y="2100"/>
                  </a:lnTo>
                  <a:lnTo>
                    <a:pt x="766" y="2100"/>
                  </a:lnTo>
                  <a:lnTo>
                    <a:pt x="766" y="2102"/>
                  </a:lnTo>
                  <a:close/>
                  <a:moveTo>
                    <a:pt x="760" y="2100"/>
                  </a:moveTo>
                  <a:lnTo>
                    <a:pt x="760" y="2098"/>
                  </a:lnTo>
                  <a:lnTo>
                    <a:pt x="762" y="2096"/>
                  </a:lnTo>
                  <a:lnTo>
                    <a:pt x="760" y="2098"/>
                  </a:lnTo>
                  <a:lnTo>
                    <a:pt x="760" y="2100"/>
                  </a:lnTo>
                  <a:close/>
                  <a:moveTo>
                    <a:pt x="764" y="2096"/>
                  </a:moveTo>
                  <a:lnTo>
                    <a:pt x="766" y="2096"/>
                  </a:lnTo>
                  <a:lnTo>
                    <a:pt x="764" y="2096"/>
                  </a:lnTo>
                  <a:lnTo>
                    <a:pt x="766" y="2098"/>
                  </a:lnTo>
                  <a:lnTo>
                    <a:pt x="764" y="2096"/>
                  </a:lnTo>
                  <a:lnTo>
                    <a:pt x="766" y="2098"/>
                  </a:lnTo>
                  <a:lnTo>
                    <a:pt x="764" y="2098"/>
                  </a:lnTo>
                  <a:lnTo>
                    <a:pt x="762" y="2098"/>
                  </a:lnTo>
                  <a:lnTo>
                    <a:pt x="762" y="2100"/>
                  </a:lnTo>
                  <a:lnTo>
                    <a:pt x="762" y="2102"/>
                  </a:lnTo>
                  <a:lnTo>
                    <a:pt x="762" y="2100"/>
                  </a:lnTo>
                  <a:lnTo>
                    <a:pt x="760" y="2100"/>
                  </a:lnTo>
                  <a:lnTo>
                    <a:pt x="762" y="2098"/>
                  </a:lnTo>
                  <a:lnTo>
                    <a:pt x="762" y="2096"/>
                  </a:lnTo>
                  <a:lnTo>
                    <a:pt x="764" y="2096"/>
                  </a:lnTo>
                  <a:lnTo>
                    <a:pt x="762" y="2096"/>
                  </a:lnTo>
                  <a:lnTo>
                    <a:pt x="764" y="2096"/>
                  </a:lnTo>
                  <a:close/>
                  <a:moveTo>
                    <a:pt x="758" y="2090"/>
                  </a:moveTo>
                  <a:lnTo>
                    <a:pt x="756" y="2090"/>
                  </a:lnTo>
                  <a:lnTo>
                    <a:pt x="758" y="2090"/>
                  </a:lnTo>
                  <a:lnTo>
                    <a:pt x="758" y="2088"/>
                  </a:lnTo>
                  <a:lnTo>
                    <a:pt x="758" y="2090"/>
                  </a:lnTo>
                  <a:close/>
                  <a:moveTo>
                    <a:pt x="751" y="2086"/>
                  </a:moveTo>
                  <a:lnTo>
                    <a:pt x="753" y="2086"/>
                  </a:lnTo>
                  <a:lnTo>
                    <a:pt x="753" y="2088"/>
                  </a:lnTo>
                  <a:lnTo>
                    <a:pt x="754" y="2088"/>
                  </a:lnTo>
                  <a:lnTo>
                    <a:pt x="754" y="2086"/>
                  </a:lnTo>
                  <a:lnTo>
                    <a:pt x="754" y="2088"/>
                  </a:lnTo>
                  <a:lnTo>
                    <a:pt x="753" y="2088"/>
                  </a:lnTo>
                  <a:lnTo>
                    <a:pt x="751" y="2088"/>
                  </a:lnTo>
                  <a:lnTo>
                    <a:pt x="751" y="2086"/>
                  </a:lnTo>
                  <a:close/>
                  <a:moveTo>
                    <a:pt x="783" y="2086"/>
                  </a:moveTo>
                  <a:lnTo>
                    <a:pt x="785" y="2086"/>
                  </a:lnTo>
                  <a:lnTo>
                    <a:pt x="783" y="2086"/>
                  </a:lnTo>
                  <a:lnTo>
                    <a:pt x="785" y="2086"/>
                  </a:lnTo>
                  <a:lnTo>
                    <a:pt x="785" y="2088"/>
                  </a:lnTo>
                  <a:lnTo>
                    <a:pt x="783" y="2086"/>
                  </a:lnTo>
                  <a:close/>
                  <a:moveTo>
                    <a:pt x="783" y="2081"/>
                  </a:moveTo>
                  <a:lnTo>
                    <a:pt x="785" y="2081"/>
                  </a:lnTo>
                  <a:lnTo>
                    <a:pt x="785" y="2083"/>
                  </a:lnTo>
                  <a:lnTo>
                    <a:pt x="783" y="2083"/>
                  </a:lnTo>
                  <a:lnTo>
                    <a:pt x="781" y="2083"/>
                  </a:lnTo>
                  <a:lnTo>
                    <a:pt x="781" y="2081"/>
                  </a:lnTo>
                  <a:lnTo>
                    <a:pt x="783" y="2081"/>
                  </a:lnTo>
                  <a:lnTo>
                    <a:pt x="783" y="2079"/>
                  </a:lnTo>
                  <a:lnTo>
                    <a:pt x="785" y="2079"/>
                  </a:lnTo>
                  <a:lnTo>
                    <a:pt x="785" y="2081"/>
                  </a:lnTo>
                  <a:lnTo>
                    <a:pt x="783" y="2081"/>
                  </a:lnTo>
                  <a:close/>
                  <a:moveTo>
                    <a:pt x="779" y="2075"/>
                  </a:moveTo>
                  <a:lnTo>
                    <a:pt x="777" y="2077"/>
                  </a:lnTo>
                  <a:lnTo>
                    <a:pt x="774" y="2075"/>
                  </a:lnTo>
                  <a:lnTo>
                    <a:pt x="776" y="2075"/>
                  </a:lnTo>
                  <a:lnTo>
                    <a:pt x="777" y="2075"/>
                  </a:lnTo>
                  <a:lnTo>
                    <a:pt x="776" y="2075"/>
                  </a:lnTo>
                  <a:lnTo>
                    <a:pt x="776" y="2077"/>
                  </a:lnTo>
                  <a:lnTo>
                    <a:pt x="777" y="2077"/>
                  </a:lnTo>
                  <a:lnTo>
                    <a:pt x="777" y="2075"/>
                  </a:lnTo>
                  <a:lnTo>
                    <a:pt x="779" y="2075"/>
                  </a:lnTo>
                  <a:lnTo>
                    <a:pt x="779" y="2073"/>
                  </a:lnTo>
                  <a:lnTo>
                    <a:pt x="779" y="2071"/>
                  </a:lnTo>
                  <a:lnTo>
                    <a:pt x="779" y="2075"/>
                  </a:lnTo>
                  <a:close/>
                  <a:moveTo>
                    <a:pt x="777" y="2071"/>
                  </a:moveTo>
                  <a:lnTo>
                    <a:pt x="779" y="2071"/>
                  </a:lnTo>
                  <a:lnTo>
                    <a:pt x="777" y="2071"/>
                  </a:lnTo>
                  <a:lnTo>
                    <a:pt x="777" y="2073"/>
                  </a:lnTo>
                  <a:lnTo>
                    <a:pt x="776" y="2073"/>
                  </a:lnTo>
                  <a:lnTo>
                    <a:pt x="776" y="2075"/>
                  </a:lnTo>
                  <a:lnTo>
                    <a:pt x="776" y="2073"/>
                  </a:lnTo>
                  <a:lnTo>
                    <a:pt x="777" y="2071"/>
                  </a:lnTo>
                  <a:lnTo>
                    <a:pt x="777" y="2069"/>
                  </a:lnTo>
                  <a:lnTo>
                    <a:pt x="779" y="2069"/>
                  </a:lnTo>
                  <a:lnTo>
                    <a:pt x="777" y="2071"/>
                  </a:lnTo>
                  <a:close/>
                  <a:moveTo>
                    <a:pt x="766" y="2067"/>
                  </a:moveTo>
                  <a:lnTo>
                    <a:pt x="766" y="2069"/>
                  </a:lnTo>
                  <a:lnTo>
                    <a:pt x="766" y="2067"/>
                  </a:lnTo>
                  <a:lnTo>
                    <a:pt x="764" y="2067"/>
                  </a:lnTo>
                  <a:lnTo>
                    <a:pt x="766" y="2069"/>
                  </a:lnTo>
                  <a:lnTo>
                    <a:pt x="768" y="2071"/>
                  </a:lnTo>
                  <a:lnTo>
                    <a:pt x="768" y="2069"/>
                  </a:lnTo>
                  <a:lnTo>
                    <a:pt x="770" y="2069"/>
                  </a:lnTo>
                  <a:lnTo>
                    <a:pt x="768" y="2069"/>
                  </a:lnTo>
                  <a:lnTo>
                    <a:pt x="768" y="2071"/>
                  </a:lnTo>
                  <a:lnTo>
                    <a:pt x="768" y="2073"/>
                  </a:lnTo>
                  <a:lnTo>
                    <a:pt x="770" y="2073"/>
                  </a:lnTo>
                  <a:lnTo>
                    <a:pt x="770" y="2071"/>
                  </a:lnTo>
                  <a:lnTo>
                    <a:pt x="772" y="2071"/>
                  </a:lnTo>
                  <a:lnTo>
                    <a:pt x="772" y="2073"/>
                  </a:lnTo>
                  <a:lnTo>
                    <a:pt x="772" y="2071"/>
                  </a:lnTo>
                  <a:lnTo>
                    <a:pt x="770" y="2071"/>
                  </a:lnTo>
                  <a:lnTo>
                    <a:pt x="772" y="2071"/>
                  </a:lnTo>
                  <a:lnTo>
                    <a:pt x="772" y="2073"/>
                  </a:lnTo>
                  <a:lnTo>
                    <a:pt x="772" y="2071"/>
                  </a:lnTo>
                  <a:lnTo>
                    <a:pt x="770" y="2071"/>
                  </a:lnTo>
                  <a:lnTo>
                    <a:pt x="770" y="2073"/>
                  </a:lnTo>
                  <a:lnTo>
                    <a:pt x="772" y="2075"/>
                  </a:lnTo>
                  <a:lnTo>
                    <a:pt x="772" y="2073"/>
                  </a:lnTo>
                  <a:lnTo>
                    <a:pt x="770" y="2073"/>
                  </a:lnTo>
                  <a:lnTo>
                    <a:pt x="772" y="2075"/>
                  </a:lnTo>
                  <a:lnTo>
                    <a:pt x="770" y="2075"/>
                  </a:lnTo>
                  <a:lnTo>
                    <a:pt x="768" y="2073"/>
                  </a:lnTo>
                  <a:lnTo>
                    <a:pt x="768" y="2071"/>
                  </a:lnTo>
                  <a:lnTo>
                    <a:pt x="766" y="2071"/>
                  </a:lnTo>
                  <a:lnTo>
                    <a:pt x="766" y="2069"/>
                  </a:lnTo>
                  <a:lnTo>
                    <a:pt x="764" y="2069"/>
                  </a:lnTo>
                  <a:lnTo>
                    <a:pt x="764" y="2067"/>
                  </a:lnTo>
                  <a:lnTo>
                    <a:pt x="766" y="2067"/>
                  </a:lnTo>
                  <a:close/>
                  <a:moveTo>
                    <a:pt x="762" y="2059"/>
                  </a:moveTo>
                  <a:lnTo>
                    <a:pt x="760" y="2059"/>
                  </a:lnTo>
                  <a:lnTo>
                    <a:pt x="760" y="2061"/>
                  </a:lnTo>
                  <a:lnTo>
                    <a:pt x="760" y="2063"/>
                  </a:lnTo>
                  <a:lnTo>
                    <a:pt x="760" y="2061"/>
                  </a:lnTo>
                  <a:lnTo>
                    <a:pt x="760" y="2059"/>
                  </a:lnTo>
                  <a:lnTo>
                    <a:pt x="762" y="2059"/>
                  </a:lnTo>
                  <a:lnTo>
                    <a:pt x="760" y="2059"/>
                  </a:lnTo>
                  <a:lnTo>
                    <a:pt x="760" y="2061"/>
                  </a:lnTo>
                  <a:lnTo>
                    <a:pt x="758" y="2061"/>
                  </a:lnTo>
                  <a:lnTo>
                    <a:pt x="760" y="2061"/>
                  </a:lnTo>
                  <a:lnTo>
                    <a:pt x="760" y="2063"/>
                  </a:lnTo>
                  <a:lnTo>
                    <a:pt x="758" y="2063"/>
                  </a:lnTo>
                  <a:lnTo>
                    <a:pt x="758" y="2061"/>
                  </a:lnTo>
                  <a:lnTo>
                    <a:pt x="760" y="2059"/>
                  </a:lnTo>
                  <a:lnTo>
                    <a:pt x="758" y="2061"/>
                  </a:lnTo>
                  <a:lnTo>
                    <a:pt x="758" y="2063"/>
                  </a:lnTo>
                  <a:lnTo>
                    <a:pt x="760" y="2063"/>
                  </a:lnTo>
                  <a:lnTo>
                    <a:pt x="760" y="2065"/>
                  </a:lnTo>
                  <a:lnTo>
                    <a:pt x="760" y="2063"/>
                  </a:lnTo>
                  <a:lnTo>
                    <a:pt x="762" y="2065"/>
                  </a:lnTo>
                  <a:lnTo>
                    <a:pt x="760" y="2065"/>
                  </a:lnTo>
                  <a:lnTo>
                    <a:pt x="758" y="2065"/>
                  </a:lnTo>
                  <a:lnTo>
                    <a:pt x="760" y="2065"/>
                  </a:lnTo>
                  <a:lnTo>
                    <a:pt x="762" y="2065"/>
                  </a:lnTo>
                  <a:lnTo>
                    <a:pt x="762" y="2067"/>
                  </a:lnTo>
                  <a:lnTo>
                    <a:pt x="764" y="2067"/>
                  </a:lnTo>
                  <a:lnTo>
                    <a:pt x="764" y="2065"/>
                  </a:lnTo>
                  <a:lnTo>
                    <a:pt x="762" y="2067"/>
                  </a:lnTo>
                  <a:lnTo>
                    <a:pt x="762" y="2065"/>
                  </a:lnTo>
                  <a:lnTo>
                    <a:pt x="764" y="2065"/>
                  </a:lnTo>
                  <a:lnTo>
                    <a:pt x="764" y="2067"/>
                  </a:lnTo>
                  <a:lnTo>
                    <a:pt x="762" y="2067"/>
                  </a:lnTo>
                  <a:lnTo>
                    <a:pt x="760" y="2067"/>
                  </a:lnTo>
                  <a:lnTo>
                    <a:pt x="760" y="2065"/>
                  </a:lnTo>
                  <a:lnTo>
                    <a:pt x="758" y="2065"/>
                  </a:lnTo>
                  <a:lnTo>
                    <a:pt x="758" y="2063"/>
                  </a:lnTo>
                  <a:lnTo>
                    <a:pt x="756" y="2063"/>
                  </a:lnTo>
                  <a:lnTo>
                    <a:pt x="758" y="2061"/>
                  </a:lnTo>
                  <a:lnTo>
                    <a:pt x="760" y="2059"/>
                  </a:lnTo>
                  <a:lnTo>
                    <a:pt x="760" y="2058"/>
                  </a:lnTo>
                  <a:lnTo>
                    <a:pt x="762" y="2058"/>
                  </a:lnTo>
                  <a:lnTo>
                    <a:pt x="762" y="2059"/>
                  </a:lnTo>
                  <a:close/>
                  <a:moveTo>
                    <a:pt x="766" y="2059"/>
                  </a:moveTo>
                  <a:lnTo>
                    <a:pt x="768" y="2059"/>
                  </a:lnTo>
                  <a:lnTo>
                    <a:pt x="770" y="2059"/>
                  </a:lnTo>
                  <a:lnTo>
                    <a:pt x="768" y="2059"/>
                  </a:lnTo>
                  <a:lnTo>
                    <a:pt x="766" y="2059"/>
                  </a:lnTo>
                  <a:lnTo>
                    <a:pt x="764" y="2058"/>
                  </a:lnTo>
                  <a:lnTo>
                    <a:pt x="766" y="2058"/>
                  </a:lnTo>
                  <a:lnTo>
                    <a:pt x="766" y="2059"/>
                  </a:lnTo>
                  <a:close/>
                  <a:moveTo>
                    <a:pt x="710" y="2054"/>
                  </a:moveTo>
                  <a:lnTo>
                    <a:pt x="712" y="2056"/>
                  </a:lnTo>
                  <a:lnTo>
                    <a:pt x="710" y="2054"/>
                  </a:lnTo>
                  <a:lnTo>
                    <a:pt x="708" y="2054"/>
                  </a:lnTo>
                  <a:lnTo>
                    <a:pt x="706" y="2054"/>
                  </a:lnTo>
                  <a:lnTo>
                    <a:pt x="705" y="2054"/>
                  </a:lnTo>
                  <a:lnTo>
                    <a:pt x="708" y="2054"/>
                  </a:lnTo>
                  <a:lnTo>
                    <a:pt x="710" y="2054"/>
                  </a:lnTo>
                  <a:close/>
                  <a:moveTo>
                    <a:pt x="762" y="2058"/>
                  </a:moveTo>
                  <a:lnTo>
                    <a:pt x="762" y="2056"/>
                  </a:lnTo>
                  <a:lnTo>
                    <a:pt x="764" y="2056"/>
                  </a:lnTo>
                  <a:lnTo>
                    <a:pt x="764" y="2058"/>
                  </a:lnTo>
                  <a:lnTo>
                    <a:pt x="762" y="2058"/>
                  </a:lnTo>
                  <a:lnTo>
                    <a:pt x="764" y="2058"/>
                  </a:lnTo>
                  <a:lnTo>
                    <a:pt x="764" y="2059"/>
                  </a:lnTo>
                  <a:lnTo>
                    <a:pt x="766" y="2059"/>
                  </a:lnTo>
                  <a:lnTo>
                    <a:pt x="770" y="2059"/>
                  </a:lnTo>
                  <a:lnTo>
                    <a:pt x="770" y="2061"/>
                  </a:lnTo>
                  <a:lnTo>
                    <a:pt x="766" y="2059"/>
                  </a:lnTo>
                  <a:lnTo>
                    <a:pt x="764" y="2059"/>
                  </a:lnTo>
                  <a:lnTo>
                    <a:pt x="764" y="2058"/>
                  </a:lnTo>
                  <a:lnTo>
                    <a:pt x="762" y="2058"/>
                  </a:lnTo>
                  <a:lnTo>
                    <a:pt x="762" y="2059"/>
                  </a:lnTo>
                  <a:lnTo>
                    <a:pt x="762" y="2058"/>
                  </a:lnTo>
                  <a:lnTo>
                    <a:pt x="762" y="2056"/>
                  </a:lnTo>
                  <a:lnTo>
                    <a:pt x="764" y="2056"/>
                  </a:lnTo>
                  <a:lnTo>
                    <a:pt x="762" y="2056"/>
                  </a:lnTo>
                  <a:lnTo>
                    <a:pt x="762" y="2058"/>
                  </a:lnTo>
                  <a:close/>
                  <a:moveTo>
                    <a:pt x="766" y="2056"/>
                  </a:moveTo>
                  <a:lnTo>
                    <a:pt x="768" y="2056"/>
                  </a:lnTo>
                  <a:lnTo>
                    <a:pt x="768" y="2058"/>
                  </a:lnTo>
                  <a:lnTo>
                    <a:pt x="770" y="2058"/>
                  </a:lnTo>
                  <a:lnTo>
                    <a:pt x="770" y="2059"/>
                  </a:lnTo>
                  <a:lnTo>
                    <a:pt x="768" y="2058"/>
                  </a:lnTo>
                  <a:lnTo>
                    <a:pt x="766" y="2056"/>
                  </a:lnTo>
                  <a:lnTo>
                    <a:pt x="764" y="2056"/>
                  </a:lnTo>
                  <a:lnTo>
                    <a:pt x="766" y="2056"/>
                  </a:lnTo>
                  <a:close/>
                  <a:moveTo>
                    <a:pt x="678" y="2040"/>
                  </a:moveTo>
                  <a:lnTo>
                    <a:pt x="678" y="2042"/>
                  </a:lnTo>
                  <a:lnTo>
                    <a:pt x="676" y="2042"/>
                  </a:lnTo>
                  <a:lnTo>
                    <a:pt x="678" y="2042"/>
                  </a:lnTo>
                  <a:lnTo>
                    <a:pt x="674" y="2042"/>
                  </a:lnTo>
                  <a:lnTo>
                    <a:pt x="674" y="2040"/>
                  </a:lnTo>
                  <a:lnTo>
                    <a:pt x="674" y="2042"/>
                  </a:lnTo>
                  <a:lnTo>
                    <a:pt x="676" y="2042"/>
                  </a:lnTo>
                  <a:lnTo>
                    <a:pt x="676" y="2040"/>
                  </a:lnTo>
                  <a:lnTo>
                    <a:pt x="674" y="2040"/>
                  </a:lnTo>
                  <a:lnTo>
                    <a:pt x="678" y="2040"/>
                  </a:lnTo>
                  <a:close/>
                  <a:moveTo>
                    <a:pt x="683" y="2040"/>
                  </a:moveTo>
                  <a:lnTo>
                    <a:pt x="683" y="2042"/>
                  </a:lnTo>
                  <a:lnTo>
                    <a:pt x="681" y="2042"/>
                  </a:lnTo>
                  <a:lnTo>
                    <a:pt x="681" y="2044"/>
                  </a:lnTo>
                  <a:lnTo>
                    <a:pt x="681" y="2046"/>
                  </a:lnTo>
                  <a:lnTo>
                    <a:pt x="681" y="2044"/>
                  </a:lnTo>
                  <a:lnTo>
                    <a:pt x="680" y="2042"/>
                  </a:lnTo>
                  <a:lnTo>
                    <a:pt x="680" y="2044"/>
                  </a:lnTo>
                  <a:lnTo>
                    <a:pt x="681" y="2040"/>
                  </a:lnTo>
                  <a:lnTo>
                    <a:pt x="680" y="2040"/>
                  </a:lnTo>
                  <a:lnTo>
                    <a:pt x="680" y="2042"/>
                  </a:lnTo>
                  <a:lnTo>
                    <a:pt x="680" y="2040"/>
                  </a:lnTo>
                  <a:lnTo>
                    <a:pt x="681" y="2040"/>
                  </a:lnTo>
                  <a:lnTo>
                    <a:pt x="683" y="2040"/>
                  </a:lnTo>
                  <a:close/>
                  <a:moveTo>
                    <a:pt x="923" y="2056"/>
                  </a:moveTo>
                  <a:lnTo>
                    <a:pt x="923" y="2058"/>
                  </a:lnTo>
                  <a:lnTo>
                    <a:pt x="921" y="2058"/>
                  </a:lnTo>
                  <a:lnTo>
                    <a:pt x="921" y="2056"/>
                  </a:lnTo>
                  <a:lnTo>
                    <a:pt x="921" y="2058"/>
                  </a:lnTo>
                  <a:lnTo>
                    <a:pt x="921" y="2056"/>
                  </a:lnTo>
                  <a:lnTo>
                    <a:pt x="923" y="2056"/>
                  </a:lnTo>
                  <a:close/>
                  <a:moveTo>
                    <a:pt x="422" y="2013"/>
                  </a:moveTo>
                  <a:lnTo>
                    <a:pt x="424" y="2013"/>
                  </a:lnTo>
                  <a:lnTo>
                    <a:pt x="424" y="2015"/>
                  </a:lnTo>
                  <a:lnTo>
                    <a:pt x="422" y="2015"/>
                  </a:lnTo>
                  <a:lnTo>
                    <a:pt x="422" y="2013"/>
                  </a:lnTo>
                  <a:close/>
                  <a:moveTo>
                    <a:pt x="440" y="2010"/>
                  </a:moveTo>
                  <a:lnTo>
                    <a:pt x="440" y="2011"/>
                  </a:lnTo>
                  <a:lnTo>
                    <a:pt x="438" y="2011"/>
                  </a:lnTo>
                  <a:lnTo>
                    <a:pt x="440" y="2010"/>
                  </a:lnTo>
                  <a:close/>
                  <a:moveTo>
                    <a:pt x="931" y="2044"/>
                  </a:moveTo>
                  <a:lnTo>
                    <a:pt x="933" y="2044"/>
                  </a:lnTo>
                  <a:lnTo>
                    <a:pt x="935" y="2046"/>
                  </a:lnTo>
                  <a:lnTo>
                    <a:pt x="935" y="2048"/>
                  </a:lnTo>
                  <a:lnTo>
                    <a:pt x="933" y="2046"/>
                  </a:lnTo>
                  <a:lnTo>
                    <a:pt x="933" y="2048"/>
                  </a:lnTo>
                  <a:lnTo>
                    <a:pt x="935" y="2048"/>
                  </a:lnTo>
                  <a:lnTo>
                    <a:pt x="933" y="2048"/>
                  </a:lnTo>
                  <a:lnTo>
                    <a:pt x="935" y="2048"/>
                  </a:lnTo>
                  <a:lnTo>
                    <a:pt x="935" y="2050"/>
                  </a:lnTo>
                  <a:lnTo>
                    <a:pt x="937" y="2050"/>
                  </a:lnTo>
                  <a:lnTo>
                    <a:pt x="935" y="2050"/>
                  </a:lnTo>
                  <a:lnTo>
                    <a:pt x="933" y="2050"/>
                  </a:lnTo>
                  <a:lnTo>
                    <a:pt x="933" y="2052"/>
                  </a:lnTo>
                  <a:lnTo>
                    <a:pt x="931" y="2052"/>
                  </a:lnTo>
                  <a:lnTo>
                    <a:pt x="929" y="2052"/>
                  </a:lnTo>
                  <a:lnTo>
                    <a:pt x="927" y="2052"/>
                  </a:lnTo>
                  <a:lnTo>
                    <a:pt x="925" y="2052"/>
                  </a:lnTo>
                  <a:lnTo>
                    <a:pt x="925" y="2050"/>
                  </a:lnTo>
                  <a:lnTo>
                    <a:pt x="929" y="2050"/>
                  </a:lnTo>
                  <a:lnTo>
                    <a:pt x="929" y="2048"/>
                  </a:lnTo>
                  <a:lnTo>
                    <a:pt x="929" y="2046"/>
                  </a:lnTo>
                  <a:lnTo>
                    <a:pt x="931" y="2046"/>
                  </a:lnTo>
                  <a:lnTo>
                    <a:pt x="929" y="2046"/>
                  </a:lnTo>
                  <a:lnTo>
                    <a:pt x="931" y="2046"/>
                  </a:lnTo>
                  <a:lnTo>
                    <a:pt x="929" y="2046"/>
                  </a:lnTo>
                  <a:lnTo>
                    <a:pt x="929" y="2044"/>
                  </a:lnTo>
                  <a:lnTo>
                    <a:pt x="931" y="2044"/>
                  </a:lnTo>
                  <a:close/>
                  <a:moveTo>
                    <a:pt x="908" y="2036"/>
                  </a:moveTo>
                  <a:lnTo>
                    <a:pt x="906" y="2036"/>
                  </a:lnTo>
                  <a:lnTo>
                    <a:pt x="904" y="2034"/>
                  </a:lnTo>
                  <a:lnTo>
                    <a:pt x="906" y="2036"/>
                  </a:lnTo>
                  <a:lnTo>
                    <a:pt x="908" y="2036"/>
                  </a:lnTo>
                  <a:close/>
                  <a:moveTo>
                    <a:pt x="900" y="2033"/>
                  </a:moveTo>
                  <a:lnTo>
                    <a:pt x="902" y="2033"/>
                  </a:lnTo>
                  <a:lnTo>
                    <a:pt x="904" y="2034"/>
                  </a:lnTo>
                  <a:lnTo>
                    <a:pt x="902" y="2034"/>
                  </a:lnTo>
                  <a:lnTo>
                    <a:pt x="900" y="2034"/>
                  </a:lnTo>
                  <a:lnTo>
                    <a:pt x="898" y="2034"/>
                  </a:lnTo>
                  <a:lnTo>
                    <a:pt x="896" y="2034"/>
                  </a:lnTo>
                  <a:lnTo>
                    <a:pt x="898" y="2033"/>
                  </a:lnTo>
                  <a:lnTo>
                    <a:pt x="896" y="2033"/>
                  </a:lnTo>
                  <a:lnTo>
                    <a:pt x="895" y="2033"/>
                  </a:lnTo>
                  <a:lnTo>
                    <a:pt x="893" y="2034"/>
                  </a:lnTo>
                  <a:lnTo>
                    <a:pt x="895" y="2033"/>
                  </a:lnTo>
                  <a:lnTo>
                    <a:pt x="896" y="2033"/>
                  </a:lnTo>
                  <a:lnTo>
                    <a:pt x="898" y="2033"/>
                  </a:lnTo>
                  <a:lnTo>
                    <a:pt x="900" y="2033"/>
                  </a:lnTo>
                  <a:close/>
                  <a:moveTo>
                    <a:pt x="923" y="2033"/>
                  </a:moveTo>
                  <a:lnTo>
                    <a:pt x="923" y="2034"/>
                  </a:lnTo>
                  <a:lnTo>
                    <a:pt x="923" y="2036"/>
                  </a:lnTo>
                  <a:lnTo>
                    <a:pt x="923" y="2034"/>
                  </a:lnTo>
                  <a:lnTo>
                    <a:pt x="923" y="2033"/>
                  </a:lnTo>
                  <a:lnTo>
                    <a:pt x="921" y="2034"/>
                  </a:lnTo>
                  <a:lnTo>
                    <a:pt x="919" y="2034"/>
                  </a:lnTo>
                  <a:lnTo>
                    <a:pt x="919" y="2033"/>
                  </a:lnTo>
                  <a:lnTo>
                    <a:pt x="918" y="2034"/>
                  </a:lnTo>
                  <a:lnTo>
                    <a:pt x="916" y="2036"/>
                  </a:lnTo>
                  <a:lnTo>
                    <a:pt x="914" y="2036"/>
                  </a:lnTo>
                  <a:lnTo>
                    <a:pt x="912" y="2036"/>
                  </a:lnTo>
                  <a:lnTo>
                    <a:pt x="914" y="2036"/>
                  </a:lnTo>
                  <a:lnTo>
                    <a:pt x="916" y="2036"/>
                  </a:lnTo>
                  <a:lnTo>
                    <a:pt x="918" y="2034"/>
                  </a:lnTo>
                  <a:lnTo>
                    <a:pt x="921" y="2031"/>
                  </a:lnTo>
                  <a:lnTo>
                    <a:pt x="923" y="2029"/>
                  </a:lnTo>
                  <a:lnTo>
                    <a:pt x="923" y="2031"/>
                  </a:lnTo>
                  <a:lnTo>
                    <a:pt x="923" y="2033"/>
                  </a:lnTo>
                  <a:close/>
                  <a:moveTo>
                    <a:pt x="900" y="2027"/>
                  </a:moveTo>
                  <a:lnTo>
                    <a:pt x="900" y="2025"/>
                  </a:lnTo>
                  <a:lnTo>
                    <a:pt x="902" y="2025"/>
                  </a:lnTo>
                  <a:lnTo>
                    <a:pt x="902" y="2027"/>
                  </a:lnTo>
                  <a:lnTo>
                    <a:pt x="904" y="2027"/>
                  </a:lnTo>
                  <a:lnTo>
                    <a:pt x="902" y="2027"/>
                  </a:lnTo>
                  <a:lnTo>
                    <a:pt x="900" y="2027"/>
                  </a:lnTo>
                  <a:lnTo>
                    <a:pt x="898" y="2025"/>
                  </a:lnTo>
                  <a:lnTo>
                    <a:pt x="896" y="2025"/>
                  </a:lnTo>
                  <a:lnTo>
                    <a:pt x="898" y="2025"/>
                  </a:lnTo>
                  <a:lnTo>
                    <a:pt x="900" y="2027"/>
                  </a:lnTo>
                  <a:close/>
                  <a:moveTo>
                    <a:pt x="994" y="2025"/>
                  </a:moveTo>
                  <a:lnTo>
                    <a:pt x="996" y="2025"/>
                  </a:lnTo>
                  <a:lnTo>
                    <a:pt x="996" y="2027"/>
                  </a:lnTo>
                  <a:lnTo>
                    <a:pt x="994" y="2027"/>
                  </a:lnTo>
                  <a:lnTo>
                    <a:pt x="992" y="2027"/>
                  </a:lnTo>
                  <a:lnTo>
                    <a:pt x="992" y="2025"/>
                  </a:lnTo>
                  <a:lnTo>
                    <a:pt x="992" y="2027"/>
                  </a:lnTo>
                  <a:lnTo>
                    <a:pt x="992" y="2025"/>
                  </a:lnTo>
                  <a:lnTo>
                    <a:pt x="992" y="2023"/>
                  </a:lnTo>
                  <a:lnTo>
                    <a:pt x="992" y="2025"/>
                  </a:lnTo>
                  <a:lnTo>
                    <a:pt x="992" y="2023"/>
                  </a:lnTo>
                  <a:lnTo>
                    <a:pt x="994" y="2023"/>
                  </a:lnTo>
                  <a:lnTo>
                    <a:pt x="994" y="2025"/>
                  </a:lnTo>
                  <a:lnTo>
                    <a:pt x="992" y="2025"/>
                  </a:lnTo>
                  <a:lnTo>
                    <a:pt x="992" y="2027"/>
                  </a:lnTo>
                  <a:lnTo>
                    <a:pt x="994" y="2027"/>
                  </a:lnTo>
                  <a:lnTo>
                    <a:pt x="994" y="2025"/>
                  </a:lnTo>
                  <a:lnTo>
                    <a:pt x="994" y="2027"/>
                  </a:lnTo>
                  <a:lnTo>
                    <a:pt x="996" y="2027"/>
                  </a:lnTo>
                  <a:lnTo>
                    <a:pt x="994" y="2027"/>
                  </a:lnTo>
                  <a:lnTo>
                    <a:pt x="994" y="2025"/>
                  </a:lnTo>
                  <a:lnTo>
                    <a:pt x="994" y="2027"/>
                  </a:lnTo>
                  <a:lnTo>
                    <a:pt x="994" y="2025"/>
                  </a:lnTo>
                  <a:lnTo>
                    <a:pt x="994" y="2023"/>
                  </a:lnTo>
                  <a:lnTo>
                    <a:pt x="994" y="2025"/>
                  </a:lnTo>
                  <a:close/>
                  <a:moveTo>
                    <a:pt x="904" y="2010"/>
                  </a:moveTo>
                  <a:lnTo>
                    <a:pt x="923" y="2023"/>
                  </a:lnTo>
                  <a:lnTo>
                    <a:pt x="925" y="2023"/>
                  </a:lnTo>
                  <a:lnTo>
                    <a:pt x="929" y="2025"/>
                  </a:lnTo>
                  <a:lnTo>
                    <a:pt x="925" y="2023"/>
                  </a:lnTo>
                  <a:lnTo>
                    <a:pt x="923" y="2023"/>
                  </a:lnTo>
                  <a:lnTo>
                    <a:pt x="921" y="2025"/>
                  </a:lnTo>
                  <a:lnTo>
                    <a:pt x="923" y="2023"/>
                  </a:lnTo>
                  <a:lnTo>
                    <a:pt x="919" y="2021"/>
                  </a:lnTo>
                  <a:lnTo>
                    <a:pt x="918" y="2021"/>
                  </a:lnTo>
                  <a:lnTo>
                    <a:pt x="916" y="2021"/>
                  </a:lnTo>
                  <a:lnTo>
                    <a:pt x="914" y="2021"/>
                  </a:lnTo>
                  <a:lnTo>
                    <a:pt x="916" y="2021"/>
                  </a:lnTo>
                  <a:lnTo>
                    <a:pt x="918" y="2021"/>
                  </a:lnTo>
                  <a:lnTo>
                    <a:pt x="918" y="2019"/>
                  </a:lnTo>
                  <a:lnTo>
                    <a:pt x="916" y="2017"/>
                  </a:lnTo>
                  <a:lnTo>
                    <a:pt x="904" y="2010"/>
                  </a:lnTo>
                  <a:lnTo>
                    <a:pt x="896" y="2013"/>
                  </a:lnTo>
                  <a:lnTo>
                    <a:pt x="898" y="2013"/>
                  </a:lnTo>
                  <a:lnTo>
                    <a:pt x="900" y="2013"/>
                  </a:lnTo>
                  <a:lnTo>
                    <a:pt x="898" y="2013"/>
                  </a:lnTo>
                  <a:lnTo>
                    <a:pt x="896" y="2013"/>
                  </a:lnTo>
                  <a:lnTo>
                    <a:pt x="896" y="2015"/>
                  </a:lnTo>
                  <a:lnTo>
                    <a:pt x="898" y="2015"/>
                  </a:lnTo>
                  <a:lnTo>
                    <a:pt x="896" y="2015"/>
                  </a:lnTo>
                  <a:lnTo>
                    <a:pt x="896" y="2017"/>
                  </a:lnTo>
                  <a:lnTo>
                    <a:pt x="896" y="2019"/>
                  </a:lnTo>
                  <a:lnTo>
                    <a:pt x="896" y="2017"/>
                  </a:lnTo>
                  <a:lnTo>
                    <a:pt x="895" y="2017"/>
                  </a:lnTo>
                  <a:lnTo>
                    <a:pt x="896" y="2019"/>
                  </a:lnTo>
                  <a:lnTo>
                    <a:pt x="895" y="2019"/>
                  </a:lnTo>
                  <a:lnTo>
                    <a:pt x="895" y="2017"/>
                  </a:lnTo>
                  <a:lnTo>
                    <a:pt x="896" y="2023"/>
                  </a:lnTo>
                  <a:lnTo>
                    <a:pt x="896" y="2025"/>
                  </a:lnTo>
                  <a:lnTo>
                    <a:pt x="896" y="2023"/>
                  </a:lnTo>
                  <a:lnTo>
                    <a:pt x="895" y="2015"/>
                  </a:lnTo>
                  <a:lnTo>
                    <a:pt x="904" y="2010"/>
                  </a:lnTo>
                  <a:close/>
                  <a:moveTo>
                    <a:pt x="587" y="1975"/>
                  </a:moveTo>
                  <a:lnTo>
                    <a:pt x="591" y="1975"/>
                  </a:lnTo>
                  <a:lnTo>
                    <a:pt x="589" y="1979"/>
                  </a:lnTo>
                  <a:lnTo>
                    <a:pt x="587" y="1979"/>
                  </a:lnTo>
                  <a:lnTo>
                    <a:pt x="587" y="1975"/>
                  </a:lnTo>
                  <a:close/>
                  <a:moveTo>
                    <a:pt x="539" y="1956"/>
                  </a:moveTo>
                  <a:lnTo>
                    <a:pt x="541" y="1956"/>
                  </a:lnTo>
                  <a:lnTo>
                    <a:pt x="543" y="1958"/>
                  </a:lnTo>
                  <a:lnTo>
                    <a:pt x="545" y="1958"/>
                  </a:lnTo>
                  <a:lnTo>
                    <a:pt x="547" y="1958"/>
                  </a:lnTo>
                  <a:lnTo>
                    <a:pt x="547" y="1960"/>
                  </a:lnTo>
                  <a:lnTo>
                    <a:pt x="549" y="1960"/>
                  </a:lnTo>
                  <a:lnTo>
                    <a:pt x="551" y="1960"/>
                  </a:lnTo>
                  <a:lnTo>
                    <a:pt x="551" y="1962"/>
                  </a:lnTo>
                  <a:lnTo>
                    <a:pt x="553" y="1962"/>
                  </a:lnTo>
                  <a:lnTo>
                    <a:pt x="551" y="1962"/>
                  </a:lnTo>
                  <a:lnTo>
                    <a:pt x="551" y="1963"/>
                  </a:lnTo>
                  <a:lnTo>
                    <a:pt x="549" y="1963"/>
                  </a:lnTo>
                  <a:lnTo>
                    <a:pt x="547" y="1963"/>
                  </a:lnTo>
                  <a:lnTo>
                    <a:pt x="545" y="1963"/>
                  </a:lnTo>
                  <a:lnTo>
                    <a:pt x="543" y="1963"/>
                  </a:lnTo>
                  <a:lnTo>
                    <a:pt x="541" y="1963"/>
                  </a:lnTo>
                  <a:lnTo>
                    <a:pt x="541" y="1962"/>
                  </a:lnTo>
                  <a:lnTo>
                    <a:pt x="541" y="1963"/>
                  </a:lnTo>
                  <a:lnTo>
                    <a:pt x="539" y="1962"/>
                  </a:lnTo>
                  <a:lnTo>
                    <a:pt x="538" y="1962"/>
                  </a:lnTo>
                  <a:lnTo>
                    <a:pt x="536" y="1962"/>
                  </a:lnTo>
                  <a:lnTo>
                    <a:pt x="534" y="1962"/>
                  </a:lnTo>
                  <a:lnTo>
                    <a:pt x="534" y="1963"/>
                  </a:lnTo>
                  <a:lnTo>
                    <a:pt x="534" y="1962"/>
                  </a:lnTo>
                  <a:lnTo>
                    <a:pt x="532" y="1962"/>
                  </a:lnTo>
                  <a:lnTo>
                    <a:pt x="532" y="1960"/>
                  </a:lnTo>
                  <a:lnTo>
                    <a:pt x="534" y="1958"/>
                  </a:lnTo>
                  <a:lnTo>
                    <a:pt x="536" y="1958"/>
                  </a:lnTo>
                  <a:lnTo>
                    <a:pt x="536" y="1956"/>
                  </a:lnTo>
                  <a:lnTo>
                    <a:pt x="538" y="1956"/>
                  </a:lnTo>
                  <a:lnTo>
                    <a:pt x="539" y="1956"/>
                  </a:lnTo>
                  <a:close/>
                  <a:moveTo>
                    <a:pt x="1177" y="2010"/>
                  </a:moveTo>
                  <a:lnTo>
                    <a:pt x="1175" y="2011"/>
                  </a:lnTo>
                  <a:lnTo>
                    <a:pt x="1175" y="2013"/>
                  </a:lnTo>
                  <a:lnTo>
                    <a:pt x="1175" y="2015"/>
                  </a:lnTo>
                  <a:lnTo>
                    <a:pt x="1173" y="2015"/>
                  </a:lnTo>
                  <a:lnTo>
                    <a:pt x="1173" y="2017"/>
                  </a:lnTo>
                  <a:lnTo>
                    <a:pt x="1171" y="2019"/>
                  </a:lnTo>
                  <a:lnTo>
                    <a:pt x="1169" y="2017"/>
                  </a:lnTo>
                  <a:lnTo>
                    <a:pt x="1169" y="2015"/>
                  </a:lnTo>
                  <a:lnTo>
                    <a:pt x="1169" y="2013"/>
                  </a:lnTo>
                  <a:lnTo>
                    <a:pt x="1169" y="2011"/>
                  </a:lnTo>
                  <a:lnTo>
                    <a:pt x="1171" y="2011"/>
                  </a:lnTo>
                  <a:lnTo>
                    <a:pt x="1169" y="2011"/>
                  </a:lnTo>
                  <a:lnTo>
                    <a:pt x="1171" y="2011"/>
                  </a:lnTo>
                  <a:lnTo>
                    <a:pt x="1171" y="2010"/>
                  </a:lnTo>
                  <a:lnTo>
                    <a:pt x="1171" y="2008"/>
                  </a:lnTo>
                  <a:lnTo>
                    <a:pt x="1173" y="2008"/>
                  </a:lnTo>
                  <a:lnTo>
                    <a:pt x="1173" y="2006"/>
                  </a:lnTo>
                  <a:lnTo>
                    <a:pt x="1175" y="2006"/>
                  </a:lnTo>
                  <a:lnTo>
                    <a:pt x="1175" y="2004"/>
                  </a:lnTo>
                  <a:lnTo>
                    <a:pt x="1177" y="2004"/>
                  </a:lnTo>
                  <a:lnTo>
                    <a:pt x="1177" y="2006"/>
                  </a:lnTo>
                  <a:lnTo>
                    <a:pt x="1177" y="2008"/>
                  </a:lnTo>
                  <a:lnTo>
                    <a:pt x="1177" y="2010"/>
                  </a:lnTo>
                  <a:close/>
                  <a:moveTo>
                    <a:pt x="574" y="1958"/>
                  </a:moveTo>
                  <a:lnTo>
                    <a:pt x="572" y="1958"/>
                  </a:lnTo>
                  <a:lnTo>
                    <a:pt x="570" y="1958"/>
                  </a:lnTo>
                  <a:lnTo>
                    <a:pt x="572" y="1958"/>
                  </a:lnTo>
                  <a:lnTo>
                    <a:pt x="574" y="1958"/>
                  </a:lnTo>
                  <a:lnTo>
                    <a:pt x="576" y="1958"/>
                  </a:lnTo>
                  <a:lnTo>
                    <a:pt x="580" y="1956"/>
                  </a:lnTo>
                  <a:lnTo>
                    <a:pt x="578" y="1956"/>
                  </a:lnTo>
                  <a:lnTo>
                    <a:pt x="576" y="1956"/>
                  </a:lnTo>
                  <a:lnTo>
                    <a:pt x="576" y="1958"/>
                  </a:lnTo>
                  <a:lnTo>
                    <a:pt x="574" y="1958"/>
                  </a:lnTo>
                  <a:close/>
                  <a:moveTo>
                    <a:pt x="562" y="1948"/>
                  </a:moveTo>
                  <a:lnTo>
                    <a:pt x="566" y="1948"/>
                  </a:lnTo>
                  <a:lnTo>
                    <a:pt x="568" y="1948"/>
                  </a:lnTo>
                  <a:lnTo>
                    <a:pt x="572" y="1950"/>
                  </a:lnTo>
                  <a:lnTo>
                    <a:pt x="574" y="1950"/>
                  </a:lnTo>
                  <a:lnTo>
                    <a:pt x="574" y="1948"/>
                  </a:lnTo>
                  <a:lnTo>
                    <a:pt x="576" y="1948"/>
                  </a:lnTo>
                  <a:lnTo>
                    <a:pt x="576" y="1950"/>
                  </a:lnTo>
                  <a:lnTo>
                    <a:pt x="578" y="1950"/>
                  </a:lnTo>
                  <a:lnTo>
                    <a:pt x="576" y="1950"/>
                  </a:lnTo>
                  <a:lnTo>
                    <a:pt x="576" y="1952"/>
                  </a:lnTo>
                  <a:lnTo>
                    <a:pt x="574" y="1952"/>
                  </a:lnTo>
                  <a:lnTo>
                    <a:pt x="572" y="1954"/>
                  </a:lnTo>
                  <a:lnTo>
                    <a:pt x="570" y="1954"/>
                  </a:lnTo>
                  <a:lnTo>
                    <a:pt x="566" y="1956"/>
                  </a:lnTo>
                  <a:lnTo>
                    <a:pt x="566" y="1958"/>
                  </a:lnTo>
                  <a:lnTo>
                    <a:pt x="566" y="1956"/>
                  </a:lnTo>
                  <a:lnTo>
                    <a:pt x="566" y="1958"/>
                  </a:lnTo>
                  <a:lnTo>
                    <a:pt x="564" y="1958"/>
                  </a:lnTo>
                  <a:lnTo>
                    <a:pt x="564" y="1956"/>
                  </a:lnTo>
                  <a:lnTo>
                    <a:pt x="562" y="1956"/>
                  </a:lnTo>
                  <a:lnTo>
                    <a:pt x="561" y="1956"/>
                  </a:lnTo>
                  <a:lnTo>
                    <a:pt x="561" y="1958"/>
                  </a:lnTo>
                  <a:lnTo>
                    <a:pt x="559" y="1956"/>
                  </a:lnTo>
                  <a:lnTo>
                    <a:pt x="559" y="1958"/>
                  </a:lnTo>
                  <a:lnTo>
                    <a:pt x="557" y="1956"/>
                  </a:lnTo>
                  <a:lnTo>
                    <a:pt x="555" y="1956"/>
                  </a:lnTo>
                  <a:lnTo>
                    <a:pt x="557" y="1954"/>
                  </a:lnTo>
                  <a:lnTo>
                    <a:pt x="555" y="1954"/>
                  </a:lnTo>
                  <a:lnTo>
                    <a:pt x="555" y="1952"/>
                  </a:lnTo>
                  <a:lnTo>
                    <a:pt x="555" y="1950"/>
                  </a:lnTo>
                  <a:lnTo>
                    <a:pt x="557" y="1950"/>
                  </a:lnTo>
                  <a:lnTo>
                    <a:pt x="557" y="1948"/>
                  </a:lnTo>
                  <a:lnTo>
                    <a:pt x="559" y="1948"/>
                  </a:lnTo>
                  <a:lnTo>
                    <a:pt x="561" y="1948"/>
                  </a:lnTo>
                  <a:lnTo>
                    <a:pt x="562" y="1948"/>
                  </a:lnTo>
                  <a:close/>
                  <a:moveTo>
                    <a:pt x="559" y="1958"/>
                  </a:moveTo>
                  <a:lnTo>
                    <a:pt x="557" y="1958"/>
                  </a:lnTo>
                  <a:lnTo>
                    <a:pt x="555" y="1956"/>
                  </a:lnTo>
                  <a:lnTo>
                    <a:pt x="553" y="1956"/>
                  </a:lnTo>
                  <a:lnTo>
                    <a:pt x="553" y="1954"/>
                  </a:lnTo>
                  <a:lnTo>
                    <a:pt x="553" y="1952"/>
                  </a:lnTo>
                  <a:lnTo>
                    <a:pt x="553" y="1950"/>
                  </a:lnTo>
                  <a:lnTo>
                    <a:pt x="553" y="1948"/>
                  </a:lnTo>
                  <a:lnTo>
                    <a:pt x="555" y="1948"/>
                  </a:lnTo>
                  <a:lnTo>
                    <a:pt x="555" y="1946"/>
                  </a:lnTo>
                  <a:lnTo>
                    <a:pt x="555" y="1948"/>
                  </a:lnTo>
                  <a:lnTo>
                    <a:pt x="553" y="1950"/>
                  </a:lnTo>
                  <a:lnTo>
                    <a:pt x="553" y="1952"/>
                  </a:lnTo>
                  <a:lnTo>
                    <a:pt x="553" y="1954"/>
                  </a:lnTo>
                  <a:lnTo>
                    <a:pt x="553" y="1956"/>
                  </a:lnTo>
                  <a:lnTo>
                    <a:pt x="555" y="1956"/>
                  </a:lnTo>
                  <a:lnTo>
                    <a:pt x="557" y="1958"/>
                  </a:lnTo>
                  <a:lnTo>
                    <a:pt x="559" y="1958"/>
                  </a:lnTo>
                  <a:close/>
                  <a:moveTo>
                    <a:pt x="839" y="1960"/>
                  </a:moveTo>
                  <a:lnTo>
                    <a:pt x="841" y="1962"/>
                  </a:lnTo>
                  <a:lnTo>
                    <a:pt x="843" y="1962"/>
                  </a:lnTo>
                  <a:lnTo>
                    <a:pt x="845" y="1962"/>
                  </a:lnTo>
                  <a:lnTo>
                    <a:pt x="843" y="1962"/>
                  </a:lnTo>
                  <a:lnTo>
                    <a:pt x="847" y="1962"/>
                  </a:lnTo>
                  <a:lnTo>
                    <a:pt x="848" y="1962"/>
                  </a:lnTo>
                  <a:lnTo>
                    <a:pt x="850" y="1962"/>
                  </a:lnTo>
                  <a:lnTo>
                    <a:pt x="850" y="1963"/>
                  </a:lnTo>
                  <a:lnTo>
                    <a:pt x="852" y="1963"/>
                  </a:lnTo>
                  <a:lnTo>
                    <a:pt x="850" y="1963"/>
                  </a:lnTo>
                  <a:lnTo>
                    <a:pt x="852" y="1963"/>
                  </a:lnTo>
                  <a:lnTo>
                    <a:pt x="854" y="1963"/>
                  </a:lnTo>
                  <a:lnTo>
                    <a:pt x="856" y="1963"/>
                  </a:lnTo>
                  <a:lnTo>
                    <a:pt x="866" y="1967"/>
                  </a:lnTo>
                  <a:lnTo>
                    <a:pt x="866" y="1969"/>
                  </a:lnTo>
                  <a:lnTo>
                    <a:pt x="866" y="1967"/>
                  </a:lnTo>
                  <a:lnTo>
                    <a:pt x="866" y="1969"/>
                  </a:lnTo>
                  <a:lnTo>
                    <a:pt x="866" y="1967"/>
                  </a:lnTo>
                  <a:lnTo>
                    <a:pt x="870" y="1969"/>
                  </a:lnTo>
                  <a:lnTo>
                    <a:pt x="872" y="1969"/>
                  </a:lnTo>
                  <a:lnTo>
                    <a:pt x="873" y="1971"/>
                  </a:lnTo>
                  <a:lnTo>
                    <a:pt x="875" y="1971"/>
                  </a:lnTo>
                  <a:lnTo>
                    <a:pt x="877" y="1971"/>
                  </a:lnTo>
                  <a:lnTo>
                    <a:pt x="879" y="1973"/>
                  </a:lnTo>
                  <a:lnTo>
                    <a:pt x="881" y="1975"/>
                  </a:lnTo>
                  <a:lnTo>
                    <a:pt x="883" y="1975"/>
                  </a:lnTo>
                  <a:lnTo>
                    <a:pt x="885" y="1975"/>
                  </a:lnTo>
                  <a:lnTo>
                    <a:pt x="885" y="1977"/>
                  </a:lnTo>
                  <a:lnTo>
                    <a:pt x="887" y="1977"/>
                  </a:lnTo>
                  <a:lnTo>
                    <a:pt x="889" y="1977"/>
                  </a:lnTo>
                  <a:lnTo>
                    <a:pt x="889" y="1979"/>
                  </a:lnTo>
                  <a:lnTo>
                    <a:pt x="891" y="1979"/>
                  </a:lnTo>
                  <a:lnTo>
                    <a:pt x="895" y="1981"/>
                  </a:lnTo>
                  <a:lnTo>
                    <a:pt x="898" y="1985"/>
                  </a:lnTo>
                  <a:lnTo>
                    <a:pt x="900" y="1985"/>
                  </a:lnTo>
                  <a:lnTo>
                    <a:pt x="902" y="1985"/>
                  </a:lnTo>
                  <a:lnTo>
                    <a:pt x="904" y="1986"/>
                  </a:lnTo>
                  <a:lnTo>
                    <a:pt x="906" y="1986"/>
                  </a:lnTo>
                  <a:lnTo>
                    <a:pt x="908" y="1988"/>
                  </a:lnTo>
                  <a:lnTo>
                    <a:pt x="910" y="1988"/>
                  </a:lnTo>
                  <a:lnTo>
                    <a:pt x="912" y="1990"/>
                  </a:lnTo>
                  <a:lnTo>
                    <a:pt x="914" y="1990"/>
                  </a:lnTo>
                  <a:lnTo>
                    <a:pt x="916" y="1990"/>
                  </a:lnTo>
                  <a:lnTo>
                    <a:pt x="916" y="1992"/>
                  </a:lnTo>
                  <a:lnTo>
                    <a:pt x="918" y="1992"/>
                  </a:lnTo>
                  <a:lnTo>
                    <a:pt x="918" y="1994"/>
                  </a:lnTo>
                  <a:lnTo>
                    <a:pt x="918" y="1996"/>
                  </a:lnTo>
                  <a:lnTo>
                    <a:pt x="918" y="1998"/>
                  </a:lnTo>
                  <a:lnTo>
                    <a:pt x="916" y="1998"/>
                  </a:lnTo>
                  <a:lnTo>
                    <a:pt x="914" y="1998"/>
                  </a:lnTo>
                  <a:lnTo>
                    <a:pt x="912" y="1998"/>
                  </a:lnTo>
                  <a:lnTo>
                    <a:pt x="910" y="1998"/>
                  </a:lnTo>
                  <a:lnTo>
                    <a:pt x="906" y="2000"/>
                  </a:lnTo>
                  <a:lnTo>
                    <a:pt x="904" y="2000"/>
                  </a:lnTo>
                  <a:lnTo>
                    <a:pt x="902" y="2002"/>
                  </a:lnTo>
                  <a:lnTo>
                    <a:pt x="898" y="2004"/>
                  </a:lnTo>
                  <a:lnTo>
                    <a:pt x="898" y="2002"/>
                  </a:lnTo>
                  <a:lnTo>
                    <a:pt x="900" y="2002"/>
                  </a:lnTo>
                  <a:lnTo>
                    <a:pt x="900" y="2000"/>
                  </a:lnTo>
                  <a:lnTo>
                    <a:pt x="900" y="2002"/>
                  </a:lnTo>
                  <a:lnTo>
                    <a:pt x="900" y="2000"/>
                  </a:lnTo>
                  <a:lnTo>
                    <a:pt x="900" y="2002"/>
                  </a:lnTo>
                  <a:lnTo>
                    <a:pt x="898" y="2002"/>
                  </a:lnTo>
                  <a:lnTo>
                    <a:pt x="896" y="2004"/>
                  </a:lnTo>
                  <a:lnTo>
                    <a:pt x="898" y="2004"/>
                  </a:lnTo>
                  <a:lnTo>
                    <a:pt x="896" y="2004"/>
                  </a:lnTo>
                  <a:lnTo>
                    <a:pt x="895" y="2004"/>
                  </a:lnTo>
                  <a:lnTo>
                    <a:pt x="895" y="2002"/>
                  </a:lnTo>
                  <a:lnTo>
                    <a:pt x="895" y="2004"/>
                  </a:lnTo>
                  <a:lnTo>
                    <a:pt x="893" y="2004"/>
                  </a:lnTo>
                  <a:lnTo>
                    <a:pt x="891" y="2004"/>
                  </a:lnTo>
                  <a:lnTo>
                    <a:pt x="889" y="2004"/>
                  </a:lnTo>
                  <a:lnTo>
                    <a:pt x="887" y="2002"/>
                  </a:lnTo>
                  <a:lnTo>
                    <a:pt x="885" y="2002"/>
                  </a:lnTo>
                  <a:lnTo>
                    <a:pt x="883" y="2002"/>
                  </a:lnTo>
                  <a:lnTo>
                    <a:pt x="881" y="2002"/>
                  </a:lnTo>
                  <a:lnTo>
                    <a:pt x="881" y="2000"/>
                  </a:lnTo>
                  <a:lnTo>
                    <a:pt x="879" y="1998"/>
                  </a:lnTo>
                  <a:lnTo>
                    <a:pt x="881" y="2000"/>
                  </a:lnTo>
                  <a:lnTo>
                    <a:pt x="881" y="2002"/>
                  </a:lnTo>
                  <a:lnTo>
                    <a:pt x="879" y="2000"/>
                  </a:lnTo>
                  <a:lnTo>
                    <a:pt x="877" y="2000"/>
                  </a:lnTo>
                  <a:lnTo>
                    <a:pt x="875" y="2000"/>
                  </a:lnTo>
                  <a:lnTo>
                    <a:pt x="875" y="1998"/>
                  </a:lnTo>
                  <a:lnTo>
                    <a:pt x="873" y="1998"/>
                  </a:lnTo>
                  <a:lnTo>
                    <a:pt x="872" y="1996"/>
                  </a:lnTo>
                  <a:lnTo>
                    <a:pt x="873" y="1996"/>
                  </a:lnTo>
                  <a:lnTo>
                    <a:pt x="873" y="1994"/>
                  </a:lnTo>
                  <a:lnTo>
                    <a:pt x="872" y="1994"/>
                  </a:lnTo>
                  <a:lnTo>
                    <a:pt x="872" y="1992"/>
                  </a:lnTo>
                  <a:lnTo>
                    <a:pt x="872" y="1990"/>
                  </a:lnTo>
                  <a:lnTo>
                    <a:pt x="872" y="1992"/>
                  </a:lnTo>
                  <a:lnTo>
                    <a:pt x="870" y="1992"/>
                  </a:lnTo>
                  <a:lnTo>
                    <a:pt x="872" y="1992"/>
                  </a:lnTo>
                  <a:lnTo>
                    <a:pt x="872" y="1994"/>
                  </a:lnTo>
                  <a:lnTo>
                    <a:pt x="873" y="1994"/>
                  </a:lnTo>
                  <a:lnTo>
                    <a:pt x="872" y="1996"/>
                  </a:lnTo>
                  <a:lnTo>
                    <a:pt x="870" y="1996"/>
                  </a:lnTo>
                  <a:lnTo>
                    <a:pt x="868" y="1996"/>
                  </a:lnTo>
                  <a:lnTo>
                    <a:pt x="868" y="1994"/>
                  </a:lnTo>
                  <a:lnTo>
                    <a:pt x="864" y="1992"/>
                  </a:lnTo>
                  <a:lnTo>
                    <a:pt x="864" y="1990"/>
                  </a:lnTo>
                  <a:lnTo>
                    <a:pt x="862" y="1990"/>
                  </a:lnTo>
                  <a:lnTo>
                    <a:pt x="860" y="1990"/>
                  </a:lnTo>
                  <a:lnTo>
                    <a:pt x="860" y="1988"/>
                  </a:lnTo>
                  <a:lnTo>
                    <a:pt x="862" y="1988"/>
                  </a:lnTo>
                  <a:lnTo>
                    <a:pt x="862" y="1986"/>
                  </a:lnTo>
                  <a:lnTo>
                    <a:pt x="864" y="1985"/>
                  </a:lnTo>
                  <a:lnTo>
                    <a:pt x="862" y="1985"/>
                  </a:lnTo>
                  <a:lnTo>
                    <a:pt x="862" y="1986"/>
                  </a:lnTo>
                  <a:lnTo>
                    <a:pt x="860" y="1988"/>
                  </a:lnTo>
                  <a:lnTo>
                    <a:pt x="858" y="1988"/>
                  </a:lnTo>
                  <a:lnTo>
                    <a:pt x="858" y="1986"/>
                  </a:lnTo>
                  <a:lnTo>
                    <a:pt x="856" y="1986"/>
                  </a:lnTo>
                  <a:lnTo>
                    <a:pt x="856" y="1985"/>
                  </a:lnTo>
                  <a:lnTo>
                    <a:pt x="856" y="1986"/>
                  </a:lnTo>
                  <a:lnTo>
                    <a:pt x="854" y="1985"/>
                  </a:lnTo>
                  <a:lnTo>
                    <a:pt x="856" y="1985"/>
                  </a:lnTo>
                  <a:lnTo>
                    <a:pt x="854" y="1985"/>
                  </a:lnTo>
                  <a:lnTo>
                    <a:pt x="854" y="1983"/>
                  </a:lnTo>
                  <a:lnTo>
                    <a:pt x="852" y="1983"/>
                  </a:lnTo>
                  <a:lnTo>
                    <a:pt x="852" y="1981"/>
                  </a:lnTo>
                  <a:lnTo>
                    <a:pt x="850" y="1981"/>
                  </a:lnTo>
                  <a:lnTo>
                    <a:pt x="850" y="1979"/>
                  </a:lnTo>
                  <a:lnTo>
                    <a:pt x="848" y="1979"/>
                  </a:lnTo>
                  <a:lnTo>
                    <a:pt x="850" y="1977"/>
                  </a:lnTo>
                  <a:lnTo>
                    <a:pt x="850" y="1975"/>
                  </a:lnTo>
                  <a:lnTo>
                    <a:pt x="852" y="1975"/>
                  </a:lnTo>
                  <a:lnTo>
                    <a:pt x="850" y="1975"/>
                  </a:lnTo>
                  <a:lnTo>
                    <a:pt x="850" y="1977"/>
                  </a:lnTo>
                  <a:lnTo>
                    <a:pt x="848" y="1979"/>
                  </a:lnTo>
                  <a:lnTo>
                    <a:pt x="847" y="1977"/>
                  </a:lnTo>
                  <a:lnTo>
                    <a:pt x="847" y="1975"/>
                  </a:lnTo>
                  <a:lnTo>
                    <a:pt x="847" y="1973"/>
                  </a:lnTo>
                  <a:lnTo>
                    <a:pt x="847" y="1975"/>
                  </a:lnTo>
                  <a:lnTo>
                    <a:pt x="847" y="1977"/>
                  </a:lnTo>
                  <a:lnTo>
                    <a:pt x="845" y="1977"/>
                  </a:lnTo>
                  <a:lnTo>
                    <a:pt x="845" y="1975"/>
                  </a:lnTo>
                  <a:lnTo>
                    <a:pt x="843" y="1975"/>
                  </a:lnTo>
                  <a:lnTo>
                    <a:pt x="843" y="1973"/>
                  </a:lnTo>
                  <a:lnTo>
                    <a:pt x="841" y="1973"/>
                  </a:lnTo>
                  <a:lnTo>
                    <a:pt x="843" y="1971"/>
                  </a:lnTo>
                  <a:lnTo>
                    <a:pt x="845" y="1971"/>
                  </a:lnTo>
                  <a:lnTo>
                    <a:pt x="843" y="1971"/>
                  </a:lnTo>
                  <a:lnTo>
                    <a:pt x="841" y="1971"/>
                  </a:lnTo>
                  <a:lnTo>
                    <a:pt x="839" y="1971"/>
                  </a:lnTo>
                  <a:lnTo>
                    <a:pt x="837" y="1971"/>
                  </a:lnTo>
                  <a:lnTo>
                    <a:pt x="839" y="1971"/>
                  </a:lnTo>
                  <a:lnTo>
                    <a:pt x="839" y="1973"/>
                  </a:lnTo>
                  <a:lnTo>
                    <a:pt x="839" y="1971"/>
                  </a:lnTo>
                  <a:lnTo>
                    <a:pt x="837" y="1971"/>
                  </a:lnTo>
                  <a:lnTo>
                    <a:pt x="837" y="1969"/>
                  </a:lnTo>
                  <a:lnTo>
                    <a:pt x="837" y="1971"/>
                  </a:lnTo>
                  <a:lnTo>
                    <a:pt x="837" y="1969"/>
                  </a:lnTo>
                  <a:lnTo>
                    <a:pt x="835" y="1969"/>
                  </a:lnTo>
                  <a:lnTo>
                    <a:pt x="833" y="1967"/>
                  </a:lnTo>
                  <a:lnTo>
                    <a:pt x="833" y="1965"/>
                  </a:lnTo>
                  <a:lnTo>
                    <a:pt x="835" y="1963"/>
                  </a:lnTo>
                  <a:lnTo>
                    <a:pt x="835" y="1962"/>
                  </a:lnTo>
                  <a:lnTo>
                    <a:pt x="837" y="1962"/>
                  </a:lnTo>
                  <a:lnTo>
                    <a:pt x="837" y="1960"/>
                  </a:lnTo>
                  <a:lnTo>
                    <a:pt x="839" y="1960"/>
                  </a:lnTo>
                  <a:close/>
                  <a:moveTo>
                    <a:pt x="616" y="1938"/>
                  </a:moveTo>
                  <a:lnTo>
                    <a:pt x="614" y="1940"/>
                  </a:lnTo>
                  <a:lnTo>
                    <a:pt x="612" y="1938"/>
                  </a:lnTo>
                  <a:lnTo>
                    <a:pt x="610" y="1937"/>
                  </a:lnTo>
                  <a:lnTo>
                    <a:pt x="612" y="1937"/>
                  </a:lnTo>
                  <a:lnTo>
                    <a:pt x="614" y="1937"/>
                  </a:lnTo>
                  <a:lnTo>
                    <a:pt x="618" y="1937"/>
                  </a:lnTo>
                  <a:lnTo>
                    <a:pt x="616" y="1937"/>
                  </a:lnTo>
                  <a:lnTo>
                    <a:pt x="616" y="1938"/>
                  </a:lnTo>
                  <a:close/>
                  <a:moveTo>
                    <a:pt x="609" y="1937"/>
                  </a:moveTo>
                  <a:lnTo>
                    <a:pt x="609" y="1938"/>
                  </a:lnTo>
                  <a:lnTo>
                    <a:pt x="607" y="1944"/>
                  </a:lnTo>
                  <a:lnTo>
                    <a:pt x="607" y="1946"/>
                  </a:lnTo>
                  <a:lnTo>
                    <a:pt x="609" y="1946"/>
                  </a:lnTo>
                  <a:lnTo>
                    <a:pt x="609" y="1948"/>
                  </a:lnTo>
                  <a:lnTo>
                    <a:pt x="609" y="1950"/>
                  </a:lnTo>
                  <a:lnTo>
                    <a:pt x="609" y="1952"/>
                  </a:lnTo>
                  <a:lnTo>
                    <a:pt x="610" y="1956"/>
                  </a:lnTo>
                  <a:lnTo>
                    <a:pt x="610" y="1958"/>
                  </a:lnTo>
                  <a:lnTo>
                    <a:pt x="610" y="1960"/>
                  </a:lnTo>
                  <a:lnTo>
                    <a:pt x="612" y="1963"/>
                  </a:lnTo>
                  <a:lnTo>
                    <a:pt x="614" y="1967"/>
                  </a:lnTo>
                  <a:lnTo>
                    <a:pt x="614" y="1969"/>
                  </a:lnTo>
                  <a:lnTo>
                    <a:pt x="616" y="1969"/>
                  </a:lnTo>
                  <a:lnTo>
                    <a:pt x="616" y="1971"/>
                  </a:lnTo>
                  <a:lnTo>
                    <a:pt x="618" y="1973"/>
                  </a:lnTo>
                  <a:lnTo>
                    <a:pt x="620" y="1973"/>
                  </a:lnTo>
                  <a:lnTo>
                    <a:pt x="620" y="1975"/>
                  </a:lnTo>
                  <a:lnTo>
                    <a:pt x="622" y="1977"/>
                  </a:lnTo>
                  <a:lnTo>
                    <a:pt x="622" y="1975"/>
                  </a:lnTo>
                  <a:lnTo>
                    <a:pt x="622" y="1977"/>
                  </a:lnTo>
                  <a:lnTo>
                    <a:pt x="622" y="1979"/>
                  </a:lnTo>
                  <a:lnTo>
                    <a:pt x="622" y="1981"/>
                  </a:lnTo>
                  <a:lnTo>
                    <a:pt x="620" y="1983"/>
                  </a:lnTo>
                  <a:lnTo>
                    <a:pt x="618" y="1983"/>
                  </a:lnTo>
                  <a:lnTo>
                    <a:pt x="616" y="1983"/>
                  </a:lnTo>
                  <a:lnTo>
                    <a:pt x="614" y="1981"/>
                  </a:lnTo>
                  <a:lnTo>
                    <a:pt x="614" y="1983"/>
                  </a:lnTo>
                  <a:lnTo>
                    <a:pt x="612" y="1981"/>
                  </a:lnTo>
                  <a:lnTo>
                    <a:pt x="610" y="1981"/>
                  </a:lnTo>
                  <a:lnTo>
                    <a:pt x="609" y="1977"/>
                  </a:lnTo>
                  <a:lnTo>
                    <a:pt x="607" y="1973"/>
                  </a:lnTo>
                  <a:lnTo>
                    <a:pt x="607" y="1971"/>
                  </a:lnTo>
                  <a:lnTo>
                    <a:pt x="607" y="1969"/>
                  </a:lnTo>
                  <a:lnTo>
                    <a:pt x="605" y="1965"/>
                  </a:lnTo>
                  <a:lnTo>
                    <a:pt x="605" y="1962"/>
                  </a:lnTo>
                  <a:lnTo>
                    <a:pt x="603" y="1958"/>
                  </a:lnTo>
                  <a:lnTo>
                    <a:pt x="603" y="1956"/>
                  </a:lnTo>
                  <a:lnTo>
                    <a:pt x="603" y="1954"/>
                  </a:lnTo>
                  <a:lnTo>
                    <a:pt x="601" y="1952"/>
                  </a:lnTo>
                  <a:lnTo>
                    <a:pt x="599" y="1950"/>
                  </a:lnTo>
                  <a:lnTo>
                    <a:pt x="597" y="1948"/>
                  </a:lnTo>
                  <a:lnTo>
                    <a:pt x="597" y="1946"/>
                  </a:lnTo>
                  <a:lnTo>
                    <a:pt x="595" y="1944"/>
                  </a:lnTo>
                  <a:lnTo>
                    <a:pt x="595" y="1942"/>
                  </a:lnTo>
                  <a:lnTo>
                    <a:pt x="593" y="1942"/>
                  </a:lnTo>
                  <a:lnTo>
                    <a:pt x="591" y="1942"/>
                  </a:lnTo>
                  <a:lnTo>
                    <a:pt x="593" y="1940"/>
                  </a:lnTo>
                  <a:lnTo>
                    <a:pt x="593" y="1938"/>
                  </a:lnTo>
                  <a:lnTo>
                    <a:pt x="595" y="1938"/>
                  </a:lnTo>
                  <a:lnTo>
                    <a:pt x="595" y="1937"/>
                  </a:lnTo>
                  <a:lnTo>
                    <a:pt x="597" y="1937"/>
                  </a:lnTo>
                  <a:lnTo>
                    <a:pt x="599" y="1937"/>
                  </a:lnTo>
                  <a:lnTo>
                    <a:pt x="601" y="1935"/>
                  </a:lnTo>
                  <a:lnTo>
                    <a:pt x="605" y="1935"/>
                  </a:lnTo>
                  <a:lnTo>
                    <a:pt x="607" y="1935"/>
                  </a:lnTo>
                  <a:lnTo>
                    <a:pt x="609" y="1935"/>
                  </a:lnTo>
                  <a:lnTo>
                    <a:pt x="609" y="1937"/>
                  </a:lnTo>
                  <a:close/>
                  <a:moveTo>
                    <a:pt x="513" y="1925"/>
                  </a:moveTo>
                  <a:lnTo>
                    <a:pt x="513" y="1927"/>
                  </a:lnTo>
                  <a:lnTo>
                    <a:pt x="511" y="1927"/>
                  </a:lnTo>
                  <a:lnTo>
                    <a:pt x="511" y="1929"/>
                  </a:lnTo>
                  <a:lnTo>
                    <a:pt x="509" y="1929"/>
                  </a:lnTo>
                  <a:lnTo>
                    <a:pt x="509" y="1927"/>
                  </a:lnTo>
                  <a:lnTo>
                    <a:pt x="509" y="1929"/>
                  </a:lnTo>
                  <a:lnTo>
                    <a:pt x="507" y="1929"/>
                  </a:lnTo>
                  <a:lnTo>
                    <a:pt x="509" y="1929"/>
                  </a:lnTo>
                  <a:lnTo>
                    <a:pt x="507" y="1929"/>
                  </a:lnTo>
                  <a:lnTo>
                    <a:pt x="507" y="1927"/>
                  </a:lnTo>
                  <a:lnTo>
                    <a:pt x="507" y="1925"/>
                  </a:lnTo>
                  <a:lnTo>
                    <a:pt x="509" y="1925"/>
                  </a:lnTo>
                  <a:lnTo>
                    <a:pt x="511" y="1925"/>
                  </a:lnTo>
                  <a:lnTo>
                    <a:pt x="513" y="1925"/>
                  </a:lnTo>
                  <a:close/>
                  <a:moveTo>
                    <a:pt x="634" y="1925"/>
                  </a:moveTo>
                  <a:lnTo>
                    <a:pt x="635" y="1927"/>
                  </a:lnTo>
                  <a:lnTo>
                    <a:pt x="635" y="1929"/>
                  </a:lnTo>
                  <a:lnTo>
                    <a:pt x="634" y="1929"/>
                  </a:lnTo>
                  <a:lnTo>
                    <a:pt x="634" y="1925"/>
                  </a:lnTo>
                  <a:close/>
                  <a:moveTo>
                    <a:pt x="566" y="1919"/>
                  </a:moveTo>
                  <a:lnTo>
                    <a:pt x="566" y="1921"/>
                  </a:lnTo>
                  <a:lnTo>
                    <a:pt x="564" y="1921"/>
                  </a:lnTo>
                  <a:lnTo>
                    <a:pt x="564" y="1919"/>
                  </a:lnTo>
                  <a:lnTo>
                    <a:pt x="566" y="1917"/>
                  </a:lnTo>
                  <a:lnTo>
                    <a:pt x="566" y="1919"/>
                  </a:lnTo>
                  <a:close/>
                  <a:moveTo>
                    <a:pt x="561" y="1887"/>
                  </a:moveTo>
                  <a:lnTo>
                    <a:pt x="559" y="1887"/>
                  </a:lnTo>
                  <a:lnTo>
                    <a:pt x="559" y="1889"/>
                  </a:lnTo>
                  <a:lnTo>
                    <a:pt x="561" y="1889"/>
                  </a:lnTo>
                  <a:lnTo>
                    <a:pt x="561" y="1890"/>
                  </a:lnTo>
                  <a:lnTo>
                    <a:pt x="562" y="1890"/>
                  </a:lnTo>
                  <a:lnTo>
                    <a:pt x="562" y="1892"/>
                  </a:lnTo>
                  <a:lnTo>
                    <a:pt x="566" y="1896"/>
                  </a:lnTo>
                  <a:lnTo>
                    <a:pt x="568" y="1898"/>
                  </a:lnTo>
                  <a:lnTo>
                    <a:pt x="570" y="1900"/>
                  </a:lnTo>
                  <a:lnTo>
                    <a:pt x="572" y="1902"/>
                  </a:lnTo>
                  <a:lnTo>
                    <a:pt x="574" y="1902"/>
                  </a:lnTo>
                  <a:lnTo>
                    <a:pt x="576" y="1904"/>
                  </a:lnTo>
                  <a:lnTo>
                    <a:pt x="576" y="1906"/>
                  </a:lnTo>
                  <a:lnTo>
                    <a:pt x="578" y="1906"/>
                  </a:lnTo>
                  <a:lnTo>
                    <a:pt x="580" y="1906"/>
                  </a:lnTo>
                  <a:lnTo>
                    <a:pt x="582" y="1908"/>
                  </a:lnTo>
                  <a:lnTo>
                    <a:pt x="582" y="1910"/>
                  </a:lnTo>
                  <a:lnTo>
                    <a:pt x="584" y="1910"/>
                  </a:lnTo>
                  <a:lnTo>
                    <a:pt x="580" y="1908"/>
                  </a:lnTo>
                  <a:lnTo>
                    <a:pt x="576" y="1908"/>
                  </a:lnTo>
                  <a:lnTo>
                    <a:pt x="574" y="1908"/>
                  </a:lnTo>
                  <a:lnTo>
                    <a:pt x="572" y="1906"/>
                  </a:lnTo>
                  <a:lnTo>
                    <a:pt x="572" y="1908"/>
                  </a:lnTo>
                  <a:lnTo>
                    <a:pt x="570" y="1906"/>
                  </a:lnTo>
                  <a:lnTo>
                    <a:pt x="568" y="1906"/>
                  </a:lnTo>
                  <a:lnTo>
                    <a:pt x="566" y="1906"/>
                  </a:lnTo>
                  <a:lnTo>
                    <a:pt x="568" y="1906"/>
                  </a:lnTo>
                  <a:lnTo>
                    <a:pt x="564" y="1906"/>
                  </a:lnTo>
                  <a:lnTo>
                    <a:pt x="562" y="1906"/>
                  </a:lnTo>
                  <a:lnTo>
                    <a:pt x="561" y="1906"/>
                  </a:lnTo>
                  <a:lnTo>
                    <a:pt x="559" y="1906"/>
                  </a:lnTo>
                  <a:lnTo>
                    <a:pt x="557" y="1906"/>
                  </a:lnTo>
                  <a:lnTo>
                    <a:pt x="555" y="1906"/>
                  </a:lnTo>
                  <a:lnTo>
                    <a:pt x="553" y="1906"/>
                  </a:lnTo>
                  <a:lnTo>
                    <a:pt x="551" y="1908"/>
                  </a:lnTo>
                  <a:lnTo>
                    <a:pt x="551" y="1906"/>
                  </a:lnTo>
                  <a:lnTo>
                    <a:pt x="549" y="1908"/>
                  </a:lnTo>
                  <a:lnTo>
                    <a:pt x="547" y="1908"/>
                  </a:lnTo>
                  <a:lnTo>
                    <a:pt x="545" y="1908"/>
                  </a:lnTo>
                  <a:lnTo>
                    <a:pt x="543" y="1910"/>
                  </a:lnTo>
                  <a:lnTo>
                    <a:pt x="541" y="1910"/>
                  </a:lnTo>
                  <a:lnTo>
                    <a:pt x="539" y="1910"/>
                  </a:lnTo>
                  <a:lnTo>
                    <a:pt x="539" y="1912"/>
                  </a:lnTo>
                  <a:lnTo>
                    <a:pt x="538" y="1912"/>
                  </a:lnTo>
                  <a:lnTo>
                    <a:pt x="536" y="1912"/>
                  </a:lnTo>
                  <a:lnTo>
                    <a:pt x="534" y="1912"/>
                  </a:lnTo>
                  <a:lnTo>
                    <a:pt x="532" y="1912"/>
                  </a:lnTo>
                  <a:lnTo>
                    <a:pt x="530" y="1912"/>
                  </a:lnTo>
                  <a:lnTo>
                    <a:pt x="530" y="1913"/>
                  </a:lnTo>
                  <a:lnTo>
                    <a:pt x="530" y="1912"/>
                  </a:lnTo>
                  <a:lnTo>
                    <a:pt x="528" y="1912"/>
                  </a:lnTo>
                  <a:lnTo>
                    <a:pt x="528" y="1910"/>
                  </a:lnTo>
                  <a:lnTo>
                    <a:pt x="530" y="1910"/>
                  </a:lnTo>
                  <a:lnTo>
                    <a:pt x="532" y="1910"/>
                  </a:lnTo>
                  <a:lnTo>
                    <a:pt x="534" y="1910"/>
                  </a:lnTo>
                  <a:lnTo>
                    <a:pt x="534" y="1908"/>
                  </a:lnTo>
                  <a:lnTo>
                    <a:pt x="536" y="1908"/>
                  </a:lnTo>
                  <a:lnTo>
                    <a:pt x="536" y="1906"/>
                  </a:lnTo>
                  <a:lnTo>
                    <a:pt x="538" y="1906"/>
                  </a:lnTo>
                  <a:lnTo>
                    <a:pt x="539" y="1904"/>
                  </a:lnTo>
                  <a:lnTo>
                    <a:pt x="539" y="1902"/>
                  </a:lnTo>
                  <a:lnTo>
                    <a:pt x="541" y="1902"/>
                  </a:lnTo>
                  <a:lnTo>
                    <a:pt x="543" y="1900"/>
                  </a:lnTo>
                  <a:lnTo>
                    <a:pt x="545" y="1900"/>
                  </a:lnTo>
                  <a:lnTo>
                    <a:pt x="545" y="1898"/>
                  </a:lnTo>
                  <a:lnTo>
                    <a:pt x="547" y="1898"/>
                  </a:lnTo>
                  <a:lnTo>
                    <a:pt x="547" y="1896"/>
                  </a:lnTo>
                  <a:lnTo>
                    <a:pt x="549" y="1896"/>
                  </a:lnTo>
                  <a:lnTo>
                    <a:pt x="549" y="1894"/>
                  </a:lnTo>
                  <a:lnTo>
                    <a:pt x="551" y="1892"/>
                  </a:lnTo>
                  <a:lnTo>
                    <a:pt x="551" y="1890"/>
                  </a:lnTo>
                  <a:lnTo>
                    <a:pt x="553" y="1890"/>
                  </a:lnTo>
                  <a:lnTo>
                    <a:pt x="553" y="1889"/>
                  </a:lnTo>
                  <a:lnTo>
                    <a:pt x="555" y="1889"/>
                  </a:lnTo>
                  <a:lnTo>
                    <a:pt x="557" y="1887"/>
                  </a:lnTo>
                  <a:lnTo>
                    <a:pt x="559" y="1887"/>
                  </a:lnTo>
                  <a:lnTo>
                    <a:pt x="561" y="1887"/>
                  </a:lnTo>
                  <a:close/>
                  <a:moveTo>
                    <a:pt x="586" y="1877"/>
                  </a:moveTo>
                  <a:lnTo>
                    <a:pt x="587" y="1877"/>
                  </a:lnTo>
                  <a:lnTo>
                    <a:pt x="589" y="1877"/>
                  </a:lnTo>
                  <a:lnTo>
                    <a:pt x="587" y="1879"/>
                  </a:lnTo>
                  <a:lnTo>
                    <a:pt x="586" y="1877"/>
                  </a:lnTo>
                  <a:lnTo>
                    <a:pt x="584" y="1877"/>
                  </a:lnTo>
                  <a:lnTo>
                    <a:pt x="582" y="1877"/>
                  </a:lnTo>
                  <a:lnTo>
                    <a:pt x="582" y="1875"/>
                  </a:lnTo>
                  <a:lnTo>
                    <a:pt x="580" y="1875"/>
                  </a:lnTo>
                  <a:lnTo>
                    <a:pt x="580" y="1873"/>
                  </a:lnTo>
                  <a:lnTo>
                    <a:pt x="582" y="1873"/>
                  </a:lnTo>
                  <a:lnTo>
                    <a:pt x="582" y="1871"/>
                  </a:lnTo>
                  <a:lnTo>
                    <a:pt x="584" y="1871"/>
                  </a:lnTo>
                  <a:lnTo>
                    <a:pt x="586" y="1871"/>
                  </a:lnTo>
                  <a:lnTo>
                    <a:pt x="587" y="1871"/>
                  </a:lnTo>
                  <a:lnTo>
                    <a:pt x="587" y="1873"/>
                  </a:lnTo>
                  <a:lnTo>
                    <a:pt x="586" y="1873"/>
                  </a:lnTo>
                  <a:lnTo>
                    <a:pt x="586" y="1875"/>
                  </a:lnTo>
                  <a:lnTo>
                    <a:pt x="586" y="1877"/>
                  </a:lnTo>
                  <a:close/>
                  <a:moveTo>
                    <a:pt x="745" y="1885"/>
                  </a:moveTo>
                  <a:lnTo>
                    <a:pt x="747" y="1885"/>
                  </a:lnTo>
                  <a:lnTo>
                    <a:pt x="749" y="1887"/>
                  </a:lnTo>
                  <a:lnTo>
                    <a:pt x="751" y="1885"/>
                  </a:lnTo>
                  <a:lnTo>
                    <a:pt x="753" y="1887"/>
                  </a:lnTo>
                  <a:lnTo>
                    <a:pt x="754" y="1887"/>
                  </a:lnTo>
                  <a:lnTo>
                    <a:pt x="753" y="1887"/>
                  </a:lnTo>
                  <a:lnTo>
                    <a:pt x="751" y="1887"/>
                  </a:lnTo>
                  <a:lnTo>
                    <a:pt x="747" y="1887"/>
                  </a:lnTo>
                  <a:lnTo>
                    <a:pt x="745" y="1887"/>
                  </a:lnTo>
                  <a:lnTo>
                    <a:pt x="745" y="1889"/>
                  </a:lnTo>
                  <a:lnTo>
                    <a:pt x="745" y="1890"/>
                  </a:lnTo>
                  <a:lnTo>
                    <a:pt x="743" y="1890"/>
                  </a:lnTo>
                  <a:lnTo>
                    <a:pt x="741" y="1889"/>
                  </a:lnTo>
                  <a:lnTo>
                    <a:pt x="739" y="1889"/>
                  </a:lnTo>
                  <a:lnTo>
                    <a:pt x="737" y="1887"/>
                  </a:lnTo>
                  <a:lnTo>
                    <a:pt x="737" y="1885"/>
                  </a:lnTo>
                  <a:lnTo>
                    <a:pt x="739" y="1885"/>
                  </a:lnTo>
                  <a:lnTo>
                    <a:pt x="739" y="1887"/>
                  </a:lnTo>
                  <a:lnTo>
                    <a:pt x="741" y="1889"/>
                  </a:lnTo>
                  <a:lnTo>
                    <a:pt x="741" y="1887"/>
                  </a:lnTo>
                  <a:lnTo>
                    <a:pt x="739" y="1887"/>
                  </a:lnTo>
                  <a:lnTo>
                    <a:pt x="739" y="1885"/>
                  </a:lnTo>
                  <a:lnTo>
                    <a:pt x="741" y="1885"/>
                  </a:lnTo>
                  <a:lnTo>
                    <a:pt x="743" y="1885"/>
                  </a:lnTo>
                  <a:lnTo>
                    <a:pt x="745" y="1885"/>
                  </a:lnTo>
                  <a:close/>
                  <a:moveTo>
                    <a:pt x="737" y="1887"/>
                  </a:moveTo>
                  <a:lnTo>
                    <a:pt x="737" y="1885"/>
                  </a:lnTo>
                  <a:lnTo>
                    <a:pt x="737" y="1883"/>
                  </a:lnTo>
                  <a:lnTo>
                    <a:pt x="739" y="1883"/>
                  </a:lnTo>
                  <a:lnTo>
                    <a:pt x="739" y="1885"/>
                  </a:lnTo>
                  <a:lnTo>
                    <a:pt x="737" y="1885"/>
                  </a:lnTo>
                  <a:lnTo>
                    <a:pt x="737" y="1887"/>
                  </a:lnTo>
                  <a:close/>
                  <a:moveTo>
                    <a:pt x="743" y="1883"/>
                  </a:moveTo>
                  <a:lnTo>
                    <a:pt x="741" y="1883"/>
                  </a:lnTo>
                  <a:lnTo>
                    <a:pt x="739" y="1883"/>
                  </a:lnTo>
                  <a:lnTo>
                    <a:pt x="739" y="1885"/>
                  </a:lnTo>
                  <a:lnTo>
                    <a:pt x="739" y="1883"/>
                  </a:lnTo>
                  <a:lnTo>
                    <a:pt x="741" y="1883"/>
                  </a:lnTo>
                  <a:lnTo>
                    <a:pt x="741" y="1881"/>
                  </a:lnTo>
                  <a:lnTo>
                    <a:pt x="743" y="1883"/>
                  </a:lnTo>
                  <a:close/>
                  <a:moveTo>
                    <a:pt x="687" y="1869"/>
                  </a:moveTo>
                  <a:lnTo>
                    <a:pt x="689" y="1871"/>
                  </a:lnTo>
                  <a:lnTo>
                    <a:pt x="689" y="1873"/>
                  </a:lnTo>
                  <a:lnTo>
                    <a:pt x="691" y="1873"/>
                  </a:lnTo>
                  <a:lnTo>
                    <a:pt x="693" y="1873"/>
                  </a:lnTo>
                  <a:lnTo>
                    <a:pt x="691" y="1873"/>
                  </a:lnTo>
                  <a:lnTo>
                    <a:pt x="689" y="1873"/>
                  </a:lnTo>
                  <a:lnTo>
                    <a:pt x="689" y="1871"/>
                  </a:lnTo>
                  <a:lnTo>
                    <a:pt x="687" y="1871"/>
                  </a:lnTo>
                  <a:lnTo>
                    <a:pt x="687" y="1869"/>
                  </a:lnTo>
                  <a:lnTo>
                    <a:pt x="685" y="1869"/>
                  </a:lnTo>
                  <a:lnTo>
                    <a:pt x="687" y="1869"/>
                  </a:lnTo>
                  <a:close/>
                  <a:moveTo>
                    <a:pt x="676" y="1862"/>
                  </a:moveTo>
                  <a:lnTo>
                    <a:pt x="678" y="1862"/>
                  </a:lnTo>
                  <a:lnTo>
                    <a:pt x="678" y="1864"/>
                  </a:lnTo>
                  <a:lnTo>
                    <a:pt x="676" y="1862"/>
                  </a:lnTo>
                  <a:lnTo>
                    <a:pt x="674" y="1862"/>
                  </a:lnTo>
                  <a:lnTo>
                    <a:pt x="672" y="1860"/>
                  </a:lnTo>
                  <a:lnTo>
                    <a:pt x="674" y="1860"/>
                  </a:lnTo>
                  <a:lnTo>
                    <a:pt x="676" y="1862"/>
                  </a:lnTo>
                  <a:close/>
                  <a:moveTo>
                    <a:pt x="672" y="1860"/>
                  </a:moveTo>
                  <a:lnTo>
                    <a:pt x="670" y="1860"/>
                  </a:lnTo>
                  <a:lnTo>
                    <a:pt x="670" y="1858"/>
                  </a:lnTo>
                  <a:lnTo>
                    <a:pt x="668" y="1856"/>
                  </a:lnTo>
                  <a:lnTo>
                    <a:pt x="670" y="1856"/>
                  </a:lnTo>
                  <a:lnTo>
                    <a:pt x="670" y="1858"/>
                  </a:lnTo>
                  <a:lnTo>
                    <a:pt x="672" y="1858"/>
                  </a:lnTo>
                  <a:lnTo>
                    <a:pt x="672" y="1860"/>
                  </a:lnTo>
                  <a:close/>
                  <a:moveTo>
                    <a:pt x="720" y="1850"/>
                  </a:moveTo>
                  <a:lnTo>
                    <a:pt x="720" y="1852"/>
                  </a:lnTo>
                  <a:lnTo>
                    <a:pt x="718" y="1852"/>
                  </a:lnTo>
                  <a:lnTo>
                    <a:pt x="718" y="1850"/>
                  </a:lnTo>
                  <a:lnTo>
                    <a:pt x="718" y="1848"/>
                  </a:lnTo>
                  <a:lnTo>
                    <a:pt x="716" y="1848"/>
                  </a:lnTo>
                  <a:lnTo>
                    <a:pt x="718" y="1848"/>
                  </a:lnTo>
                  <a:lnTo>
                    <a:pt x="718" y="1850"/>
                  </a:lnTo>
                  <a:lnTo>
                    <a:pt x="720" y="1850"/>
                  </a:lnTo>
                  <a:close/>
                  <a:moveTo>
                    <a:pt x="716" y="1848"/>
                  </a:moveTo>
                  <a:lnTo>
                    <a:pt x="716" y="1850"/>
                  </a:lnTo>
                  <a:lnTo>
                    <a:pt x="714" y="1850"/>
                  </a:lnTo>
                  <a:lnTo>
                    <a:pt x="714" y="1848"/>
                  </a:lnTo>
                  <a:lnTo>
                    <a:pt x="712" y="1848"/>
                  </a:lnTo>
                  <a:lnTo>
                    <a:pt x="710" y="1848"/>
                  </a:lnTo>
                  <a:lnTo>
                    <a:pt x="712" y="1848"/>
                  </a:lnTo>
                  <a:lnTo>
                    <a:pt x="714" y="1848"/>
                  </a:lnTo>
                  <a:lnTo>
                    <a:pt x="716" y="1848"/>
                  </a:lnTo>
                  <a:close/>
                  <a:moveTo>
                    <a:pt x="954" y="2046"/>
                  </a:moveTo>
                  <a:lnTo>
                    <a:pt x="944" y="2054"/>
                  </a:lnTo>
                  <a:lnTo>
                    <a:pt x="946" y="2052"/>
                  </a:lnTo>
                  <a:lnTo>
                    <a:pt x="946" y="2050"/>
                  </a:lnTo>
                  <a:lnTo>
                    <a:pt x="944" y="2050"/>
                  </a:lnTo>
                  <a:lnTo>
                    <a:pt x="944" y="2048"/>
                  </a:lnTo>
                  <a:lnTo>
                    <a:pt x="943" y="2048"/>
                  </a:lnTo>
                  <a:lnTo>
                    <a:pt x="941" y="2050"/>
                  </a:lnTo>
                  <a:lnTo>
                    <a:pt x="941" y="2052"/>
                  </a:lnTo>
                  <a:lnTo>
                    <a:pt x="941" y="2050"/>
                  </a:lnTo>
                  <a:lnTo>
                    <a:pt x="939" y="2054"/>
                  </a:lnTo>
                  <a:lnTo>
                    <a:pt x="939" y="2052"/>
                  </a:lnTo>
                  <a:lnTo>
                    <a:pt x="939" y="2050"/>
                  </a:lnTo>
                  <a:lnTo>
                    <a:pt x="941" y="2050"/>
                  </a:lnTo>
                  <a:lnTo>
                    <a:pt x="939" y="2050"/>
                  </a:lnTo>
                  <a:lnTo>
                    <a:pt x="939" y="2048"/>
                  </a:lnTo>
                  <a:lnTo>
                    <a:pt x="937" y="2048"/>
                  </a:lnTo>
                  <a:lnTo>
                    <a:pt x="937" y="2046"/>
                  </a:lnTo>
                  <a:lnTo>
                    <a:pt x="935" y="2046"/>
                  </a:lnTo>
                  <a:lnTo>
                    <a:pt x="935" y="2044"/>
                  </a:lnTo>
                  <a:lnTo>
                    <a:pt x="933" y="2044"/>
                  </a:lnTo>
                  <a:lnTo>
                    <a:pt x="931" y="2044"/>
                  </a:lnTo>
                  <a:lnTo>
                    <a:pt x="929" y="2044"/>
                  </a:lnTo>
                  <a:lnTo>
                    <a:pt x="929" y="2046"/>
                  </a:lnTo>
                  <a:lnTo>
                    <a:pt x="929" y="2048"/>
                  </a:lnTo>
                  <a:lnTo>
                    <a:pt x="927" y="2050"/>
                  </a:lnTo>
                  <a:lnTo>
                    <a:pt x="925" y="2050"/>
                  </a:lnTo>
                  <a:lnTo>
                    <a:pt x="923" y="2048"/>
                  </a:lnTo>
                  <a:lnTo>
                    <a:pt x="923" y="2050"/>
                  </a:lnTo>
                  <a:lnTo>
                    <a:pt x="923" y="2048"/>
                  </a:lnTo>
                  <a:lnTo>
                    <a:pt x="923" y="2046"/>
                  </a:lnTo>
                  <a:lnTo>
                    <a:pt x="923" y="2044"/>
                  </a:lnTo>
                  <a:lnTo>
                    <a:pt x="925" y="2044"/>
                  </a:lnTo>
                  <a:lnTo>
                    <a:pt x="927" y="2044"/>
                  </a:lnTo>
                  <a:lnTo>
                    <a:pt x="929" y="2044"/>
                  </a:lnTo>
                  <a:lnTo>
                    <a:pt x="927" y="2044"/>
                  </a:lnTo>
                  <a:lnTo>
                    <a:pt x="925" y="2044"/>
                  </a:lnTo>
                  <a:lnTo>
                    <a:pt x="927" y="2042"/>
                  </a:lnTo>
                  <a:lnTo>
                    <a:pt x="925" y="2044"/>
                  </a:lnTo>
                  <a:lnTo>
                    <a:pt x="923" y="2044"/>
                  </a:lnTo>
                  <a:lnTo>
                    <a:pt x="923" y="2042"/>
                  </a:lnTo>
                  <a:lnTo>
                    <a:pt x="923" y="2044"/>
                  </a:lnTo>
                  <a:lnTo>
                    <a:pt x="921" y="2046"/>
                  </a:lnTo>
                  <a:lnTo>
                    <a:pt x="921" y="2048"/>
                  </a:lnTo>
                  <a:lnTo>
                    <a:pt x="921" y="2050"/>
                  </a:lnTo>
                  <a:lnTo>
                    <a:pt x="919" y="2050"/>
                  </a:lnTo>
                  <a:lnTo>
                    <a:pt x="918" y="2050"/>
                  </a:lnTo>
                  <a:lnTo>
                    <a:pt x="918" y="2048"/>
                  </a:lnTo>
                  <a:lnTo>
                    <a:pt x="918" y="2046"/>
                  </a:lnTo>
                  <a:lnTo>
                    <a:pt x="918" y="2044"/>
                  </a:lnTo>
                  <a:lnTo>
                    <a:pt x="918" y="2042"/>
                  </a:lnTo>
                  <a:lnTo>
                    <a:pt x="918" y="2044"/>
                  </a:lnTo>
                  <a:lnTo>
                    <a:pt x="918" y="2046"/>
                  </a:lnTo>
                  <a:lnTo>
                    <a:pt x="918" y="2048"/>
                  </a:lnTo>
                  <a:lnTo>
                    <a:pt x="918" y="2052"/>
                  </a:lnTo>
                  <a:lnTo>
                    <a:pt x="918" y="2048"/>
                  </a:lnTo>
                  <a:lnTo>
                    <a:pt x="918" y="2046"/>
                  </a:lnTo>
                  <a:lnTo>
                    <a:pt x="918" y="2044"/>
                  </a:lnTo>
                  <a:lnTo>
                    <a:pt x="918" y="2046"/>
                  </a:lnTo>
                  <a:lnTo>
                    <a:pt x="916" y="2046"/>
                  </a:lnTo>
                  <a:lnTo>
                    <a:pt x="918" y="2046"/>
                  </a:lnTo>
                  <a:lnTo>
                    <a:pt x="918" y="2048"/>
                  </a:lnTo>
                  <a:lnTo>
                    <a:pt x="918" y="2050"/>
                  </a:lnTo>
                  <a:lnTo>
                    <a:pt x="916" y="2050"/>
                  </a:lnTo>
                  <a:lnTo>
                    <a:pt x="916" y="2048"/>
                  </a:lnTo>
                  <a:lnTo>
                    <a:pt x="916" y="2050"/>
                  </a:lnTo>
                  <a:lnTo>
                    <a:pt x="916" y="2048"/>
                  </a:lnTo>
                  <a:lnTo>
                    <a:pt x="916" y="2046"/>
                  </a:lnTo>
                  <a:lnTo>
                    <a:pt x="916" y="2044"/>
                  </a:lnTo>
                  <a:lnTo>
                    <a:pt x="914" y="2044"/>
                  </a:lnTo>
                  <a:lnTo>
                    <a:pt x="916" y="2044"/>
                  </a:lnTo>
                  <a:lnTo>
                    <a:pt x="916" y="2046"/>
                  </a:lnTo>
                  <a:lnTo>
                    <a:pt x="916" y="2048"/>
                  </a:lnTo>
                  <a:lnTo>
                    <a:pt x="914" y="2048"/>
                  </a:lnTo>
                  <a:lnTo>
                    <a:pt x="914" y="2050"/>
                  </a:lnTo>
                  <a:lnTo>
                    <a:pt x="914" y="2048"/>
                  </a:lnTo>
                  <a:lnTo>
                    <a:pt x="914" y="2046"/>
                  </a:lnTo>
                  <a:lnTo>
                    <a:pt x="914" y="2044"/>
                  </a:lnTo>
                  <a:lnTo>
                    <a:pt x="916" y="2044"/>
                  </a:lnTo>
                  <a:lnTo>
                    <a:pt x="916" y="2042"/>
                  </a:lnTo>
                  <a:lnTo>
                    <a:pt x="916" y="2040"/>
                  </a:lnTo>
                  <a:lnTo>
                    <a:pt x="916" y="2042"/>
                  </a:lnTo>
                  <a:lnTo>
                    <a:pt x="916" y="2040"/>
                  </a:lnTo>
                  <a:lnTo>
                    <a:pt x="916" y="2042"/>
                  </a:lnTo>
                  <a:lnTo>
                    <a:pt x="914" y="2042"/>
                  </a:lnTo>
                  <a:lnTo>
                    <a:pt x="914" y="2040"/>
                  </a:lnTo>
                  <a:lnTo>
                    <a:pt x="912" y="2040"/>
                  </a:lnTo>
                  <a:lnTo>
                    <a:pt x="910" y="2040"/>
                  </a:lnTo>
                  <a:lnTo>
                    <a:pt x="906" y="2040"/>
                  </a:lnTo>
                  <a:lnTo>
                    <a:pt x="904" y="2040"/>
                  </a:lnTo>
                  <a:lnTo>
                    <a:pt x="906" y="2040"/>
                  </a:lnTo>
                  <a:lnTo>
                    <a:pt x="910" y="2040"/>
                  </a:lnTo>
                  <a:lnTo>
                    <a:pt x="912" y="2040"/>
                  </a:lnTo>
                  <a:lnTo>
                    <a:pt x="914" y="2040"/>
                  </a:lnTo>
                  <a:lnTo>
                    <a:pt x="914" y="2042"/>
                  </a:lnTo>
                  <a:lnTo>
                    <a:pt x="914" y="2044"/>
                  </a:lnTo>
                  <a:lnTo>
                    <a:pt x="914" y="2042"/>
                  </a:lnTo>
                  <a:lnTo>
                    <a:pt x="912" y="2042"/>
                  </a:lnTo>
                  <a:lnTo>
                    <a:pt x="912" y="2044"/>
                  </a:lnTo>
                  <a:lnTo>
                    <a:pt x="912" y="2042"/>
                  </a:lnTo>
                  <a:lnTo>
                    <a:pt x="914" y="2044"/>
                  </a:lnTo>
                  <a:lnTo>
                    <a:pt x="912" y="2044"/>
                  </a:lnTo>
                  <a:lnTo>
                    <a:pt x="914" y="2044"/>
                  </a:lnTo>
                  <a:lnTo>
                    <a:pt x="912" y="2044"/>
                  </a:lnTo>
                  <a:lnTo>
                    <a:pt x="912" y="2046"/>
                  </a:lnTo>
                  <a:lnTo>
                    <a:pt x="910" y="2048"/>
                  </a:lnTo>
                  <a:lnTo>
                    <a:pt x="912" y="2048"/>
                  </a:lnTo>
                  <a:lnTo>
                    <a:pt x="912" y="2046"/>
                  </a:lnTo>
                  <a:lnTo>
                    <a:pt x="912" y="2048"/>
                  </a:lnTo>
                  <a:lnTo>
                    <a:pt x="912" y="2050"/>
                  </a:lnTo>
                  <a:lnTo>
                    <a:pt x="912" y="2048"/>
                  </a:lnTo>
                  <a:lnTo>
                    <a:pt x="912" y="2050"/>
                  </a:lnTo>
                  <a:lnTo>
                    <a:pt x="914" y="2052"/>
                  </a:lnTo>
                  <a:lnTo>
                    <a:pt x="916" y="2052"/>
                  </a:lnTo>
                  <a:lnTo>
                    <a:pt x="914" y="2052"/>
                  </a:lnTo>
                  <a:lnTo>
                    <a:pt x="914" y="2054"/>
                  </a:lnTo>
                  <a:lnTo>
                    <a:pt x="916" y="2054"/>
                  </a:lnTo>
                  <a:lnTo>
                    <a:pt x="916" y="2056"/>
                  </a:lnTo>
                  <a:lnTo>
                    <a:pt x="916" y="2054"/>
                  </a:lnTo>
                  <a:lnTo>
                    <a:pt x="914" y="2054"/>
                  </a:lnTo>
                  <a:lnTo>
                    <a:pt x="916" y="2054"/>
                  </a:lnTo>
                  <a:lnTo>
                    <a:pt x="916" y="2052"/>
                  </a:lnTo>
                  <a:lnTo>
                    <a:pt x="918" y="2054"/>
                  </a:lnTo>
                  <a:lnTo>
                    <a:pt x="916" y="2056"/>
                  </a:lnTo>
                  <a:lnTo>
                    <a:pt x="916" y="2058"/>
                  </a:lnTo>
                  <a:lnTo>
                    <a:pt x="918" y="2056"/>
                  </a:lnTo>
                  <a:lnTo>
                    <a:pt x="918" y="2054"/>
                  </a:lnTo>
                  <a:lnTo>
                    <a:pt x="919" y="2054"/>
                  </a:lnTo>
                  <a:lnTo>
                    <a:pt x="919" y="2056"/>
                  </a:lnTo>
                  <a:lnTo>
                    <a:pt x="921" y="2059"/>
                  </a:lnTo>
                  <a:lnTo>
                    <a:pt x="921" y="2061"/>
                  </a:lnTo>
                  <a:lnTo>
                    <a:pt x="919" y="2061"/>
                  </a:lnTo>
                  <a:lnTo>
                    <a:pt x="918" y="2061"/>
                  </a:lnTo>
                  <a:lnTo>
                    <a:pt x="919" y="2061"/>
                  </a:lnTo>
                  <a:lnTo>
                    <a:pt x="919" y="2063"/>
                  </a:lnTo>
                  <a:lnTo>
                    <a:pt x="919" y="2065"/>
                  </a:lnTo>
                  <a:lnTo>
                    <a:pt x="919" y="2063"/>
                  </a:lnTo>
                  <a:lnTo>
                    <a:pt x="921" y="2063"/>
                  </a:lnTo>
                  <a:lnTo>
                    <a:pt x="921" y="2065"/>
                  </a:lnTo>
                  <a:lnTo>
                    <a:pt x="921" y="2063"/>
                  </a:lnTo>
                  <a:lnTo>
                    <a:pt x="921" y="2065"/>
                  </a:lnTo>
                  <a:lnTo>
                    <a:pt x="921" y="2067"/>
                  </a:lnTo>
                  <a:lnTo>
                    <a:pt x="919" y="2065"/>
                  </a:lnTo>
                  <a:lnTo>
                    <a:pt x="919" y="2067"/>
                  </a:lnTo>
                  <a:lnTo>
                    <a:pt x="918" y="2067"/>
                  </a:lnTo>
                  <a:lnTo>
                    <a:pt x="916" y="2067"/>
                  </a:lnTo>
                  <a:lnTo>
                    <a:pt x="910" y="2065"/>
                  </a:lnTo>
                  <a:lnTo>
                    <a:pt x="908" y="2065"/>
                  </a:lnTo>
                  <a:lnTo>
                    <a:pt x="910" y="2065"/>
                  </a:lnTo>
                  <a:lnTo>
                    <a:pt x="914" y="2067"/>
                  </a:lnTo>
                  <a:lnTo>
                    <a:pt x="916" y="2067"/>
                  </a:lnTo>
                  <a:lnTo>
                    <a:pt x="918" y="2067"/>
                  </a:lnTo>
                  <a:lnTo>
                    <a:pt x="919" y="2067"/>
                  </a:lnTo>
                  <a:lnTo>
                    <a:pt x="919" y="2069"/>
                  </a:lnTo>
                  <a:lnTo>
                    <a:pt x="919" y="2067"/>
                  </a:lnTo>
                  <a:lnTo>
                    <a:pt x="919" y="2069"/>
                  </a:lnTo>
                  <a:lnTo>
                    <a:pt x="918" y="2069"/>
                  </a:lnTo>
                  <a:lnTo>
                    <a:pt x="918" y="2071"/>
                  </a:lnTo>
                  <a:lnTo>
                    <a:pt x="918" y="2073"/>
                  </a:lnTo>
                  <a:lnTo>
                    <a:pt x="918" y="2075"/>
                  </a:lnTo>
                  <a:lnTo>
                    <a:pt x="916" y="2075"/>
                  </a:lnTo>
                  <a:lnTo>
                    <a:pt x="916" y="2077"/>
                  </a:lnTo>
                  <a:lnTo>
                    <a:pt x="914" y="2077"/>
                  </a:lnTo>
                  <a:lnTo>
                    <a:pt x="914" y="2079"/>
                  </a:lnTo>
                  <a:lnTo>
                    <a:pt x="912" y="2081"/>
                  </a:lnTo>
                  <a:lnTo>
                    <a:pt x="910" y="2083"/>
                  </a:lnTo>
                  <a:lnTo>
                    <a:pt x="908" y="2083"/>
                  </a:lnTo>
                  <a:lnTo>
                    <a:pt x="906" y="2084"/>
                  </a:lnTo>
                  <a:lnTo>
                    <a:pt x="896" y="2088"/>
                  </a:lnTo>
                  <a:lnTo>
                    <a:pt x="895" y="2090"/>
                  </a:lnTo>
                  <a:lnTo>
                    <a:pt x="893" y="2090"/>
                  </a:lnTo>
                  <a:lnTo>
                    <a:pt x="891" y="2090"/>
                  </a:lnTo>
                  <a:lnTo>
                    <a:pt x="889" y="2090"/>
                  </a:lnTo>
                  <a:lnTo>
                    <a:pt x="889" y="2092"/>
                  </a:lnTo>
                  <a:lnTo>
                    <a:pt x="887" y="2092"/>
                  </a:lnTo>
                  <a:lnTo>
                    <a:pt x="885" y="2092"/>
                  </a:lnTo>
                  <a:lnTo>
                    <a:pt x="881" y="2092"/>
                  </a:lnTo>
                  <a:lnTo>
                    <a:pt x="879" y="2092"/>
                  </a:lnTo>
                  <a:lnTo>
                    <a:pt x="877" y="2094"/>
                  </a:lnTo>
                  <a:lnTo>
                    <a:pt x="875" y="2094"/>
                  </a:lnTo>
                  <a:lnTo>
                    <a:pt x="873" y="2094"/>
                  </a:lnTo>
                  <a:lnTo>
                    <a:pt x="873" y="2092"/>
                  </a:lnTo>
                  <a:lnTo>
                    <a:pt x="872" y="2092"/>
                  </a:lnTo>
                  <a:lnTo>
                    <a:pt x="872" y="2094"/>
                  </a:lnTo>
                  <a:lnTo>
                    <a:pt x="873" y="2094"/>
                  </a:lnTo>
                  <a:lnTo>
                    <a:pt x="870" y="2094"/>
                  </a:lnTo>
                  <a:lnTo>
                    <a:pt x="866" y="2094"/>
                  </a:lnTo>
                  <a:lnTo>
                    <a:pt x="860" y="2094"/>
                  </a:lnTo>
                  <a:lnTo>
                    <a:pt x="852" y="2096"/>
                  </a:lnTo>
                  <a:lnTo>
                    <a:pt x="852" y="2098"/>
                  </a:lnTo>
                  <a:lnTo>
                    <a:pt x="850" y="2098"/>
                  </a:lnTo>
                  <a:lnTo>
                    <a:pt x="848" y="2098"/>
                  </a:lnTo>
                  <a:lnTo>
                    <a:pt x="847" y="2098"/>
                  </a:lnTo>
                  <a:lnTo>
                    <a:pt x="845" y="2100"/>
                  </a:lnTo>
                  <a:lnTo>
                    <a:pt x="843" y="2100"/>
                  </a:lnTo>
                  <a:lnTo>
                    <a:pt x="841" y="2100"/>
                  </a:lnTo>
                  <a:lnTo>
                    <a:pt x="839" y="2100"/>
                  </a:lnTo>
                  <a:lnTo>
                    <a:pt x="837" y="2100"/>
                  </a:lnTo>
                  <a:lnTo>
                    <a:pt x="835" y="2100"/>
                  </a:lnTo>
                  <a:lnTo>
                    <a:pt x="833" y="2100"/>
                  </a:lnTo>
                  <a:lnTo>
                    <a:pt x="833" y="2098"/>
                  </a:lnTo>
                  <a:lnTo>
                    <a:pt x="831" y="2098"/>
                  </a:lnTo>
                  <a:lnTo>
                    <a:pt x="829" y="2098"/>
                  </a:lnTo>
                  <a:lnTo>
                    <a:pt x="827" y="2098"/>
                  </a:lnTo>
                  <a:lnTo>
                    <a:pt x="825" y="2096"/>
                  </a:lnTo>
                  <a:lnTo>
                    <a:pt x="824" y="2096"/>
                  </a:lnTo>
                  <a:lnTo>
                    <a:pt x="822" y="2096"/>
                  </a:lnTo>
                  <a:lnTo>
                    <a:pt x="820" y="2094"/>
                  </a:lnTo>
                  <a:lnTo>
                    <a:pt x="818" y="2094"/>
                  </a:lnTo>
                  <a:lnTo>
                    <a:pt x="816" y="2094"/>
                  </a:lnTo>
                  <a:lnTo>
                    <a:pt x="816" y="2092"/>
                  </a:lnTo>
                  <a:lnTo>
                    <a:pt x="814" y="2092"/>
                  </a:lnTo>
                  <a:lnTo>
                    <a:pt x="816" y="2092"/>
                  </a:lnTo>
                  <a:lnTo>
                    <a:pt x="814" y="2092"/>
                  </a:lnTo>
                  <a:lnTo>
                    <a:pt x="814" y="2094"/>
                  </a:lnTo>
                  <a:lnTo>
                    <a:pt x="816" y="2094"/>
                  </a:lnTo>
                  <a:lnTo>
                    <a:pt x="814" y="2094"/>
                  </a:lnTo>
                  <a:lnTo>
                    <a:pt x="812" y="2092"/>
                  </a:lnTo>
                  <a:lnTo>
                    <a:pt x="810" y="2092"/>
                  </a:lnTo>
                  <a:lnTo>
                    <a:pt x="808" y="2090"/>
                  </a:lnTo>
                  <a:lnTo>
                    <a:pt x="806" y="2090"/>
                  </a:lnTo>
                  <a:lnTo>
                    <a:pt x="804" y="2088"/>
                  </a:lnTo>
                  <a:lnTo>
                    <a:pt x="804" y="2086"/>
                  </a:lnTo>
                  <a:lnTo>
                    <a:pt x="802" y="2086"/>
                  </a:lnTo>
                  <a:lnTo>
                    <a:pt x="802" y="2088"/>
                  </a:lnTo>
                  <a:lnTo>
                    <a:pt x="802" y="2090"/>
                  </a:lnTo>
                  <a:lnTo>
                    <a:pt x="804" y="2090"/>
                  </a:lnTo>
                  <a:lnTo>
                    <a:pt x="804" y="2092"/>
                  </a:lnTo>
                  <a:lnTo>
                    <a:pt x="806" y="2090"/>
                  </a:lnTo>
                  <a:lnTo>
                    <a:pt x="804" y="2092"/>
                  </a:lnTo>
                  <a:lnTo>
                    <a:pt x="804" y="2090"/>
                  </a:lnTo>
                  <a:lnTo>
                    <a:pt x="802" y="2090"/>
                  </a:lnTo>
                  <a:lnTo>
                    <a:pt x="802" y="2088"/>
                  </a:lnTo>
                  <a:lnTo>
                    <a:pt x="802" y="2086"/>
                  </a:lnTo>
                  <a:lnTo>
                    <a:pt x="800" y="2086"/>
                  </a:lnTo>
                  <a:lnTo>
                    <a:pt x="799" y="2084"/>
                  </a:lnTo>
                  <a:lnTo>
                    <a:pt x="795" y="2079"/>
                  </a:lnTo>
                  <a:lnTo>
                    <a:pt x="795" y="2077"/>
                  </a:lnTo>
                  <a:lnTo>
                    <a:pt x="793" y="2075"/>
                  </a:lnTo>
                  <a:lnTo>
                    <a:pt x="793" y="2073"/>
                  </a:lnTo>
                  <a:lnTo>
                    <a:pt x="791" y="2071"/>
                  </a:lnTo>
                  <a:lnTo>
                    <a:pt x="791" y="2069"/>
                  </a:lnTo>
                  <a:lnTo>
                    <a:pt x="793" y="2069"/>
                  </a:lnTo>
                  <a:lnTo>
                    <a:pt x="793" y="2071"/>
                  </a:lnTo>
                  <a:lnTo>
                    <a:pt x="793" y="2069"/>
                  </a:lnTo>
                  <a:lnTo>
                    <a:pt x="789" y="2067"/>
                  </a:lnTo>
                  <a:lnTo>
                    <a:pt x="785" y="2065"/>
                  </a:lnTo>
                  <a:lnTo>
                    <a:pt x="785" y="2063"/>
                  </a:lnTo>
                  <a:lnTo>
                    <a:pt x="783" y="2063"/>
                  </a:lnTo>
                  <a:lnTo>
                    <a:pt x="783" y="2065"/>
                  </a:lnTo>
                  <a:lnTo>
                    <a:pt x="781" y="2065"/>
                  </a:lnTo>
                  <a:lnTo>
                    <a:pt x="781" y="2067"/>
                  </a:lnTo>
                  <a:lnTo>
                    <a:pt x="779" y="2065"/>
                  </a:lnTo>
                  <a:lnTo>
                    <a:pt x="779" y="2063"/>
                  </a:lnTo>
                  <a:lnTo>
                    <a:pt x="777" y="2061"/>
                  </a:lnTo>
                  <a:lnTo>
                    <a:pt x="776" y="2061"/>
                  </a:lnTo>
                  <a:lnTo>
                    <a:pt x="770" y="2059"/>
                  </a:lnTo>
                  <a:lnTo>
                    <a:pt x="770" y="2058"/>
                  </a:lnTo>
                  <a:lnTo>
                    <a:pt x="768" y="2056"/>
                  </a:lnTo>
                  <a:lnTo>
                    <a:pt x="768" y="2054"/>
                  </a:lnTo>
                  <a:lnTo>
                    <a:pt x="766" y="2054"/>
                  </a:lnTo>
                  <a:lnTo>
                    <a:pt x="764" y="2054"/>
                  </a:lnTo>
                  <a:lnTo>
                    <a:pt x="762" y="2054"/>
                  </a:lnTo>
                  <a:lnTo>
                    <a:pt x="756" y="2054"/>
                  </a:lnTo>
                  <a:lnTo>
                    <a:pt x="754" y="2052"/>
                  </a:lnTo>
                  <a:lnTo>
                    <a:pt x="753" y="2052"/>
                  </a:lnTo>
                  <a:lnTo>
                    <a:pt x="749" y="2052"/>
                  </a:lnTo>
                  <a:lnTo>
                    <a:pt x="749" y="2050"/>
                  </a:lnTo>
                  <a:lnTo>
                    <a:pt x="747" y="2048"/>
                  </a:lnTo>
                  <a:lnTo>
                    <a:pt x="745" y="2048"/>
                  </a:lnTo>
                  <a:lnTo>
                    <a:pt x="747" y="2048"/>
                  </a:lnTo>
                  <a:lnTo>
                    <a:pt x="745" y="2046"/>
                  </a:lnTo>
                  <a:lnTo>
                    <a:pt x="743" y="2048"/>
                  </a:lnTo>
                  <a:lnTo>
                    <a:pt x="739" y="2052"/>
                  </a:lnTo>
                  <a:lnTo>
                    <a:pt x="739" y="2054"/>
                  </a:lnTo>
                  <a:lnTo>
                    <a:pt x="737" y="2054"/>
                  </a:lnTo>
                  <a:lnTo>
                    <a:pt x="737" y="2059"/>
                  </a:lnTo>
                  <a:lnTo>
                    <a:pt x="737" y="2061"/>
                  </a:lnTo>
                  <a:lnTo>
                    <a:pt x="737" y="2065"/>
                  </a:lnTo>
                  <a:lnTo>
                    <a:pt x="739" y="2065"/>
                  </a:lnTo>
                  <a:lnTo>
                    <a:pt x="741" y="2069"/>
                  </a:lnTo>
                  <a:lnTo>
                    <a:pt x="741" y="2071"/>
                  </a:lnTo>
                  <a:lnTo>
                    <a:pt x="741" y="2073"/>
                  </a:lnTo>
                  <a:lnTo>
                    <a:pt x="743" y="2073"/>
                  </a:lnTo>
                  <a:lnTo>
                    <a:pt x="747" y="2073"/>
                  </a:lnTo>
                  <a:lnTo>
                    <a:pt x="749" y="2073"/>
                  </a:lnTo>
                  <a:lnTo>
                    <a:pt x="751" y="2073"/>
                  </a:lnTo>
                  <a:lnTo>
                    <a:pt x="751" y="2075"/>
                  </a:lnTo>
                  <a:lnTo>
                    <a:pt x="753" y="2075"/>
                  </a:lnTo>
                  <a:lnTo>
                    <a:pt x="751" y="2075"/>
                  </a:lnTo>
                  <a:lnTo>
                    <a:pt x="749" y="2075"/>
                  </a:lnTo>
                  <a:lnTo>
                    <a:pt x="747" y="2075"/>
                  </a:lnTo>
                  <a:lnTo>
                    <a:pt x="745" y="2075"/>
                  </a:lnTo>
                  <a:lnTo>
                    <a:pt x="745" y="2077"/>
                  </a:lnTo>
                  <a:lnTo>
                    <a:pt x="743" y="2077"/>
                  </a:lnTo>
                  <a:lnTo>
                    <a:pt x="741" y="2077"/>
                  </a:lnTo>
                  <a:lnTo>
                    <a:pt x="743" y="2079"/>
                  </a:lnTo>
                  <a:lnTo>
                    <a:pt x="745" y="2079"/>
                  </a:lnTo>
                  <a:lnTo>
                    <a:pt x="745" y="2077"/>
                  </a:lnTo>
                  <a:lnTo>
                    <a:pt x="749" y="2077"/>
                  </a:lnTo>
                  <a:lnTo>
                    <a:pt x="753" y="2077"/>
                  </a:lnTo>
                  <a:lnTo>
                    <a:pt x="754" y="2079"/>
                  </a:lnTo>
                  <a:lnTo>
                    <a:pt x="756" y="2079"/>
                  </a:lnTo>
                  <a:lnTo>
                    <a:pt x="758" y="2081"/>
                  </a:lnTo>
                  <a:lnTo>
                    <a:pt x="758" y="2083"/>
                  </a:lnTo>
                  <a:lnTo>
                    <a:pt x="756" y="2081"/>
                  </a:lnTo>
                  <a:lnTo>
                    <a:pt x="756" y="2079"/>
                  </a:lnTo>
                  <a:lnTo>
                    <a:pt x="754" y="2079"/>
                  </a:lnTo>
                  <a:lnTo>
                    <a:pt x="753" y="2079"/>
                  </a:lnTo>
                  <a:lnTo>
                    <a:pt x="749" y="2079"/>
                  </a:lnTo>
                  <a:lnTo>
                    <a:pt x="747" y="2079"/>
                  </a:lnTo>
                  <a:lnTo>
                    <a:pt x="745" y="2079"/>
                  </a:lnTo>
                  <a:lnTo>
                    <a:pt x="743" y="2079"/>
                  </a:lnTo>
                  <a:lnTo>
                    <a:pt x="743" y="2081"/>
                  </a:lnTo>
                  <a:lnTo>
                    <a:pt x="741" y="2081"/>
                  </a:lnTo>
                  <a:lnTo>
                    <a:pt x="739" y="2081"/>
                  </a:lnTo>
                  <a:lnTo>
                    <a:pt x="737" y="2081"/>
                  </a:lnTo>
                  <a:lnTo>
                    <a:pt x="741" y="2081"/>
                  </a:lnTo>
                  <a:lnTo>
                    <a:pt x="737" y="2081"/>
                  </a:lnTo>
                  <a:lnTo>
                    <a:pt x="735" y="2081"/>
                  </a:lnTo>
                  <a:lnTo>
                    <a:pt x="735" y="2079"/>
                  </a:lnTo>
                  <a:lnTo>
                    <a:pt x="733" y="2079"/>
                  </a:lnTo>
                  <a:lnTo>
                    <a:pt x="724" y="2079"/>
                  </a:lnTo>
                  <a:lnTo>
                    <a:pt x="720" y="2081"/>
                  </a:lnTo>
                  <a:lnTo>
                    <a:pt x="724" y="2077"/>
                  </a:lnTo>
                  <a:lnTo>
                    <a:pt x="733" y="2077"/>
                  </a:lnTo>
                  <a:lnTo>
                    <a:pt x="733" y="2075"/>
                  </a:lnTo>
                  <a:lnTo>
                    <a:pt x="735" y="2075"/>
                  </a:lnTo>
                  <a:lnTo>
                    <a:pt x="735" y="2077"/>
                  </a:lnTo>
                  <a:lnTo>
                    <a:pt x="737" y="2079"/>
                  </a:lnTo>
                  <a:lnTo>
                    <a:pt x="739" y="2077"/>
                  </a:lnTo>
                  <a:lnTo>
                    <a:pt x="741" y="2077"/>
                  </a:lnTo>
                  <a:lnTo>
                    <a:pt x="739" y="2077"/>
                  </a:lnTo>
                  <a:lnTo>
                    <a:pt x="735" y="2077"/>
                  </a:lnTo>
                  <a:lnTo>
                    <a:pt x="735" y="2075"/>
                  </a:lnTo>
                  <a:lnTo>
                    <a:pt x="737" y="2075"/>
                  </a:lnTo>
                  <a:lnTo>
                    <a:pt x="739" y="2075"/>
                  </a:lnTo>
                  <a:lnTo>
                    <a:pt x="739" y="2073"/>
                  </a:lnTo>
                  <a:lnTo>
                    <a:pt x="739" y="2071"/>
                  </a:lnTo>
                  <a:lnTo>
                    <a:pt x="739" y="2069"/>
                  </a:lnTo>
                  <a:lnTo>
                    <a:pt x="737" y="2065"/>
                  </a:lnTo>
                  <a:lnTo>
                    <a:pt x="735" y="2061"/>
                  </a:lnTo>
                  <a:lnTo>
                    <a:pt x="733" y="2061"/>
                  </a:lnTo>
                  <a:lnTo>
                    <a:pt x="733" y="2059"/>
                  </a:lnTo>
                  <a:lnTo>
                    <a:pt x="731" y="2058"/>
                  </a:lnTo>
                  <a:lnTo>
                    <a:pt x="731" y="2056"/>
                  </a:lnTo>
                  <a:lnTo>
                    <a:pt x="735" y="2054"/>
                  </a:lnTo>
                  <a:lnTo>
                    <a:pt x="735" y="2052"/>
                  </a:lnTo>
                  <a:lnTo>
                    <a:pt x="737" y="2052"/>
                  </a:lnTo>
                  <a:lnTo>
                    <a:pt x="741" y="2050"/>
                  </a:lnTo>
                  <a:lnTo>
                    <a:pt x="741" y="2048"/>
                  </a:lnTo>
                  <a:lnTo>
                    <a:pt x="743" y="2046"/>
                  </a:lnTo>
                  <a:lnTo>
                    <a:pt x="745" y="2046"/>
                  </a:lnTo>
                  <a:lnTo>
                    <a:pt x="745" y="2044"/>
                  </a:lnTo>
                  <a:lnTo>
                    <a:pt x="743" y="2040"/>
                  </a:lnTo>
                  <a:lnTo>
                    <a:pt x="741" y="2038"/>
                  </a:lnTo>
                  <a:lnTo>
                    <a:pt x="741" y="2036"/>
                  </a:lnTo>
                  <a:lnTo>
                    <a:pt x="741" y="2034"/>
                  </a:lnTo>
                  <a:lnTo>
                    <a:pt x="739" y="2033"/>
                  </a:lnTo>
                  <a:lnTo>
                    <a:pt x="737" y="2033"/>
                  </a:lnTo>
                  <a:lnTo>
                    <a:pt x="737" y="2031"/>
                  </a:lnTo>
                  <a:lnTo>
                    <a:pt x="733" y="2029"/>
                  </a:lnTo>
                  <a:lnTo>
                    <a:pt x="731" y="2029"/>
                  </a:lnTo>
                  <a:lnTo>
                    <a:pt x="722" y="2025"/>
                  </a:lnTo>
                  <a:lnTo>
                    <a:pt x="722" y="2023"/>
                  </a:lnTo>
                  <a:lnTo>
                    <a:pt x="720" y="2023"/>
                  </a:lnTo>
                  <a:lnTo>
                    <a:pt x="720" y="2021"/>
                  </a:lnTo>
                  <a:lnTo>
                    <a:pt x="718" y="2021"/>
                  </a:lnTo>
                  <a:lnTo>
                    <a:pt x="716" y="2021"/>
                  </a:lnTo>
                  <a:lnTo>
                    <a:pt x="716" y="2023"/>
                  </a:lnTo>
                  <a:lnTo>
                    <a:pt x="716" y="2025"/>
                  </a:lnTo>
                  <a:lnTo>
                    <a:pt x="716" y="2023"/>
                  </a:lnTo>
                  <a:lnTo>
                    <a:pt x="716" y="2021"/>
                  </a:lnTo>
                  <a:lnTo>
                    <a:pt x="716" y="2019"/>
                  </a:lnTo>
                  <a:lnTo>
                    <a:pt x="718" y="2019"/>
                  </a:lnTo>
                  <a:lnTo>
                    <a:pt x="718" y="2017"/>
                  </a:lnTo>
                  <a:lnTo>
                    <a:pt x="716" y="2017"/>
                  </a:lnTo>
                  <a:lnTo>
                    <a:pt x="716" y="2019"/>
                  </a:lnTo>
                  <a:lnTo>
                    <a:pt x="716" y="2021"/>
                  </a:lnTo>
                  <a:lnTo>
                    <a:pt x="714" y="2019"/>
                  </a:lnTo>
                  <a:lnTo>
                    <a:pt x="712" y="2017"/>
                  </a:lnTo>
                  <a:lnTo>
                    <a:pt x="706" y="2015"/>
                  </a:lnTo>
                  <a:lnTo>
                    <a:pt x="703" y="2013"/>
                  </a:lnTo>
                  <a:lnTo>
                    <a:pt x="695" y="2013"/>
                  </a:lnTo>
                  <a:lnTo>
                    <a:pt x="693" y="2013"/>
                  </a:lnTo>
                  <a:lnTo>
                    <a:pt x="691" y="2013"/>
                  </a:lnTo>
                  <a:lnTo>
                    <a:pt x="689" y="2013"/>
                  </a:lnTo>
                  <a:lnTo>
                    <a:pt x="689" y="2015"/>
                  </a:lnTo>
                  <a:lnTo>
                    <a:pt x="687" y="2015"/>
                  </a:lnTo>
                  <a:lnTo>
                    <a:pt x="685" y="2013"/>
                  </a:lnTo>
                  <a:lnTo>
                    <a:pt x="685" y="2015"/>
                  </a:lnTo>
                  <a:lnTo>
                    <a:pt x="683" y="2015"/>
                  </a:lnTo>
                  <a:lnTo>
                    <a:pt x="681" y="2015"/>
                  </a:lnTo>
                  <a:lnTo>
                    <a:pt x="683" y="2015"/>
                  </a:lnTo>
                  <a:lnTo>
                    <a:pt x="685" y="2015"/>
                  </a:lnTo>
                  <a:lnTo>
                    <a:pt x="683" y="2013"/>
                  </a:lnTo>
                  <a:lnTo>
                    <a:pt x="681" y="2013"/>
                  </a:lnTo>
                  <a:lnTo>
                    <a:pt x="681" y="2011"/>
                  </a:lnTo>
                  <a:lnTo>
                    <a:pt x="681" y="2013"/>
                  </a:lnTo>
                  <a:lnTo>
                    <a:pt x="680" y="2013"/>
                  </a:lnTo>
                  <a:lnTo>
                    <a:pt x="681" y="2013"/>
                  </a:lnTo>
                  <a:lnTo>
                    <a:pt x="681" y="2011"/>
                  </a:lnTo>
                  <a:lnTo>
                    <a:pt x="680" y="2011"/>
                  </a:lnTo>
                  <a:lnTo>
                    <a:pt x="680" y="2010"/>
                  </a:lnTo>
                  <a:lnTo>
                    <a:pt x="680" y="2011"/>
                  </a:lnTo>
                  <a:lnTo>
                    <a:pt x="678" y="2011"/>
                  </a:lnTo>
                  <a:lnTo>
                    <a:pt x="678" y="2013"/>
                  </a:lnTo>
                  <a:lnTo>
                    <a:pt x="680" y="2013"/>
                  </a:lnTo>
                  <a:lnTo>
                    <a:pt x="680" y="2015"/>
                  </a:lnTo>
                  <a:lnTo>
                    <a:pt x="680" y="2017"/>
                  </a:lnTo>
                  <a:lnTo>
                    <a:pt x="681" y="2025"/>
                  </a:lnTo>
                  <a:lnTo>
                    <a:pt x="681" y="2023"/>
                  </a:lnTo>
                  <a:lnTo>
                    <a:pt x="680" y="2017"/>
                  </a:lnTo>
                  <a:lnTo>
                    <a:pt x="680" y="2015"/>
                  </a:lnTo>
                  <a:lnTo>
                    <a:pt x="680" y="2013"/>
                  </a:lnTo>
                  <a:lnTo>
                    <a:pt x="678" y="2013"/>
                  </a:lnTo>
                  <a:lnTo>
                    <a:pt x="676" y="2011"/>
                  </a:lnTo>
                  <a:lnTo>
                    <a:pt x="674" y="2011"/>
                  </a:lnTo>
                  <a:lnTo>
                    <a:pt x="672" y="2010"/>
                  </a:lnTo>
                  <a:lnTo>
                    <a:pt x="666" y="2011"/>
                  </a:lnTo>
                  <a:lnTo>
                    <a:pt x="658" y="2008"/>
                  </a:lnTo>
                  <a:lnTo>
                    <a:pt x="658" y="2006"/>
                  </a:lnTo>
                  <a:lnTo>
                    <a:pt x="657" y="2002"/>
                  </a:lnTo>
                  <a:lnTo>
                    <a:pt x="657" y="2000"/>
                  </a:lnTo>
                  <a:lnTo>
                    <a:pt x="657" y="2002"/>
                  </a:lnTo>
                  <a:lnTo>
                    <a:pt x="657" y="2000"/>
                  </a:lnTo>
                  <a:lnTo>
                    <a:pt x="657" y="2002"/>
                  </a:lnTo>
                  <a:lnTo>
                    <a:pt x="657" y="2004"/>
                  </a:lnTo>
                  <a:lnTo>
                    <a:pt x="657" y="2006"/>
                  </a:lnTo>
                  <a:lnTo>
                    <a:pt x="655" y="2004"/>
                  </a:lnTo>
                  <a:lnTo>
                    <a:pt x="655" y="2006"/>
                  </a:lnTo>
                  <a:lnTo>
                    <a:pt x="653" y="2004"/>
                  </a:lnTo>
                  <a:lnTo>
                    <a:pt x="651" y="2004"/>
                  </a:lnTo>
                  <a:lnTo>
                    <a:pt x="651" y="2006"/>
                  </a:lnTo>
                  <a:lnTo>
                    <a:pt x="653" y="2008"/>
                  </a:lnTo>
                  <a:lnTo>
                    <a:pt x="653" y="2010"/>
                  </a:lnTo>
                  <a:lnTo>
                    <a:pt x="653" y="2011"/>
                  </a:lnTo>
                  <a:lnTo>
                    <a:pt x="655" y="2011"/>
                  </a:lnTo>
                  <a:lnTo>
                    <a:pt x="657" y="2011"/>
                  </a:lnTo>
                  <a:lnTo>
                    <a:pt x="655" y="2011"/>
                  </a:lnTo>
                  <a:lnTo>
                    <a:pt x="657" y="2011"/>
                  </a:lnTo>
                  <a:lnTo>
                    <a:pt x="658" y="2011"/>
                  </a:lnTo>
                  <a:lnTo>
                    <a:pt x="657" y="2011"/>
                  </a:lnTo>
                  <a:lnTo>
                    <a:pt x="655" y="2011"/>
                  </a:lnTo>
                  <a:lnTo>
                    <a:pt x="657" y="2011"/>
                  </a:lnTo>
                  <a:lnTo>
                    <a:pt x="655" y="2011"/>
                  </a:lnTo>
                  <a:lnTo>
                    <a:pt x="653" y="2011"/>
                  </a:lnTo>
                  <a:lnTo>
                    <a:pt x="653" y="2010"/>
                  </a:lnTo>
                  <a:lnTo>
                    <a:pt x="651" y="2004"/>
                  </a:lnTo>
                  <a:lnTo>
                    <a:pt x="649" y="2004"/>
                  </a:lnTo>
                  <a:lnTo>
                    <a:pt x="649" y="2002"/>
                  </a:lnTo>
                  <a:lnTo>
                    <a:pt x="649" y="2000"/>
                  </a:lnTo>
                  <a:lnTo>
                    <a:pt x="649" y="2002"/>
                  </a:lnTo>
                  <a:lnTo>
                    <a:pt x="649" y="2000"/>
                  </a:lnTo>
                  <a:lnTo>
                    <a:pt x="651" y="1998"/>
                  </a:lnTo>
                  <a:lnTo>
                    <a:pt x="651" y="1996"/>
                  </a:lnTo>
                  <a:lnTo>
                    <a:pt x="651" y="1994"/>
                  </a:lnTo>
                  <a:lnTo>
                    <a:pt x="649" y="1994"/>
                  </a:lnTo>
                  <a:lnTo>
                    <a:pt x="649" y="1992"/>
                  </a:lnTo>
                  <a:lnTo>
                    <a:pt x="649" y="1990"/>
                  </a:lnTo>
                  <a:lnTo>
                    <a:pt x="647" y="1990"/>
                  </a:lnTo>
                  <a:lnTo>
                    <a:pt x="647" y="1988"/>
                  </a:lnTo>
                  <a:lnTo>
                    <a:pt x="645" y="1986"/>
                  </a:lnTo>
                  <a:lnTo>
                    <a:pt x="645" y="1985"/>
                  </a:lnTo>
                  <a:lnTo>
                    <a:pt x="643" y="1983"/>
                  </a:lnTo>
                  <a:lnTo>
                    <a:pt x="643" y="1981"/>
                  </a:lnTo>
                  <a:lnTo>
                    <a:pt x="643" y="1979"/>
                  </a:lnTo>
                  <a:lnTo>
                    <a:pt x="643" y="1977"/>
                  </a:lnTo>
                  <a:lnTo>
                    <a:pt x="645" y="1977"/>
                  </a:lnTo>
                  <a:lnTo>
                    <a:pt x="645" y="1979"/>
                  </a:lnTo>
                  <a:lnTo>
                    <a:pt x="645" y="1977"/>
                  </a:lnTo>
                  <a:lnTo>
                    <a:pt x="647" y="1979"/>
                  </a:lnTo>
                  <a:lnTo>
                    <a:pt x="647" y="1977"/>
                  </a:lnTo>
                  <a:lnTo>
                    <a:pt x="645" y="1977"/>
                  </a:lnTo>
                  <a:lnTo>
                    <a:pt x="643" y="1977"/>
                  </a:lnTo>
                  <a:lnTo>
                    <a:pt x="645" y="1977"/>
                  </a:lnTo>
                  <a:lnTo>
                    <a:pt x="643" y="1977"/>
                  </a:lnTo>
                  <a:lnTo>
                    <a:pt x="643" y="1975"/>
                  </a:lnTo>
                  <a:lnTo>
                    <a:pt x="643" y="1973"/>
                  </a:lnTo>
                  <a:lnTo>
                    <a:pt x="641" y="1973"/>
                  </a:lnTo>
                  <a:lnTo>
                    <a:pt x="643" y="1973"/>
                  </a:lnTo>
                  <a:lnTo>
                    <a:pt x="641" y="1973"/>
                  </a:lnTo>
                  <a:lnTo>
                    <a:pt x="641" y="1971"/>
                  </a:lnTo>
                  <a:lnTo>
                    <a:pt x="641" y="1969"/>
                  </a:lnTo>
                  <a:lnTo>
                    <a:pt x="639" y="1967"/>
                  </a:lnTo>
                  <a:lnTo>
                    <a:pt x="637" y="1965"/>
                  </a:lnTo>
                  <a:lnTo>
                    <a:pt x="637" y="1963"/>
                  </a:lnTo>
                  <a:lnTo>
                    <a:pt x="639" y="1963"/>
                  </a:lnTo>
                  <a:lnTo>
                    <a:pt x="637" y="1963"/>
                  </a:lnTo>
                  <a:lnTo>
                    <a:pt x="637" y="1962"/>
                  </a:lnTo>
                  <a:lnTo>
                    <a:pt x="639" y="1962"/>
                  </a:lnTo>
                  <a:lnTo>
                    <a:pt x="639" y="1960"/>
                  </a:lnTo>
                  <a:lnTo>
                    <a:pt x="641" y="1960"/>
                  </a:lnTo>
                  <a:lnTo>
                    <a:pt x="643" y="1960"/>
                  </a:lnTo>
                  <a:lnTo>
                    <a:pt x="643" y="1958"/>
                  </a:lnTo>
                  <a:lnTo>
                    <a:pt x="641" y="1958"/>
                  </a:lnTo>
                  <a:lnTo>
                    <a:pt x="639" y="1958"/>
                  </a:lnTo>
                  <a:lnTo>
                    <a:pt x="639" y="1956"/>
                  </a:lnTo>
                  <a:lnTo>
                    <a:pt x="641" y="1954"/>
                  </a:lnTo>
                  <a:lnTo>
                    <a:pt x="639" y="1956"/>
                  </a:lnTo>
                  <a:lnTo>
                    <a:pt x="637" y="1956"/>
                  </a:lnTo>
                  <a:lnTo>
                    <a:pt x="637" y="1954"/>
                  </a:lnTo>
                  <a:lnTo>
                    <a:pt x="637" y="1952"/>
                  </a:lnTo>
                  <a:lnTo>
                    <a:pt x="635" y="1954"/>
                  </a:lnTo>
                  <a:lnTo>
                    <a:pt x="635" y="1952"/>
                  </a:lnTo>
                  <a:lnTo>
                    <a:pt x="635" y="1954"/>
                  </a:lnTo>
                  <a:lnTo>
                    <a:pt x="637" y="1956"/>
                  </a:lnTo>
                  <a:lnTo>
                    <a:pt x="637" y="1958"/>
                  </a:lnTo>
                  <a:lnTo>
                    <a:pt x="635" y="1960"/>
                  </a:lnTo>
                  <a:lnTo>
                    <a:pt x="635" y="1958"/>
                  </a:lnTo>
                  <a:lnTo>
                    <a:pt x="635" y="1960"/>
                  </a:lnTo>
                  <a:lnTo>
                    <a:pt x="635" y="1958"/>
                  </a:lnTo>
                  <a:lnTo>
                    <a:pt x="634" y="1958"/>
                  </a:lnTo>
                  <a:lnTo>
                    <a:pt x="634" y="1960"/>
                  </a:lnTo>
                  <a:lnTo>
                    <a:pt x="632" y="1962"/>
                  </a:lnTo>
                  <a:lnTo>
                    <a:pt x="630" y="1960"/>
                  </a:lnTo>
                  <a:lnTo>
                    <a:pt x="630" y="1958"/>
                  </a:lnTo>
                  <a:lnTo>
                    <a:pt x="630" y="1956"/>
                  </a:lnTo>
                  <a:lnTo>
                    <a:pt x="630" y="1954"/>
                  </a:lnTo>
                  <a:lnTo>
                    <a:pt x="628" y="1954"/>
                  </a:lnTo>
                  <a:lnTo>
                    <a:pt x="628" y="1952"/>
                  </a:lnTo>
                  <a:lnTo>
                    <a:pt x="628" y="1950"/>
                  </a:lnTo>
                  <a:lnTo>
                    <a:pt x="628" y="1948"/>
                  </a:lnTo>
                  <a:lnTo>
                    <a:pt x="628" y="1946"/>
                  </a:lnTo>
                  <a:lnTo>
                    <a:pt x="628" y="1944"/>
                  </a:lnTo>
                  <a:lnTo>
                    <a:pt x="626" y="1944"/>
                  </a:lnTo>
                  <a:lnTo>
                    <a:pt x="628" y="1944"/>
                  </a:lnTo>
                  <a:lnTo>
                    <a:pt x="628" y="1942"/>
                  </a:lnTo>
                  <a:lnTo>
                    <a:pt x="628" y="1940"/>
                  </a:lnTo>
                  <a:lnTo>
                    <a:pt x="630" y="1940"/>
                  </a:lnTo>
                  <a:lnTo>
                    <a:pt x="632" y="1940"/>
                  </a:lnTo>
                  <a:lnTo>
                    <a:pt x="630" y="1940"/>
                  </a:lnTo>
                  <a:lnTo>
                    <a:pt x="632" y="1940"/>
                  </a:lnTo>
                  <a:lnTo>
                    <a:pt x="634" y="1940"/>
                  </a:lnTo>
                  <a:lnTo>
                    <a:pt x="635" y="1940"/>
                  </a:lnTo>
                  <a:lnTo>
                    <a:pt x="635" y="1938"/>
                  </a:lnTo>
                  <a:lnTo>
                    <a:pt x="635" y="1940"/>
                  </a:lnTo>
                  <a:lnTo>
                    <a:pt x="637" y="1940"/>
                  </a:lnTo>
                  <a:lnTo>
                    <a:pt x="637" y="1938"/>
                  </a:lnTo>
                  <a:lnTo>
                    <a:pt x="637" y="1937"/>
                  </a:lnTo>
                  <a:lnTo>
                    <a:pt x="637" y="1935"/>
                  </a:lnTo>
                  <a:lnTo>
                    <a:pt x="639" y="1935"/>
                  </a:lnTo>
                  <a:lnTo>
                    <a:pt x="637" y="1935"/>
                  </a:lnTo>
                  <a:lnTo>
                    <a:pt x="637" y="1937"/>
                  </a:lnTo>
                  <a:lnTo>
                    <a:pt x="637" y="1935"/>
                  </a:lnTo>
                  <a:lnTo>
                    <a:pt x="637" y="1933"/>
                  </a:lnTo>
                  <a:lnTo>
                    <a:pt x="637" y="1931"/>
                  </a:lnTo>
                  <a:lnTo>
                    <a:pt x="635" y="1931"/>
                  </a:lnTo>
                  <a:lnTo>
                    <a:pt x="635" y="1929"/>
                  </a:lnTo>
                  <a:lnTo>
                    <a:pt x="637" y="1929"/>
                  </a:lnTo>
                  <a:lnTo>
                    <a:pt x="637" y="1927"/>
                  </a:lnTo>
                  <a:lnTo>
                    <a:pt x="635" y="1925"/>
                  </a:lnTo>
                  <a:lnTo>
                    <a:pt x="637" y="1925"/>
                  </a:lnTo>
                  <a:lnTo>
                    <a:pt x="637" y="1923"/>
                  </a:lnTo>
                  <a:lnTo>
                    <a:pt x="639" y="1923"/>
                  </a:lnTo>
                  <a:lnTo>
                    <a:pt x="637" y="1923"/>
                  </a:lnTo>
                  <a:lnTo>
                    <a:pt x="635" y="1923"/>
                  </a:lnTo>
                  <a:lnTo>
                    <a:pt x="637" y="1923"/>
                  </a:lnTo>
                  <a:lnTo>
                    <a:pt x="637" y="1921"/>
                  </a:lnTo>
                  <a:lnTo>
                    <a:pt x="635" y="1921"/>
                  </a:lnTo>
                  <a:lnTo>
                    <a:pt x="635" y="1919"/>
                  </a:lnTo>
                  <a:lnTo>
                    <a:pt x="634" y="1917"/>
                  </a:lnTo>
                  <a:lnTo>
                    <a:pt x="634" y="1915"/>
                  </a:lnTo>
                  <a:lnTo>
                    <a:pt x="634" y="1913"/>
                  </a:lnTo>
                  <a:lnTo>
                    <a:pt x="634" y="1912"/>
                  </a:lnTo>
                  <a:lnTo>
                    <a:pt x="634" y="1910"/>
                  </a:lnTo>
                  <a:lnTo>
                    <a:pt x="634" y="1908"/>
                  </a:lnTo>
                  <a:lnTo>
                    <a:pt x="634" y="1906"/>
                  </a:lnTo>
                  <a:lnTo>
                    <a:pt x="632" y="1906"/>
                  </a:lnTo>
                  <a:lnTo>
                    <a:pt x="632" y="1904"/>
                  </a:lnTo>
                  <a:lnTo>
                    <a:pt x="630" y="1902"/>
                  </a:lnTo>
                  <a:lnTo>
                    <a:pt x="628" y="1900"/>
                  </a:lnTo>
                  <a:lnTo>
                    <a:pt x="628" y="1898"/>
                  </a:lnTo>
                  <a:lnTo>
                    <a:pt x="626" y="1896"/>
                  </a:lnTo>
                  <a:lnTo>
                    <a:pt x="624" y="1894"/>
                  </a:lnTo>
                  <a:lnTo>
                    <a:pt x="624" y="1892"/>
                  </a:lnTo>
                  <a:lnTo>
                    <a:pt x="622" y="1890"/>
                  </a:lnTo>
                  <a:lnTo>
                    <a:pt x="622" y="1889"/>
                  </a:lnTo>
                  <a:lnTo>
                    <a:pt x="620" y="1887"/>
                  </a:lnTo>
                  <a:lnTo>
                    <a:pt x="620" y="1885"/>
                  </a:lnTo>
                  <a:lnTo>
                    <a:pt x="620" y="1883"/>
                  </a:lnTo>
                  <a:lnTo>
                    <a:pt x="620" y="1881"/>
                  </a:lnTo>
                  <a:lnTo>
                    <a:pt x="618" y="1881"/>
                  </a:lnTo>
                  <a:lnTo>
                    <a:pt x="616" y="1881"/>
                  </a:lnTo>
                  <a:lnTo>
                    <a:pt x="616" y="1879"/>
                  </a:lnTo>
                  <a:lnTo>
                    <a:pt x="614" y="1879"/>
                  </a:lnTo>
                  <a:lnTo>
                    <a:pt x="614" y="1877"/>
                  </a:lnTo>
                  <a:lnTo>
                    <a:pt x="612" y="1877"/>
                  </a:lnTo>
                  <a:lnTo>
                    <a:pt x="610" y="1875"/>
                  </a:lnTo>
                  <a:lnTo>
                    <a:pt x="609" y="1873"/>
                  </a:lnTo>
                  <a:lnTo>
                    <a:pt x="607" y="1873"/>
                  </a:lnTo>
                  <a:lnTo>
                    <a:pt x="603" y="1875"/>
                  </a:lnTo>
                  <a:lnTo>
                    <a:pt x="597" y="1873"/>
                  </a:lnTo>
                  <a:lnTo>
                    <a:pt x="595" y="1873"/>
                  </a:lnTo>
                  <a:lnTo>
                    <a:pt x="591" y="1873"/>
                  </a:lnTo>
                  <a:lnTo>
                    <a:pt x="591" y="1875"/>
                  </a:lnTo>
                  <a:lnTo>
                    <a:pt x="591" y="1873"/>
                  </a:lnTo>
                  <a:lnTo>
                    <a:pt x="589" y="1871"/>
                  </a:lnTo>
                  <a:lnTo>
                    <a:pt x="586" y="1869"/>
                  </a:lnTo>
                  <a:lnTo>
                    <a:pt x="580" y="1869"/>
                  </a:lnTo>
                  <a:lnTo>
                    <a:pt x="576" y="1867"/>
                  </a:lnTo>
                  <a:lnTo>
                    <a:pt x="574" y="1869"/>
                  </a:lnTo>
                  <a:lnTo>
                    <a:pt x="572" y="1869"/>
                  </a:lnTo>
                  <a:lnTo>
                    <a:pt x="570" y="1871"/>
                  </a:lnTo>
                  <a:lnTo>
                    <a:pt x="568" y="1873"/>
                  </a:lnTo>
                  <a:lnTo>
                    <a:pt x="564" y="1875"/>
                  </a:lnTo>
                  <a:lnTo>
                    <a:pt x="562" y="1875"/>
                  </a:lnTo>
                  <a:lnTo>
                    <a:pt x="561" y="1875"/>
                  </a:lnTo>
                  <a:lnTo>
                    <a:pt x="562" y="1875"/>
                  </a:lnTo>
                  <a:lnTo>
                    <a:pt x="561" y="1875"/>
                  </a:lnTo>
                  <a:lnTo>
                    <a:pt x="561" y="1877"/>
                  </a:lnTo>
                  <a:lnTo>
                    <a:pt x="557" y="1875"/>
                  </a:lnTo>
                  <a:lnTo>
                    <a:pt x="559" y="1875"/>
                  </a:lnTo>
                  <a:lnTo>
                    <a:pt x="561" y="1877"/>
                  </a:lnTo>
                  <a:lnTo>
                    <a:pt x="559" y="1875"/>
                  </a:lnTo>
                  <a:lnTo>
                    <a:pt x="557" y="1875"/>
                  </a:lnTo>
                  <a:lnTo>
                    <a:pt x="553" y="1875"/>
                  </a:lnTo>
                  <a:lnTo>
                    <a:pt x="551" y="1877"/>
                  </a:lnTo>
                  <a:lnTo>
                    <a:pt x="549" y="1875"/>
                  </a:lnTo>
                  <a:lnTo>
                    <a:pt x="547" y="1875"/>
                  </a:lnTo>
                  <a:lnTo>
                    <a:pt x="547" y="1877"/>
                  </a:lnTo>
                  <a:lnTo>
                    <a:pt x="545" y="1877"/>
                  </a:lnTo>
                  <a:lnTo>
                    <a:pt x="543" y="1877"/>
                  </a:lnTo>
                  <a:lnTo>
                    <a:pt x="541" y="1877"/>
                  </a:lnTo>
                  <a:lnTo>
                    <a:pt x="539" y="1877"/>
                  </a:lnTo>
                  <a:lnTo>
                    <a:pt x="539" y="1879"/>
                  </a:lnTo>
                  <a:lnTo>
                    <a:pt x="539" y="1877"/>
                  </a:lnTo>
                  <a:lnTo>
                    <a:pt x="539" y="1879"/>
                  </a:lnTo>
                  <a:lnTo>
                    <a:pt x="541" y="1879"/>
                  </a:lnTo>
                  <a:lnTo>
                    <a:pt x="539" y="1881"/>
                  </a:lnTo>
                  <a:lnTo>
                    <a:pt x="538" y="1881"/>
                  </a:lnTo>
                  <a:lnTo>
                    <a:pt x="536" y="1881"/>
                  </a:lnTo>
                  <a:lnTo>
                    <a:pt x="534" y="1881"/>
                  </a:lnTo>
                  <a:lnTo>
                    <a:pt x="532" y="1881"/>
                  </a:lnTo>
                  <a:lnTo>
                    <a:pt x="530" y="1881"/>
                  </a:lnTo>
                  <a:lnTo>
                    <a:pt x="532" y="1881"/>
                  </a:lnTo>
                  <a:lnTo>
                    <a:pt x="530" y="1881"/>
                  </a:lnTo>
                  <a:lnTo>
                    <a:pt x="530" y="1879"/>
                  </a:lnTo>
                  <a:lnTo>
                    <a:pt x="530" y="1881"/>
                  </a:lnTo>
                  <a:lnTo>
                    <a:pt x="530" y="1879"/>
                  </a:lnTo>
                  <a:lnTo>
                    <a:pt x="528" y="1879"/>
                  </a:lnTo>
                  <a:lnTo>
                    <a:pt x="526" y="1879"/>
                  </a:lnTo>
                  <a:lnTo>
                    <a:pt x="524" y="1879"/>
                  </a:lnTo>
                  <a:lnTo>
                    <a:pt x="522" y="1879"/>
                  </a:lnTo>
                  <a:lnTo>
                    <a:pt x="522" y="1881"/>
                  </a:lnTo>
                  <a:lnTo>
                    <a:pt x="520" y="1879"/>
                  </a:lnTo>
                  <a:lnTo>
                    <a:pt x="520" y="1877"/>
                  </a:lnTo>
                  <a:lnTo>
                    <a:pt x="520" y="1879"/>
                  </a:lnTo>
                  <a:lnTo>
                    <a:pt x="522" y="1881"/>
                  </a:lnTo>
                  <a:lnTo>
                    <a:pt x="520" y="1881"/>
                  </a:lnTo>
                  <a:lnTo>
                    <a:pt x="520" y="1883"/>
                  </a:lnTo>
                  <a:lnTo>
                    <a:pt x="520" y="1885"/>
                  </a:lnTo>
                  <a:lnTo>
                    <a:pt x="520" y="1887"/>
                  </a:lnTo>
                  <a:lnTo>
                    <a:pt x="522" y="1889"/>
                  </a:lnTo>
                  <a:lnTo>
                    <a:pt x="524" y="1889"/>
                  </a:lnTo>
                  <a:lnTo>
                    <a:pt x="524" y="1890"/>
                  </a:lnTo>
                  <a:lnTo>
                    <a:pt x="524" y="1892"/>
                  </a:lnTo>
                  <a:lnTo>
                    <a:pt x="524" y="1890"/>
                  </a:lnTo>
                  <a:lnTo>
                    <a:pt x="522" y="1894"/>
                  </a:lnTo>
                  <a:lnTo>
                    <a:pt x="520" y="1894"/>
                  </a:lnTo>
                  <a:lnTo>
                    <a:pt x="518" y="1894"/>
                  </a:lnTo>
                  <a:lnTo>
                    <a:pt x="518" y="1896"/>
                  </a:lnTo>
                  <a:lnTo>
                    <a:pt x="516" y="1896"/>
                  </a:lnTo>
                  <a:lnTo>
                    <a:pt x="515" y="1896"/>
                  </a:lnTo>
                  <a:lnTo>
                    <a:pt x="513" y="1896"/>
                  </a:lnTo>
                  <a:lnTo>
                    <a:pt x="513" y="1898"/>
                  </a:lnTo>
                  <a:lnTo>
                    <a:pt x="515" y="1898"/>
                  </a:lnTo>
                  <a:lnTo>
                    <a:pt x="513" y="1898"/>
                  </a:lnTo>
                  <a:lnTo>
                    <a:pt x="513" y="1896"/>
                  </a:lnTo>
                  <a:lnTo>
                    <a:pt x="511" y="1898"/>
                  </a:lnTo>
                  <a:lnTo>
                    <a:pt x="511" y="1896"/>
                  </a:lnTo>
                  <a:lnTo>
                    <a:pt x="509" y="1896"/>
                  </a:lnTo>
                  <a:lnTo>
                    <a:pt x="509" y="1898"/>
                  </a:lnTo>
                  <a:lnTo>
                    <a:pt x="511" y="1898"/>
                  </a:lnTo>
                  <a:lnTo>
                    <a:pt x="509" y="1898"/>
                  </a:lnTo>
                  <a:lnTo>
                    <a:pt x="507" y="1896"/>
                  </a:lnTo>
                  <a:lnTo>
                    <a:pt x="509" y="1896"/>
                  </a:lnTo>
                  <a:lnTo>
                    <a:pt x="507" y="1896"/>
                  </a:lnTo>
                  <a:lnTo>
                    <a:pt x="505" y="1894"/>
                  </a:lnTo>
                  <a:lnTo>
                    <a:pt x="503" y="1892"/>
                  </a:lnTo>
                  <a:lnTo>
                    <a:pt x="503" y="1894"/>
                  </a:lnTo>
                  <a:lnTo>
                    <a:pt x="501" y="1894"/>
                  </a:lnTo>
                  <a:lnTo>
                    <a:pt x="501" y="1896"/>
                  </a:lnTo>
                  <a:lnTo>
                    <a:pt x="503" y="1898"/>
                  </a:lnTo>
                  <a:lnTo>
                    <a:pt x="503" y="1900"/>
                  </a:lnTo>
                  <a:lnTo>
                    <a:pt x="503" y="1902"/>
                  </a:lnTo>
                  <a:lnTo>
                    <a:pt x="501" y="1902"/>
                  </a:lnTo>
                  <a:lnTo>
                    <a:pt x="503" y="1900"/>
                  </a:lnTo>
                  <a:lnTo>
                    <a:pt x="503" y="1898"/>
                  </a:lnTo>
                  <a:lnTo>
                    <a:pt x="501" y="1896"/>
                  </a:lnTo>
                  <a:lnTo>
                    <a:pt x="501" y="1898"/>
                  </a:lnTo>
                  <a:lnTo>
                    <a:pt x="499" y="1898"/>
                  </a:lnTo>
                  <a:lnTo>
                    <a:pt x="501" y="1898"/>
                  </a:lnTo>
                  <a:lnTo>
                    <a:pt x="499" y="1898"/>
                  </a:lnTo>
                  <a:lnTo>
                    <a:pt x="499" y="1900"/>
                  </a:lnTo>
                  <a:lnTo>
                    <a:pt x="501" y="1902"/>
                  </a:lnTo>
                  <a:lnTo>
                    <a:pt x="499" y="1902"/>
                  </a:lnTo>
                  <a:lnTo>
                    <a:pt x="497" y="1902"/>
                  </a:lnTo>
                  <a:lnTo>
                    <a:pt x="495" y="1906"/>
                  </a:lnTo>
                  <a:lnTo>
                    <a:pt x="491" y="1913"/>
                  </a:lnTo>
                  <a:lnTo>
                    <a:pt x="491" y="1915"/>
                  </a:lnTo>
                  <a:lnTo>
                    <a:pt x="491" y="1917"/>
                  </a:lnTo>
                  <a:lnTo>
                    <a:pt x="493" y="1919"/>
                  </a:lnTo>
                  <a:lnTo>
                    <a:pt x="491" y="1919"/>
                  </a:lnTo>
                  <a:lnTo>
                    <a:pt x="490" y="1919"/>
                  </a:lnTo>
                  <a:lnTo>
                    <a:pt x="490" y="1921"/>
                  </a:lnTo>
                  <a:lnTo>
                    <a:pt x="488" y="1923"/>
                  </a:lnTo>
                  <a:lnTo>
                    <a:pt x="488" y="1925"/>
                  </a:lnTo>
                  <a:lnTo>
                    <a:pt x="488" y="1927"/>
                  </a:lnTo>
                  <a:lnTo>
                    <a:pt x="490" y="1927"/>
                  </a:lnTo>
                  <a:lnTo>
                    <a:pt x="490" y="1925"/>
                  </a:lnTo>
                  <a:lnTo>
                    <a:pt x="491" y="1927"/>
                  </a:lnTo>
                  <a:lnTo>
                    <a:pt x="491" y="1925"/>
                  </a:lnTo>
                  <a:lnTo>
                    <a:pt x="493" y="1925"/>
                  </a:lnTo>
                  <a:lnTo>
                    <a:pt x="493" y="1923"/>
                  </a:lnTo>
                  <a:lnTo>
                    <a:pt x="493" y="1921"/>
                  </a:lnTo>
                  <a:lnTo>
                    <a:pt x="491" y="1921"/>
                  </a:lnTo>
                  <a:lnTo>
                    <a:pt x="491" y="1919"/>
                  </a:lnTo>
                  <a:lnTo>
                    <a:pt x="493" y="1919"/>
                  </a:lnTo>
                  <a:lnTo>
                    <a:pt x="493" y="1921"/>
                  </a:lnTo>
                  <a:lnTo>
                    <a:pt x="493" y="1923"/>
                  </a:lnTo>
                  <a:lnTo>
                    <a:pt x="495" y="1923"/>
                  </a:lnTo>
                  <a:lnTo>
                    <a:pt x="493" y="1923"/>
                  </a:lnTo>
                  <a:lnTo>
                    <a:pt x="495" y="1923"/>
                  </a:lnTo>
                  <a:lnTo>
                    <a:pt x="495" y="1925"/>
                  </a:lnTo>
                  <a:lnTo>
                    <a:pt x="497" y="1925"/>
                  </a:lnTo>
                  <a:lnTo>
                    <a:pt x="497" y="1927"/>
                  </a:lnTo>
                  <a:lnTo>
                    <a:pt x="499" y="1927"/>
                  </a:lnTo>
                  <a:lnTo>
                    <a:pt x="499" y="1929"/>
                  </a:lnTo>
                  <a:lnTo>
                    <a:pt x="501" y="1929"/>
                  </a:lnTo>
                  <a:lnTo>
                    <a:pt x="501" y="1931"/>
                  </a:lnTo>
                  <a:lnTo>
                    <a:pt x="503" y="1931"/>
                  </a:lnTo>
                  <a:lnTo>
                    <a:pt x="503" y="1933"/>
                  </a:lnTo>
                  <a:lnTo>
                    <a:pt x="501" y="1935"/>
                  </a:lnTo>
                  <a:lnTo>
                    <a:pt x="499" y="1937"/>
                  </a:lnTo>
                  <a:lnTo>
                    <a:pt x="497" y="1937"/>
                  </a:lnTo>
                  <a:lnTo>
                    <a:pt x="497" y="1935"/>
                  </a:lnTo>
                  <a:lnTo>
                    <a:pt x="495" y="1933"/>
                  </a:lnTo>
                  <a:lnTo>
                    <a:pt x="495" y="1935"/>
                  </a:lnTo>
                  <a:lnTo>
                    <a:pt x="497" y="1935"/>
                  </a:lnTo>
                  <a:lnTo>
                    <a:pt x="497" y="1937"/>
                  </a:lnTo>
                  <a:lnTo>
                    <a:pt x="495" y="1937"/>
                  </a:lnTo>
                  <a:lnTo>
                    <a:pt x="495" y="1935"/>
                  </a:lnTo>
                  <a:lnTo>
                    <a:pt x="495" y="1937"/>
                  </a:lnTo>
                  <a:lnTo>
                    <a:pt x="497" y="1937"/>
                  </a:lnTo>
                  <a:lnTo>
                    <a:pt x="493" y="1937"/>
                  </a:lnTo>
                  <a:lnTo>
                    <a:pt x="493" y="1935"/>
                  </a:lnTo>
                  <a:lnTo>
                    <a:pt x="493" y="1933"/>
                  </a:lnTo>
                  <a:lnTo>
                    <a:pt x="491" y="1933"/>
                  </a:lnTo>
                  <a:lnTo>
                    <a:pt x="491" y="1935"/>
                  </a:lnTo>
                  <a:lnTo>
                    <a:pt x="490" y="1933"/>
                  </a:lnTo>
                  <a:lnTo>
                    <a:pt x="488" y="1933"/>
                  </a:lnTo>
                  <a:lnTo>
                    <a:pt x="488" y="1931"/>
                  </a:lnTo>
                  <a:lnTo>
                    <a:pt x="488" y="1933"/>
                  </a:lnTo>
                  <a:lnTo>
                    <a:pt x="486" y="1933"/>
                  </a:lnTo>
                  <a:lnTo>
                    <a:pt x="488" y="1933"/>
                  </a:lnTo>
                  <a:lnTo>
                    <a:pt x="486" y="1933"/>
                  </a:lnTo>
                  <a:lnTo>
                    <a:pt x="486" y="1931"/>
                  </a:lnTo>
                  <a:lnTo>
                    <a:pt x="486" y="1933"/>
                  </a:lnTo>
                  <a:lnTo>
                    <a:pt x="486" y="1931"/>
                  </a:lnTo>
                  <a:lnTo>
                    <a:pt x="486" y="1933"/>
                  </a:lnTo>
                  <a:lnTo>
                    <a:pt x="484" y="1933"/>
                  </a:lnTo>
                  <a:lnTo>
                    <a:pt x="486" y="1931"/>
                  </a:lnTo>
                  <a:lnTo>
                    <a:pt x="484" y="1931"/>
                  </a:lnTo>
                  <a:lnTo>
                    <a:pt x="484" y="1933"/>
                  </a:lnTo>
                  <a:lnTo>
                    <a:pt x="484" y="1931"/>
                  </a:lnTo>
                  <a:lnTo>
                    <a:pt x="486" y="1931"/>
                  </a:lnTo>
                  <a:lnTo>
                    <a:pt x="488" y="1931"/>
                  </a:lnTo>
                  <a:lnTo>
                    <a:pt x="486" y="1931"/>
                  </a:lnTo>
                  <a:lnTo>
                    <a:pt x="484" y="1931"/>
                  </a:lnTo>
                  <a:lnTo>
                    <a:pt x="486" y="1931"/>
                  </a:lnTo>
                  <a:lnTo>
                    <a:pt x="486" y="1929"/>
                  </a:lnTo>
                  <a:lnTo>
                    <a:pt x="488" y="1929"/>
                  </a:lnTo>
                  <a:lnTo>
                    <a:pt x="486" y="1929"/>
                  </a:lnTo>
                  <a:lnTo>
                    <a:pt x="484" y="1931"/>
                  </a:lnTo>
                  <a:lnTo>
                    <a:pt x="484" y="1933"/>
                  </a:lnTo>
                  <a:lnTo>
                    <a:pt x="482" y="1931"/>
                  </a:lnTo>
                  <a:lnTo>
                    <a:pt x="484" y="1931"/>
                  </a:lnTo>
                  <a:lnTo>
                    <a:pt x="484" y="1929"/>
                  </a:lnTo>
                  <a:lnTo>
                    <a:pt x="482" y="1929"/>
                  </a:lnTo>
                  <a:lnTo>
                    <a:pt x="482" y="1931"/>
                  </a:lnTo>
                  <a:lnTo>
                    <a:pt x="482" y="1929"/>
                  </a:lnTo>
                  <a:lnTo>
                    <a:pt x="480" y="1927"/>
                  </a:lnTo>
                  <a:lnTo>
                    <a:pt x="480" y="1925"/>
                  </a:lnTo>
                  <a:lnTo>
                    <a:pt x="478" y="1925"/>
                  </a:lnTo>
                  <a:lnTo>
                    <a:pt x="476" y="1927"/>
                  </a:lnTo>
                  <a:lnTo>
                    <a:pt x="474" y="1927"/>
                  </a:lnTo>
                  <a:lnTo>
                    <a:pt x="472" y="1929"/>
                  </a:lnTo>
                  <a:lnTo>
                    <a:pt x="474" y="1929"/>
                  </a:lnTo>
                  <a:lnTo>
                    <a:pt x="474" y="1931"/>
                  </a:lnTo>
                  <a:lnTo>
                    <a:pt x="474" y="1933"/>
                  </a:lnTo>
                  <a:lnTo>
                    <a:pt x="472" y="1933"/>
                  </a:lnTo>
                  <a:lnTo>
                    <a:pt x="474" y="1935"/>
                  </a:lnTo>
                  <a:lnTo>
                    <a:pt x="472" y="1933"/>
                  </a:lnTo>
                  <a:lnTo>
                    <a:pt x="470" y="1935"/>
                  </a:lnTo>
                  <a:lnTo>
                    <a:pt x="472" y="1935"/>
                  </a:lnTo>
                  <a:lnTo>
                    <a:pt x="470" y="1937"/>
                  </a:lnTo>
                  <a:lnTo>
                    <a:pt x="468" y="1937"/>
                  </a:lnTo>
                  <a:lnTo>
                    <a:pt x="468" y="1935"/>
                  </a:lnTo>
                  <a:lnTo>
                    <a:pt x="467" y="1935"/>
                  </a:lnTo>
                  <a:lnTo>
                    <a:pt x="468" y="1935"/>
                  </a:lnTo>
                  <a:lnTo>
                    <a:pt x="470" y="1935"/>
                  </a:lnTo>
                  <a:lnTo>
                    <a:pt x="472" y="1933"/>
                  </a:lnTo>
                  <a:lnTo>
                    <a:pt x="474" y="1933"/>
                  </a:lnTo>
                  <a:lnTo>
                    <a:pt x="474" y="1931"/>
                  </a:lnTo>
                  <a:lnTo>
                    <a:pt x="472" y="1931"/>
                  </a:lnTo>
                  <a:lnTo>
                    <a:pt x="470" y="1927"/>
                  </a:lnTo>
                  <a:lnTo>
                    <a:pt x="468" y="1929"/>
                  </a:lnTo>
                  <a:lnTo>
                    <a:pt x="467" y="1931"/>
                  </a:lnTo>
                  <a:lnTo>
                    <a:pt x="465" y="1931"/>
                  </a:lnTo>
                  <a:lnTo>
                    <a:pt x="465" y="1933"/>
                  </a:lnTo>
                  <a:lnTo>
                    <a:pt x="465" y="1935"/>
                  </a:lnTo>
                  <a:lnTo>
                    <a:pt x="465" y="1937"/>
                  </a:lnTo>
                  <a:lnTo>
                    <a:pt x="463" y="1935"/>
                  </a:lnTo>
                  <a:lnTo>
                    <a:pt x="461" y="1937"/>
                  </a:lnTo>
                  <a:lnTo>
                    <a:pt x="461" y="1938"/>
                  </a:lnTo>
                  <a:lnTo>
                    <a:pt x="461" y="1940"/>
                  </a:lnTo>
                  <a:lnTo>
                    <a:pt x="459" y="1946"/>
                  </a:lnTo>
                  <a:lnTo>
                    <a:pt x="459" y="1948"/>
                  </a:lnTo>
                  <a:lnTo>
                    <a:pt x="461" y="1948"/>
                  </a:lnTo>
                  <a:lnTo>
                    <a:pt x="459" y="1948"/>
                  </a:lnTo>
                  <a:lnTo>
                    <a:pt x="459" y="1950"/>
                  </a:lnTo>
                  <a:lnTo>
                    <a:pt x="461" y="1950"/>
                  </a:lnTo>
                  <a:lnTo>
                    <a:pt x="461" y="1948"/>
                  </a:lnTo>
                  <a:lnTo>
                    <a:pt x="461" y="1950"/>
                  </a:lnTo>
                  <a:lnTo>
                    <a:pt x="463" y="1950"/>
                  </a:lnTo>
                  <a:lnTo>
                    <a:pt x="463" y="1948"/>
                  </a:lnTo>
                  <a:lnTo>
                    <a:pt x="465" y="1948"/>
                  </a:lnTo>
                  <a:lnTo>
                    <a:pt x="465" y="1950"/>
                  </a:lnTo>
                  <a:lnTo>
                    <a:pt x="465" y="1948"/>
                  </a:lnTo>
                  <a:lnTo>
                    <a:pt x="465" y="1950"/>
                  </a:lnTo>
                  <a:lnTo>
                    <a:pt x="467" y="1950"/>
                  </a:lnTo>
                  <a:lnTo>
                    <a:pt x="468" y="1950"/>
                  </a:lnTo>
                  <a:lnTo>
                    <a:pt x="468" y="1952"/>
                  </a:lnTo>
                  <a:lnTo>
                    <a:pt x="468" y="1950"/>
                  </a:lnTo>
                  <a:lnTo>
                    <a:pt x="470" y="1950"/>
                  </a:lnTo>
                  <a:lnTo>
                    <a:pt x="472" y="1950"/>
                  </a:lnTo>
                  <a:lnTo>
                    <a:pt x="472" y="1952"/>
                  </a:lnTo>
                  <a:lnTo>
                    <a:pt x="474" y="1950"/>
                  </a:lnTo>
                  <a:lnTo>
                    <a:pt x="476" y="1950"/>
                  </a:lnTo>
                  <a:lnTo>
                    <a:pt x="476" y="1948"/>
                  </a:lnTo>
                  <a:lnTo>
                    <a:pt x="476" y="1950"/>
                  </a:lnTo>
                  <a:lnTo>
                    <a:pt x="476" y="1948"/>
                  </a:lnTo>
                  <a:lnTo>
                    <a:pt x="478" y="1950"/>
                  </a:lnTo>
                  <a:lnTo>
                    <a:pt x="476" y="1950"/>
                  </a:lnTo>
                  <a:lnTo>
                    <a:pt x="476" y="1952"/>
                  </a:lnTo>
                  <a:lnTo>
                    <a:pt x="476" y="1950"/>
                  </a:lnTo>
                  <a:lnTo>
                    <a:pt x="478" y="1952"/>
                  </a:lnTo>
                  <a:lnTo>
                    <a:pt x="480" y="1954"/>
                  </a:lnTo>
                  <a:lnTo>
                    <a:pt x="480" y="1952"/>
                  </a:lnTo>
                  <a:lnTo>
                    <a:pt x="482" y="1952"/>
                  </a:lnTo>
                  <a:lnTo>
                    <a:pt x="478" y="1950"/>
                  </a:lnTo>
                  <a:lnTo>
                    <a:pt x="482" y="1952"/>
                  </a:lnTo>
                  <a:lnTo>
                    <a:pt x="484" y="1952"/>
                  </a:lnTo>
                  <a:lnTo>
                    <a:pt x="486" y="1952"/>
                  </a:lnTo>
                  <a:lnTo>
                    <a:pt x="488" y="1952"/>
                  </a:lnTo>
                  <a:lnTo>
                    <a:pt x="491" y="1952"/>
                  </a:lnTo>
                  <a:lnTo>
                    <a:pt x="493" y="1952"/>
                  </a:lnTo>
                  <a:lnTo>
                    <a:pt x="493" y="1950"/>
                  </a:lnTo>
                  <a:lnTo>
                    <a:pt x="493" y="1952"/>
                  </a:lnTo>
                  <a:lnTo>
                    <a:pt x="493" y="1950"/>
                  </a:lnTo>
                  <a:lnTo>
                    <a:pt x="495" y="1950"/>
                  </a:lnTo>
                  <a:lnTo>
                    <a:pt x="497" y="1950"/>
                  </a:lnTo>
                  <a:lnTo>
                    <a:pt x="501" y="1950"/>
                  </a:lnTo>
                  <a:lnTo>
                    <a:pt x="507" y="1948"/>
                  </a:lnTo>
                  <a:lnTo>
                    <a:pt x="509" y="1948"/>
                  </a:lnTo>
                  <a:lnTo>
                    <a:pt x="513" y="1948"/>
                  </a:lnTo>
                  <a:lnTo>
                    <a:pt x="513" y="1946"/>
                  </a:lnTo>
                  <a:lnTo>
                    <a:pt x="515" y="1946"/>
                  </a:lnTo>
                  <a:lnTo>
                    <a:pt x="515" y="1948"/>
                  </a:lnTo>
                  <a:lnTo>
                    <a:pt x="516" y="1948"/>
                  </a:lnTo>
                  <a:lnTo>
                    <a:pt x="518" y="1950"/>
                  </a:lnTo>
                  <a:lnTo>
                    <a:pt x="520" y="1950"/>
                  </a:lnTo>
                  <a:lnTo>
                    <a:pt x="518" y="1950"/>
                  </a:lnTo>
                  <a:lnTo>
                    <a:pt x="516" y="1948"/>
                  </a:lnTo>
                  <a:lnTo>
                    <a:pt x="515" y="1948"/>
                  </a:lnTo>
                  <a:lnTo>
                    <a:pt x="515" y="1950"/>
                  </a:lnTo>
                  <a:lnTo>
                    <a:pt x="515" y="1952"/>
                  </a:lnTo>
                  <a:lnTo>
                    <a:pt x="516" y="1952"/>
                  </a:lnTo>
                  <a:lnTo>
                    <a:pt x="516" y="1954"/>
                  </a:lnTo>
                  <a:lnTo>
                    <a:pt x="516" y="1952"/>
                  </a:lnTo>
                  <a:lnTo>
                    <a:pt x="518" y="1952"/>
                  </a:lnTo>
                  <a:lnTo>
                    <a:pt x="518" y="1950"/>
                  </a:lnTo>
                  <a:lnTo>
                    <a:pt x="520" y="1950"/>
                  </a:lnTo>
                  <a:lnTo>
                    <a:pt x="518" y="1952"/>
                  </a:lnTo>
                  <a:lnTo>
                    <a:pt x="520" y="1952"/>
                  </a:lnTo>
                  <a:lnTo>
                    <a:pt x="518" y="1952"/>
                  </a:lnTo>
                  <a:lnTo>
                    <a:pt x="520" y="1952"/>
                  </a:lnTo>
                  <a:lnTo>
                    <a:pt x="520" y="1954"/>
                  </a:lnTo>
                  <a:lnTo>
                    <a:pt x="522" y="1954"/>
                  </a:lnTo>
                  <a:lnTo>
                    <a:pt x="526" y="1958"/>
                  </a:lnTo>
                  <a:lnTo>
                    <a:pt x="526" y="1960"/>
                  </a:lnTo>
                  <a:lnTo>
                    <a:pt x="528" y="1960"/>
                  </a:lnTo>
                  <a:lnTo>
                    <a:pt x="528" y="1962"/>
                  </a:lnTo>
                  <a:lnTo>
                    <a:pt x="528" y="1963"/>
                  </a:lnTo>
                  <a:lnTo>
                    <a:pt x="530" y="1963"/>
                  </a:lnTo>
                  <a:lnTo>
                    <a:pt x="530" y="1965"/>
                  </a:lnTo>
                  <a:lnTo>
                    <a:pt x="532" y="1965"/>
                  </a:lnTo>
                  <a:lnTo>
                    <a:pt x="532" y="1967"/>
                  </a:lnTo>
                  <a:lnTo>
                    <a:pt x="534" y="1967"/>
                  </a:lnTo>
                  <a:lnTo>
                    <a:pt x="534" y="1969"/>
                  </a:lnTo>
                  <a:lnTo>
                    <a:pt x="532" y="1969"/>
                  </a:lnTo>
                  <a:lnTo>
                    <a:pt x="534" y="1971"/>
                  </a:lnTo>
                  <a:lnTo>
                    <a:pt x="534" y="1973"/>
                  </a:lnTo>
                  <a:lnTo>
                    <a:pt x="534" y="1971"/>
                  </a:lnTo>
                  <a:lnTo>
                    <a:pt x="536" y="1971"/>
                  </a:lnTo>
                  <a:lnTo>
                    <a:pt x="536" y="1973"/>
                  </a:lnTo>
                  <a:lnTo>
                    <a:pt x="534" y="1973"/>
                  </a:lnTo>
                  <a:lnTo>
                    <a:pt x="534" y="1975"/>
                  </a:lnTo>
                  <a:lnTo>
                    <a:pt x="536" y="1973"/>
                  </a:lnTo>
                  <a:lnTo>
                    <a:pt x="534" y="1971"/>
                  </a:lnTo>
                  <a:lnTo>
                    <a:pt x="534" y="1969"/>
                  </a:lnTo>
                  <a:lnTo>
                    <a:pt x="534" y="1967"/>
                  </a:lnTo>
                  <a:lnTo>
                    <a:pt x="536" y="1967"/>
                  </a:lnTo>
                  <a:lnTo>
                    <a:pt x="534" y="1967"/>
                  </a:lnTo>
                  <a:lnTo>
                    <a:pt x="536" y="1967"/>
                  </a:lnTo>
                  <a:lnTo>
                    <a:pt x="536" y="1965"/>
                  </a:lnTo>
                  <a:lnTo>
                    <a:pt x="536" y="1967"/>
                  </a:lnTo>
                  <a:lnTo>
                    <a:pt x="538" y="1965"/>
                  </a:lnTo>
                  <a:lnTo>
                    <a:pt x="539" y="1967"/>
                  </a:lnTo>
                  <a:lnTo>
                    <a:pt x="541" y="1967"/>
                  </a:lnTo>
                  <a:lnTo>
                    <a:pt x="541" y="1965"/>
                  </a:lnTo>
                  <a:lnTo>
                    <a:pt x="541" y="1967"/>
                  </a:lnTo>
                  <a:lnTo>
                    <a:pt x="543" y="1967"/>
                  </a:lnTo>
                  <a:lnTo>
                    <a:pt x="545" y="1967"/>
                  </a:lnTo>
                  <a:lnTo>
                    <a:pt x="547" y="1967"/>
                  </a:lnTo>
                  <a:lnTo>
                    <a:pt x="557" y="1965"/>
                  </a:lnTo>
                  <a:lnTo>
                    <a:pt x="559" y="1965"/>
                  </a:lnTo>
                  <a:lnTo>
                    <a:pt x="561" y="1965"/>
                  </a:lnTo>
                  <a:lnTo>
                    <a:pt x="561" y="1967"/>
                  </a:lnTo>
                  <a:lnTo>
                    <a:pt x="562" y="1965"/>
                  </a:lnTo>
                  <a:lnTo>
                    <a:pt x="564" y="1965"/>
                  </a:lnTo>
                  <a:lnTo>
                    <a:pt x="564" y="1967"/>
                  </a:lnTo>
                  <a:lnTo>
                    <a:pt x="564" y="1965"/>
                  </a:lnTo>
                  <a:lnTo>
                    <a:pt x="564" y="1967"/>
                  </a:lnTo>
                  <a:lnTo>
                    <a:pt x="566" y="1967"/>
                  </a:lnTo>
                  <a:lnTo>
                    <a:pt x="566" y="1965"/>
                  </a:lnTo>
                  <a:lnTo>
                    <a:pt x="566" y="1967"/>
                  </a:lnTo>
                  <a:lnTo>
                    <a:pt x="568" y="1967"/>
                  </a:lnTo>
                  <a:lnTo>
                    <a:pt x="570" y="1967"/>
                  </a:lnTo>
                  <a:lnTo>
                    <a:pt x="572" y="1967"/>
                  </a:lnTo>
                  <a:lnTo>
                    <a:pt x="574" y="1967"/>
                  </a:lnTo>
                  <a:lnTo>
                    <a:pt x="576" y="1967"/>
                  </a:lnTo>
                  <a:lnTo>
                    <a:pt x="578" y="1967"/>
                  </a:lnTo>
                  <a:lnTo>
                    <a:pt x="582" y="1967"/>
                  </a:lnTo>
                  <a:lnTo>
                    <a:pt x="584" y="1967"/>
                  </a:lnTo>
                  <a:lnTo>
                    <a:pt x="586" y="1969"/>
                  </a:lnTo>
                  <a:lnTo>
                    <a:pt x="586" y="1971"/>
                  </a:lnTo>
                  <a:lnTo>
                    <a:pt x="584" y="1971"/>
                  </a:lnTo>
                  <a:lnTo>
                    <a:pt x="584" y="1973"/>
                  </a:lnTo>
                  <a:lnTo>
                    <a:pt x="584" y="1975"/>
                  </a:lnTo>
                  <a:lnTo>
                    <a:pt x="582" y="1977"/>
                  </a:lnTo>
                  <a:lnTo>
                    <a:pt x="584" y="1979"/>
                  </a:lnTo>
                  <a:lnTo>
                    <a:pt x="584" y="1977"/>
                  </a:lnTo>
                  <a:lnTo>
                    <a:pt x="586" y="1973"/>
                  </a:lnTo>
                  <a:lnTo>
                    <a:pt x="586" y="1971"/>
                  </a:lnTo>
                  <a:lnTo>
                    <a:pt x="587" y="1971"/>
                  </a:lnTo>
                  <a:lnTo>
                    <a:pt x="587" y="1969"/>
                  </a:lnTo>
                  <a:lnTo>
                    <a:pt x="587" y="1971"/>
                  </a:lnTo>
                  <a:lnTo>
                    <a:pt x="589" y="1971"/>
                  </a:lnTo>
                  <a:lnTo>
                    <a:pt x="589" y="1973"/>
                  </a:lnTo>
                  <a:lnTo>
                    <a:pt x="591" y="1973"/>
                  </a:lnTo>
                  <a:lnTo>
                    <a:pt x="589" y="1975"/>
                  </a:lnTo>
                  <a:lnTo>
                    <a:pt x="587" y="1973"/>
                  </a:lnTo>
                  <a:lnTo>
                    <a:pt x="587" y="1975"/>
                  </a:lnTo>
                  <a:lnTo>
                    <a:pt x="587" y="1977"/>
                  </a:lnTo>
                  <a:lnTo>
                    <a:pt x="587" y="1979"/>
                  </a:lnTo>
                  <a:lnTo>
                    <a:pt x="587" y="1981"/>
                  </a:lnTo>
                  <a:lnTo>
                    <a:pt x="587" y="1983"/>
                  </a:lnTo>
                  <a:lnTo>
                    <a:pt x="587" y="1981"/>
                  </a:lnTo>
                  <a:lnTo>
                    <a:pt x="587" y="1983"/>
                  </a:lnTo>
                  <a:lnTo>
                    <a:pt x="587" y="1981"/>
                  </a:lnTo>
                  <a:lnTo>
                    <a:pt x="587" y="1983"/>
                  </a:lnTo>
                  <a:lnTo>
                    <a:pt x="589" y="1983"/>
                  </a:lnTo>
                  <a:lnTo>
                    <a:pt x="587" y="1983"/>
                  </a:lnTo>
                  <a:lnTo>
                    <a:pt x="589" y="1983"/>
                  </a:lnTo>
                  <a:lnTo>
                    <a:pt x="587" y="1981"/>
                  </a:lnTo>
                  <a:lnTo>
                    <a:pt x="589" y="1981"/>
                  </a:lnTo>
                  <a:lnTo>
                    <a:pt x="591" y="1979"/>
                  </a:lnTo>
                  <a:lnTo>
                    <a:pt x="593" y="1979"/>
                  </a:lnTo>
                  <a:lnTo>
                    <a:pt x="593" y="1981"/>
                  </a:lnTo>
                  <a:lnTo>
                    <a:pt x="593" y="1983"/>
                  </a:lnTo>
                  <a:lnTo>
                    <a:pt x="591" y="1983"/>
                  </a:lnTo>
                  <a:lnTo>
                    <a:pt x="589" y="1983"/>
                  </a:lnTo>
                  <a:lnTo>
                    <a:pt x="589" y="1985"/>
                  </a:lnTo>
                  <a:lnTo>
                    <a:pt x="591" y="1983"/>
                  </a:lnTo>
                  <a:lnTo>
                    <a:pt x="591" y="1985"/>
                  </a:lnTo>
                  <a:lnTo>
                    <a:pt x="591" y="1983"/>
                  </a:lnTo>
                  <a:lnTo>
                    <a:pt x="593" y="1983"/>
                  </a:lnTo>
                  <a:lnTo>
                    <a:pt x="593" y="1985"/>
                  </a:lnTo>
                  <a:lnTo>
                    <a:pt x="591" y="1985"/>
                  </a:lnTo>
                  <a:lnTo>
                    <a:pt x="593" y="1985"/>
                  </a:lnTo>
                  <a:lnTo>
                    <a:pt x="591" y="1986"/>
                  </a:lnTo>
                  <a:lnTo>
                    <a:pt x="593" y="1986"/>
                  </a:lnTo>
                  <a:lnTo>
                    <a:pt x="593" y="1988"/>
                  </a:lnTo>
                  <a:lnTo>
                    <a:pt x="591" y="1988"/>
                  </a:lnTo>
                  <a:lnTo>
                    <a:pt x="593" y="1988"/>
                  </a:lnTo>
                  <a:lnTo>
                    <a:pt x="591" y="1988"/>
                  </a:lnTo>
                  <a:lnTo>
                    <a:pt x="593" y="1990"/>
                  </a:lnTo>
                  <a:lnTo>
                    <a:pt x="591" y="1990"/>
                  </a:lnTo>
                  <a:lnTo>
                    <a:pt x="591" y="1992"/>
                  </a:lnTo>
                  <a:lnTo>
                    <a:pt x="593" y="1992"/>
                  </a:lnTo>
                  <a:lnTo>
                    <a:pt x="593" y="1990"/>
                  </a:lnTo>
                  <a:lnTo>
                    <a:pt x="593" y="1992"/>
                  </a:lnTo>
                  <a:lnTo>
                    <a:pt x="595" y="1994"/>
                  </a:lnTo>
                  <a:lnTo>
                    <a:pt x="595" y="1992"/>
                  </a:lnTo>
                  <a:lnTo>
                    <a:pt x="595" y="1994"/>
                  </a:lnTo>
                  <a:lnTo>
                    <a:pt x="597" y="1994"/>
                  </a:lnTo>
                  <a:lnTo>
                    <a:pt x="599" y="1996"/>
                  </a:lnTo>
                  <a:lnTo>
                    <a:pt x="599" y="1998"/>
                  </a:lnTo>
                  <a:lnTo>
                    <a:pt x="601" y="2000"/>
                  </a:lnTo>
                  <a:lnTo>
                    <a:pt x="605" y="2004"/>
                  </a:lnTo>
                  <a:lnTo>
                    <a:pt x="605" y="2006"/>
                  </a:lnTo>
                  <a:lnTo>
                    <a:pt x="607" y="2006"/>
                  </a:lnTo>
                  <a:lnTo>
                    <a:pt x="607" y="2008"/>
                  </a:lnTo>
                  <a:lnTo>
                    <a:pt x="609" y="2010"/>
                  </a:lnTo>
                  <a:lnTo>
                    <a:pt x="610" y="2011"/>
                  </a:lnTo>
                  <a:lnTo>
                    <a:pt x="612" y="2013"/>
                  </a:lnTo>
                  <a:lnTo>
                    <a:pt x="614" y="2017"/>
                  </a:lnTo>
                  <a:lnTo>
                    <a:pt x="614" y="2021"/>
                  </a:lnTo>
                  <a:lnTo>
                    <a:pt x="614" y="2023"/>
                  </a:lnTo>
                  <a:lnTo>
                    <a:pt x="614" y="2027"/>
                  </a:lnTo>
                  <a:lnTo>
                    <a:pt x="614" y="2029"/>
                  </a:lnTo>
                  <a:lnTo>
                    <a:pt x="616" y="2031"/>
                  </a:lnTo>
                  <a:lnTo>
                    <a:pt x="616" y="2033"/>
                  </a:lnTo>
                  <a:lnTo>
                    <a:pt x="616" y="2034"/>
                  </a:lnTo>
                  <a:lnTo>
                    <a:pt x="616" y="2036"/>
                  </a:lnTo>
                  <a:lnTo>
                    <a:pt x="622" y="2040"/>
                  </a:lnTo>
                  <a:lnTo>
                    <a:pt x="622" y="2038"/>
                  </a:lnTo>
                  <a:lnTo>
                    <a:pt x="624" y="2040"/>
                  </a:lnTo>
                  <a:lnTo>
                    <a:pt x="626" y="2040"/>
                  </a:lnTo>
                  <a:lnTo>
                    <a:pt x="628" y="2040"/>
                  </a:lnTo>
                  <a:lnTo>
                    <a:pt x="628" y="2042"/>
                  </a:lnTo>
                  <a:lnTo>
                    <a:pt x="628" y="2044"/>
                  </a:lnTo>
                  <a:lnTo>
                    <a:pt x="630" y="2044"/>
                  </a:lnTo>
                  <a:lnTo>
                    <a:pt x="632" y="2042"/>
                  </a:lnTo>
                  <a:lnTo>
                    <a:pt x="634" y="2042"/>
                  </a:lnTo>
                  <a:lnTo>
                    <a:pt x="632" y="2042"/>
                  </a:lnTo>
                  <a:lnTo>
                    <a:pt x="635" y="2042"/>
                  </a:lnTo>
                  <a:lnTo>
                    <a:pt x="639" y="2040"/>
                  </a:lnTo>
                  <a:lnTo>
                    <a:pt x="641" y="2042"/>
                  </a:lnTo>
                  <a:lnTo>
                    <a:pt x="645" y="2044"/>
                  </a:lnTo>
                  <a:lnTo>
                    <a:pt x="649" y="2046"/>
                  </a:lnTo>
                  <a:lnTo>
                    <a:pt x="649" y="2048"/>
                  </a:lnTo>
                  <a:lnTo>
                    <a:pt x="651" y="2050"/>
                  </a:lnTo>
                  <a:lnTo>
                    <a:pt x="653" y="2050"/>
                  </a:lnTo>
                  <a:lnTo>
                    <a:pt x="655" y="2052"/>
                  </a:lnTo>
                  <a:lnTo>
                    <a:pt x="657" y="2052"/>
                  </a:lnTo>
                  <a:lnTo>
                    <a:pt x="658" y="2052"/>
                  </a:lnTo>
                  <a:lnTo>
                    <a:pt x="658" y="2054"/>
                  </a:lnTo>
                  <a:lnTo>
                    <a:pt x="662" y="2056"/>
                  </a:lnTo>
                  <a:lnTo>
                    <a:pt x="662" y="2058"/>
                  </a:lnTo>
                  <a:lnTo>
                    <a:pt x="664" y="2058"/>
                  </a:lnTo>
                  <a:lnTo>
                    <a:pt x="664" y="2056"/>
                  </a:lnTo>
                  <a:lnTo>
                    <a:pt x="666" y="2056"/>
                  </a:lnTo>
                  <a:lnTo>
                    <a:pt x="668" y="2056"/>
                  </a:lnTo>
                  <a:lnTo>
                    <a:pt x="670" y="2058"/>
                  </a:lnTo>
                  <a:lnTo>
                    <a:pt x="668" y="2058"/>
                  </a:lnTo>
                  <a:lnTo>
                    <a:pt x="666" y="2058"/>
                  </a:lnTo>
                  <a:lnTo>
                    <a:pt x="666" y="2059"/>
                  </a:lnTo>
                  <a:lnTo>
                    <a:pt x="670" y="2061"/>
                  </a:lnTo>
                  <a:lnTo>
                    <a:pt x="672" y="2063"/>
                  </a:lnTo>
                  <a:lnTo>
                    <a:pt x="672" y="2061"/>
                  </a:lnTo>
                  <a:lnTo>
                    <a:pt x="674" y="2061"/>
                  </a:lnTo>
                  <a:lnTo>
                    <a:pt x="674" y="2063"/>
                  </a:lnTo>
                  <a:lnTo>
                    <a:pt x="676" y="2065"/>
                  </a:lnTo>
                  <a:lnTo>
                    <a:pt x="678" y="2063"/>
                  </a:lnTo>
                  <a:lnTo>
                    <a:pt x="676" y="2063"/>
                  </a:lnTo>
                  <a:lnTo>
                    <a:pt x="674" y="2061"/>
                  </a:lnTo>
                  <a:lnTo>
                    <a:pt x="676" y="2061"/>
                  </a:lnTo>
                  <a:lnTo>
                    <a:pt x="676" y="2063"/>
                  </a:lnTo>
                  <a:lnTo>
                    <a:pt x="678" y="2063"/>
                  </a:lnTo>
                  <a:lnTo>
                    <a:pt x="678" y="2065"/>
                  </a:lnTo>
                  <a:lnTo>
                    <a:pt x="678" y="2067"/>
                  </a:lnTo>
                  <a:lnTo>
                    <a:pt x="680" y="2069"/>
                  </a:lnTo>
                  <a:lnTo>
                    <a:pt x="681" y="2069"/>
                  </a:lnTo>
                  <a:lnTo>
                    <a:pt x="681" y="2067"/>
                  </a:lnTo>
                  <a:lnTo>
                    <a:pt x="680" y="2065"/>
                  </a:lnTo>
                  <a:lnTo>
                    <a:pt x="681" y="2067"/>
                  </a:lnTo>
                  <a:lnTo>
                    <a:pt x="683" y="2067"/>
                  </a:lnTo>
                  <a:lnTo>
                    <a:pt x="685" y="2065"/>
                  </a:lnTo>
                  <a:lnTo>
                    <a:pt x="687" y="2063"/>
                  </a:lnTo>
                  <a:lnTo>
                    <a:pt x="689" y="2063"/>
                  </a:lnTo>
                  <a:lnTo>
                    <a:pt x="689" y="2061"/>
                  </a:lnTo>
                  <a:lnTo>
                    <a:pt x="691" y="2059"/>
                  </a:lnTo>
                  <a:lnTo>
                    <a:pt x="695" y="2058"/>
                  </a:lnTo>
                  <a:lnTo>
                    <a:pt x="697" y="2056"/>
                  </a:lnTo>
                  <a:lnTo>
                    <a:pt x="699" y="2056"/>
                  </a:lnTo>
                  <a:lnTo>
                    <a:pt x="701" y="2054"/>
                  </a:lnTo>
                  <a:lnTo>
                    <a:pt x="703" y="2054"/>
                  </a:lnTo>
                  <a:lnTo>
                    <a:pt x="701" y="2054"/>
                  </a:lnTo>
                  <a:lnTo>
                    <a:pt x="703" y="2056"/>
                  </a:lnTo>
                  <a:lnTo>
                    <a:pt x="703" y="2054"/>
                  </a:lnTo>
                  <a:lnTo>
                    <a:pt x="705" y="2054"/>
                  </a:lnTo>
                  <a:lnTo>
                    <a:pt x="706" y="2054"/>
                  </a:lnTo>
                  <a:lnTo>
                    <a:pt x="708" y="2054"/>
                  </a:lnTo>
                  <a:lnTo>
                    <a:pt x="706" y="2056"/>
                  </a:lnTo>
                  <a:lnTo>
                    <a:pt x="708" y="2058"/>
                  </a:lnTo>
                  <a:lnTo>
                    <a:pt x="710" y="2058"/>
                  </a:lnTo>
                  <a:lnTo>
                    <a:pt x="710" y="2056"/>
                  </a:lnTo>
                  <a:lnTo>
                    <a:pt x="712" y="2056"/>
                  </a:lnTo>
                  <a:lnTo>
                    <a:pt x="714" y="2056"/>
                  </a:lnTo>
                  <a:lnTo>
                    <a:pt x="714" y="2054"/>
                  </a:lnTo>
                  <a:lnTo>
                    <a:pt x="714" y="2056"/>
                  </a:lnTo>
                  <a:lnTo>
                    <a:pt x="714" y="2058"/>
                  </a:lnTo>
                  <a:lnTo>
                    <a:pt x="716" y="2058"/>
                  </a:lnTo>
                  <a:lnTo>
                    <a:pt x="716" y="2056"/>
                  </a:lnTo>
                  <a:lnTo>
                    <a:pt x="718" y="2056"/>
                  </a:lnTo>
                  <a:lnTo>
                    <a:pt x="720" y="2056"/>
                  </a:lnTo>
                  <a:lnTo>
                    <a:pt x="722" y="2056"/>
                  </a:lnTo>
                  <a:lnTo>
                    <a:pt x="720" y="2056"/>
                  </a:lnTo>
                  <a:lnTo>
                    <a:pt x="724" y="2056"/>
                  </a:lnTo>
                  <a:lnTo>
                    <a:pt x="726" y="2056"/>
                  </a:lnTo>
                  <a:lnTo>
                    <a:pt x="728" y="2056"/>
                  </a:lnTo>
                  <a:lnTo>
                    <a:pt x="729" y="2056"/>
                  </a:lnTo>
                  <a:lnTo>
                    <a:pt x="731" y="2058"/>
                  </a:lnTo>
                  <a:lnTo>
                    <a:pt x="731" y="2061"/>
                  </a:lnTo>
                  <a:lnTo>
                    <a:pt x="729" y="2061"/>
                  </a:lnTo>
                  <a:lnTo>
                    <a:pt x="731" y="2061"/>
                  </a:lnTo>
                  <a:lnTo>
                    <a:pt x="729" y="2059"/>
                  </a:lnTo>
                  <a:lnTo>
                    <a:pt x="728" y="2059"/>
                  </a:lnTo>
                  <a:lnTo>
                    <a:pt x="726" y="2061"/>
                  </a:lnTo>
                  <a:lnTo>
                    <a:pt x="728" y="2063"/>
                  </a:lnTo>
                  <a:lnTo>
                    <a:pt x="729" y="2063"/>
                  </a:lnTo>
                  <a:lnTo>
                    <a:pt x="728" y="2063"/>
                  </a:lnTo>
                  <a:lnTo>
                    <a:pt x="726" y="2063"/>
                  </a:lnTo>
                  <a:lnTo>
                    <a:pt x="726" y="2061"/>
                  </a:lnTo>
                  <a:lnTo>
                    <a:pt x="724" y="2059"/>
                  </a:lnTo>
                  <a:lnTo>
                    <a:pt x="722" y="2059"/>
                  </a:lnTo>
                  <a:lnTo>
                    <a:pt x="720" y="2059"/>
                  </a:lnTo>
                  <a:lnTo>
                    <a:pt x="720" y="2063"/>
                  </a:lnTo>
                  <a:lnTo>
                    <a:pt x="720" y="2059"/>
                  </a:lnTo>
                  <a:lnTo>
                    <a:pt x="718" y="2059"/>
                  </a:lnTo>
                  <a:lnTo>
                    <a:pt x="716" y="2059"/>
                  </a:lnTo>
                  <a:lnTo>
                    <a:pt x="714" y="2059"/>
                  </a:lnTo>
                  <a:lnTo>
                    <a:pt x="712" y="2059"/>
                  </a:lnTo>
                  <a:lnTo>
                    <a:pt x="710" y="2059"/>
                  </a:lnTo>
                  <a:lnTo>
                    <a:pt x="708" y="2059"/>
                  </a:lnTo>
                  <a:lnTo>
                    <a:pt x="708" y="2061"/>
                  </a:lnTo>
                  <a:lnTo>
                    <a:pt x="708" y="2059"/>
                  </a:lnTo>
                  <a:lnTo>
                    <a:pt x="706" y="2061"/>
                  </a:lnTo>
                  <a:lnTo>
                    <a:pt x="706" y="2059"/>
                  </a:lnTo>
                  <a:lnTo>
                    <a:pt x="703" y="2061"/>
                  </a:lnTo>
                  <a:lnTo>
                    <a:pt x="705" y="2071"/>
                  </a:lnTo>
                  <a:lnTo>
                    <a:pt x="703" y="2061"/>
                  </a:lnTo>
                  <a:lnTo>
                    <a:pt x="697" y="2061"/>
                  </a:lnTo>
                  <a:lnTo>
                    <a:pt x="693" y="2061"/>
                  </a:lnTo>
                  <a:lnTo>
                    <a:pt x="693" y="2063"/>
                  </a:lnTo>
                  <a:lnTo>
                    <a:pt x="691" y="2063"/>
                  </a:lnTo>
                  <a:lnTo>
                    <a:pt x="689" y="2065"/>
                  </a:lnTo>
                  <a:lnTo>
                    <a:pt x="689" y="2063"/>
                  </a:lnTo>
                  <a:lnTo>
                    <a:pt x="687" y="2065"/>
                  </a:lnTo>
                  <a:lnTo>
                    <a:pt x="683" y="2069"/>
                  </a:lnTo>
                  <a:lnTo>
                    <a:pt x="685" y="2071"/>
                  </a:lnTo>
                  <a:lnTo>
                    <a:pt x="687" y="2073"/>
                  </a:lnTo>
                  <a:lnTo>
                    <a:pt x="685" y="2071"/>
                  </a:lnTo>
                  <a:lnTo>
                    <a:pt x="683" y="2071"/>
                  </a:lnTo>
                  <a:lnTo>
                    <a:pt x="681" y="2071"/>
                  </a:lnTo>
                  <a:lnTo>
                    <a:pt x="683" y="2071"/>
                  </a:lnTo>
                  <a:lnTo>
                    <a:pt x="683" y="2073"/>
                  </a:lnTo>
                  <a:lnTo>
                    <a:pt x="685" y="2073"/>
                  </a:lnTo>
                  <a:lnTo>
                    <a:pt x="685" y="2075"/>
                  </a:lnTo>
                  <a:lnTo>
                    <a:pt x="685" y="2073"/>
                  </a:lnTo>
                  <a:lnTo>
                    <a:pt x="685" y="2075"/>
                  </a:lnTo>
                  <a:lnTo>
                    <a:pt x="687" y="2075"/>
                  </a:lnTo>
                  <a:lnTo>
                    <a:pt x="685" y="2075"/>
                  </a:lnTo>
                  <a:lnTo>
                    <a:pt x="685" y="2077"/>
                  </a:lnTo>
                  <a:lnTo>
                    <a:pt x="687" y="2077"/>
                  </a:lnTo>
                  <a:lnTo>
                    <a:pt x="687" y="2075"/>
                  </a:lnTo>
                  <a:lnTo>
                    <a:pt x="687" y="2077"/>
                  </a:lnTo>
                  <a:lnTo>
                    <a:pt x="689" y="2077"/>
                  </a:lnTo>
                  <a:lnTo>
                    <a:pt x="687" y="2077"/>
                  </a:lnTo>
                  <a:lnTo>
                    <a:pt x="687" y="2079"/>
                  </a:lnTo>
                  <a:lnTo>
                    <a:pt x="689" y="2079"/>
                  </a:lnTo>
                  <a:lnTo>
                    <a:pt x="691" y="2081"/>
                  </a:lnTo>
                  <a:lnTo>
                    <a:pt x="691" y="2083"/>
                  </a:lnTo>
                  <a:lnTo>
                    <a:pt x="689" y="2086"/>
                  </a:lnTo>
                  <a:lnTo>
                    <a:pt x="687" y="2088"/>
                  </a:lnTo>
                  <a:lnTo>
                    <a:pt x="689" y="2086"/>
                  </a:lnTo>
                  <a:lnTo>
                    <a:pt x="687" y="2084"/>
                  </a:lnTo>
                  <a:lnTo>
                    <a:pt x="687" y="2086"/>
                  </a:lnTo>
                  <a:lnTo>
                    <a:pt x="685" y="2086"/>
                  </a:lnTo>
                  <a:lnTo>
                    <a:pt x="685" y="2088"/>
                  </a:lnTo>
                  <a:lnTo>
                    <a:pt x="683" y="2090"/>
                  </a:lnTo>
                  <a:lnTo>
                    <a:pt x="685" y="2092"/>
                  </a:lnTo>
                  <a:lnTo>
                    <a:pt x="687" y="2090"/>
                  </a:lnTo>
                  <a:lnTo>
                    <a:pt x="685" y="2092"/>
                  </a:lnTo>
                  <a:lnTo>
                    <a:pt x="683" y="2096"/>
                  </a:lnTo>
                  <a:lnTo>
                    <a:pt x="683" y="2094"/>
                  </a:lnTo>
                  <a:lnTo>
                    <a:pt x="683" y="2092"/>
                  </a:lnTo>
                  <a:lnTo>
                    <a:pt x="683" y="2094"/>
                  </a:lnTo>
                  <a:lnTo>
                    <a:pt x="681" y="2094"/>
                  </a:lnTo>
                  <a:lnTo>
                    <a:pt x="681" y="2096"/>
                  </a:lnTo>
                  <a:lnTo>
                    <a:pt x="681" y="2098"/>
                  </a:lnTo>
                  <a:lnTo>
                    <a:pt x="680" y="2100"/>
                  </a:lnTo>
                  <a:lnTo>
                    <a:pt x="678" y="2100"/>
                  </a:lnTo>
                  <a:lnTo>
                    <a:pt x="678" y="2102"/>
                  </a:lnTo>
                  <a:lnTo>
                    <a:pt x="676" y="2102"/>
                  </a:lnTo>
                  <a:lnTo>
                    <a:pt x="672" y="2104"/>
                  </a:lnTo>
                  <a:lnTo>
                    <a:pt x="670" y="2104"/>
                  </a:lnTo>
                  <a:lnTo>
                    <a:pt x="668" y="2106"/>
                  </a:lnTo>
                  <a:lnTo>
                    <a:pt x="668" y="2107"/>
                  </a:lnTo>
                  <a:lnTo>
                    <a:pt x="668" y="2106"/>
                  </a:lnTo>
                  <a:lnTo>
                    <a:pt x="666" y="2106"/>
                  </a:lnTo>
                  <a:lnTo>
                    <a:pt x="666" y="2107"/>
                  </a:lnTo>
                  <a:lnTo>
                    <a:pt x="668" y="2107"/>
                  </a:lnTo>
                  <a:lnTo>
                    <a:pt x="666" y="2109"/>
                  </a:lnTo>
                  <a:lnTo>
                    <a:pt x="664" y="2109"/>
                  </a:lnTo>
                  <a:lnTo>
                    <a:pt x="662" y="2111"/>
                  </a:lnTo>
                  <a:lnTo>
                    <a:pt x="664" y="2111"/>
                  </a:lnTo>
                  <a:lnTo>
                    <a:pt x="662" y="2111"/>
                  </a:lnTo>
                  <a:lnTo>
                    <a:pt x="662" y="2113"/>
                  </a:lnTo>
                  <a:lnTo>
                    <a:pt x="660" y="2113"/>
                  </a:lnTo>
                  <a:lnTo>
                    <a:pt x="660" y="2115"/>
                  </a:lnTo>
                  <a:lnTo>
                    <a:pt x="660" y="2113"/>
                  </a:lnTo>
                  <a:lnTo>
                    <a:pt x="660" y="2115"/>
                  </a:lnTo>
                  <a:lnTo>
                    <a:pt x="662" y="2115"/>
                  </a:lnTo>
                  <a:lnTo>
                    <a:pt x="660" y="2115"/>
                  </a:lnTo>
                  <a:lnTo>
                    <a:pt x="658" y="2115"/>
                  </a:lnTo>
                  <a:lnTo>
                    <a:pt x="658" y="2117"/>
                  </a:lnTo>
                  <a:lnTo>
                    <a:pt x="657" y="2117"/>
                  </a:lnTo>
                  <a:lnTo>
                    <a:pt x="655" y="2119"/>
                  </a:lnTo>
                  <a:lnTo>
                    <a:pt x="651" y="2121"/>
                  </a:lnTo>
                  <a:lnTo>
                    <a:pt x="647" y="2121"/>
                  </a:lnTo>
                  <a:lnTo>
                    <a:pt x="645" y="2121"/>
                  </a:lnTo>
                  <a:lnTo>
                    <a:pt x="643" y="2119"/>
                  </a:lnTo>
                  <a:lnTo>
                    <a:pt x="643" y="2117"/>
                  </a:lnTo>
                  <a:lnTo>
                    <a:pt x="641" y="2119"/>
                  </a:lnTo>
                  <a:lnTo>
                    <a:pt x="641" y="2117"/>
                  </a:lnTo>
                  <a:lnTo>
                    <a:pt x="639" y="2117"/>
                  </a:lnTo>
                  <a:lnTo>
                    <a:pt x="639" y="2115"/>
                  </a:lnTo>
                  <a:lnTo>
                    <a:pt x="635" y="2117"/>
                  </a:lnTo>
                  <a:lnTo>
                    <a:pt x="630" y="2121"/>
                  </a:lnTo>
                  <a:lnTo>
                    <a:pt x="630" y="2123"/>
                  </a:lnTo>
                  <a:lnTo>
                    <a:pt x="628" y="2123"/>
                  </a:lnTo>
                  <a:lnTo>
                    <a:pt x="626" y="2125"/>
                  </a:lnTo>
                  <a:lnTo>
                    <a:pt x="624" y="2125"/>
                  </a:lnTo>
                  <a:lnTo>
                    <a:pt x="622" y="2125"/>
                  </a:lnTo>
                  <a:lnTo>
                    <a:pt x="620" y="2125"/>
                  </a:lnTo>
                  <a:lnTo>
                    <a:pt x="620" y="2127"/>
                  </a:lnTo>
                  <a:lnTo>
                    <a:pt x="618" y="2127"/>
                  </a:lnTo>
                  <a:lnTo>
                    <a:pt x="620" y="2125"/>
                  </a:lnTo>
                  <a:lnTo>
                    <a:pt x="618" y="2125"/>
                  </a:lnTo>
                  <a:lnTo>
                    <a:pt x="618" y="2127"/>
                  </a:lnTo>
                  <a:lnTo>
                    <a:pt x="616" y="2127"/>
                  </a:lnTo>
                  <a:lnTo>
                    <a:pt x="612" y="2129"/>
                  </a:lnTo>
                  <a:lnTo>
                    <a:pt x="610" y="2129"/>
                  </a:lnTo>
                  <a:lnTo>
                    <a:pt x="607" y="2131"/>
                  </a:lnTo>
                  <a:lnTo>
                    <a:pt x="605" y="2132"/>
                  </a:lnTo>
                  <a:lnTo>
                    <a:pt x="603" y="2132"/>
                  </a:lnTo>
                  <a:lnTo>
                    <a:pt x="605" y="2132"/>
                  </a:lnTo>
                  <a:lnTo>
                    <a:pt x="605" y="2134"/>
                  </a:lnTo>
                  <a:lnTo>
                    <a:pt x="607" y="2136"/>
                  </a:lnTo>
                  <a:lnTo>
                    <a:pt x="609" y="2136"/>
                  </a:lnTo>
                  <a:lnTo>
                    <a:pt x="609" y="2138"/>
                  </a:lnTo>
                  <a:lnTo>
                    <a:pt x="610" y="2138"/>
                  </a:lnTo>
                  <a:lnTo>
                    <a:pt x="609" y="2138"/>
                  </a:lnTo>
                  <a:lnTo>
                    <a:pt x="607" y="2136"/>
                  </a:lnTo>
                  <a:lnTo>
                    <a:pt x="605" y="2134"/>
                  </a:lnTo>
                  <a:lnTo>
                    <a:pt x="605" y="2132"/>
                  </a:lnTo>
                  <a:lnTo>
                    <a:pt x="603" y="2132"/>
                  </a:lnTo>
                  <a:lnTo>
                    <a:pt x="601" y="2132"/>
                  </a:lnTo>
                  <a:lnTo>
                    <a:pt x="597" y="2132"/>
                  </a:lnTo>
                  <a:lnTo>
                    <a:pt x="595" y="2132"/>
                  </a:lnTo>
                  <a:lnTo>
                    <a:pt x="589" y="2131"/>
                  </a:lnTo>
                  <a:lnTo>
                    <a:pt x="587" y="2131"/>
                  </a:lnTo>
                  <a:lnTo>
                    <a:pt x="587" y="2132"/>
                  </a:lnTo>
                  <a:lnTo>
                    <a:pt x="586" y="2132"/>
                  </a:lnTo>
                  <a:lnTo>
                    <a:pt x="584" y="2134"/>
                  </a:lnTo>
                  <a:lnTo>
                    <a:pt x="576" y="2134"/>
                  </a:lnTo>
                  <a:lnTo>
                    <a:pt x="568" y="2134"/>
                  </a:lnTo>
                  <a:lnTo>
                    <a:pt x="566" y="2134"/>
                  </a:lnTo>
                  <a:lnTo>
                    <a:pt x="564" y="2132"/>
                  </a:lnTo>
                  <a:lnTo>
                    <a:pt x="564" y="2131"/>
                  </a:lnTo>
                  <a:lnTo>
                    <a:pt x="562" y="2132"/>
                  </a:lnTo>
                  <a:lnTo>
                    <a:pt x="561" y="2132"/>
                  </a:lnTo>
                  <a:lnTo>
                    <a:pt x="559" y="2134"/>
                  </a:lnTo>
                  <a:lnTo>
                    <a:pt x="561" y="2132"/>
                  </a:lnTo>
                  <a:lnTo>
                    <a:pt x="562" y="2132"/>
                  </a:lnTo>
                  <a:lnTo>
                    <a:pt x="562" y="2131"/>
                  </a:lnTo>
                  <a:lnTo>
                    <a:pt x="562" y="2129"/>
                  </a:lnTo>
                  <a:lnTo>
                    <a:pt x="557" y="2123"/>
                  </a:lnTo>
                  <a:lnTo>
                    <a:pt x="553" y="2117"/>
                  </a:lnTo>
                  <a:lnTo>
                    <a:pt x="551" y="2117"/>
                  </a:lnTo>
                  <a:lnTo>
                    <a:pt x="551" y="2121"/>
                  </a:lnTo>
                  <a:lnTo>
                    <a:pt x="551" y="2123"/>
                  </a:lnTo>
                  <a:lnTo>
                    <a:pt x="549" y="2123"/>
                  </a:lnTo>
                  <a:lnTo>
                    <a:pt x="551" y="2121"/>
                  </a:lnTo>
                  <a:lnTo>
                    <a:pt x="549" y="2121"/>
                  </a:lnTo>
                  <a:lnTo>
                    <a:pt x="549" y="2117"/>
                  </a:lnTo>
                  <a:lnTo>
                    <a:pt x="545" y="2104"/>
                  </a:lnTo>
                  <a:lnTo>
                    <a:pt x="543" y="2104"/>
                  </a:lnTo>
                  <a:lnTo>
                    <a:pt x="543" y="2102"/>
                  </a:lnTo>
                  <a:lnTo>
                    <a:pt x="541" y="2102"/>
                  </a:lnTo>
                  <a:lnTo>
                    <a:pt x="538" y="2107"/>
                  </a:lnTo>
                  <a:lnTo>
                    <a:pt x="536" y="2109"/>
                  </a:lnTo>
                  <a:lnTo>
                    <a:pt x="534" y="2111"/>
                  </a:lnTo>
                  <a:lnTo>
                    <a:pt x="532" y="2111"/>
                  </a:lnTo>
                  <a:lnTo>
                    <a:pt x="530" y="2111"/>
                  </a:lnTo>
                  <a:lnTo>
                    <a:pt x="528" y="2111"/>
                  </a:lnTo>
                  <a:lnTo>
                    <a:pt x="526" y="2111"/>
                  </a:lnTo>
                  <a:lnTo>
                    <a:pt x="528" y="2111"/>
                  </a:lnTo>
                  <a:lnTo>
                    <a:pt x="530" y="2111"/>
                  </a:lnTo>
                  <a:lnTo>
                    <a:pt x="532" y="2111"/>
                  </a:lnTo>
                  <a:lnTo>
                    <a:pt x="532" y="2109"/>
                  </a:lnTo>
                  <a:lnTo>
                    <a:pt x="534" y="2109"/>
                  </a:lnTo>
                  <a:lnTo>
                    <a:pt x="534" y="2107"/>
                  </a:lnTo>
                  <a:lnTo>
                    <a:pt x="530" y="2107"/>
                  </a:lnTo>
                  <a:lnTo>
                    <a:pt x="526" y="2107"/>
                  </a:lnTo>
                  <a:lnTo>
                    <a:pt x="526" y="2111"/>
                  </a:lnTo>
                  <a:lnTo>
                    <a:pt x="524" y="2109"/>
                  </a:lnTo>
                  <a:lnTo>
                    <a:pt x="522" y="2109"/>
                  </a:lnTo>
                  <a:lnTo>
                    <a:pt x="518" y="2107"/>
                  </a:lnTo>
                  <a:lnTo>
                    <a:pt x="516" y="2107"/>
                  </a:lnTo>
                  <a:lnTo>
                    <a:pt x="509" y="2104"/>
                  </a:lnTo>
                  <a:lnTo>
                    <a:pt x="509" y="2106"/>
                  </a:lnTo>
                  <a:lnTo>
                    <a:pt x="507" y="2107"/>
                  </a:lnTo>
                  <a:lnTo>
                    <a:pt x="509" y="2107"/>
                  </a:lnTo>
                  <a:lnTo>
                    <a:pt x="507" y="2107"/>
                  </a:lnTo>
                  <a:lnTo>
                    <a:pt x="507" y="2106"/>
                  </a:lnTo>
                  <a:lnTo>
                    <a:pt x="507" y="2104"/>
                  </a:lnTo>
                  <a:lnTo>
                    <a:pt x="507" y="2102"/>
                  </a:lnTo>
                  <a:lnTo>
                    <a:pt x="505" y="2104"/>
                  </a:lnTo>
                  <a:lnTo>
                    <a:pt x="503" y="2104"/>
                  </a:lnTo>
                  <a:lnTo>
                    <a:pt x="509" y="2102"/>
                  </a:lnTo>
                  <a:lnTo>
                    <a:pt x="511" y="2100"/>
                  </a:lnTo>
                  <a:lnTo>
                    <a:pt x="518" y="2094"/>
                  </a:lnTo>
                  <a:lnTo>
                    <a:pt x="520" y="2092"/>
                  </a:lnTo>
                  <a:lnTo>
                    <a:pt x="520" y="2090"/>
                  </a:lnTo>
                  <a:lnTo>
                    <a:pt x="522" y="2090"/>
                  </a:lnTo>
                  <a:lnTo>
                    <a:pt x="524" y="2090"/>
                  </a:lnTo>
                  <a:lnTo>
                    <a:pt x="524" y="2088"/>
                  </a:lnTo>
                  <a:lnTo>
                    <a:pt x="524" y="2090"/>
                  </a:lnTo>
                  <a:lnTo>
                    <a:pt x="526" y="2088"/>
                  </a:lnTo>
                  <a:lnTo>
                    <a:pt x="528" y="2086"/>
                  </a:lnTo>
                  <a:lnTo>
                    <a:pt x="530" y="2086"/>
                  </a:lnTo>
                  <a:lnTo>
                    <a:pt x="532" y="2086"/>
                  </a:lnTo>
                  <a:lnTo>
                    <a:pt x="534" y="2086"/>
                  </a:lnTo>
                  <a:lnTo>
                    <a:pt x="536" y="2084"/>
                  </a:lnTo>
                  <a:lnTo>
                    <a:pt x="538" y="2084"/>
                  </a:lnTo>
                  <a:lnTo>
                    <a:pt x="539" y="2084"/>
                  </a:lnTo>
                  <a:lnTo>
                    <a:pt x="541" y="2084"/>
                  </a:lnTo>
                  <a:lnTo>
                    <a:pt x="541" y="2083"/>
                  </a:lnTo>
                  <a:lnTo>
                    <a:pt x="539" y="2084"/>
                  </a:lnTo>
                  <a:lnTo>
                    <a:pt x="538" y="2084"/>
                  </a:lnTo>
                  <a:lnTo>
                    <a:pt x="536" y="2084"/>
                  </a:lnTo>
                  <a:lnTo>
                    <a:pt x="534" y="2084"/>
                  </a:lnTo>
                  <a:lnTo>
                    <a:pt x="534" y="2083"/>
                  </a:lnTo>
                  <a:lnTo>
                    <a:pt x="534" y="2084"/>
                  </a:lnTo>
                  <a:lnTo>
                    <a:pt x="536" y="2084"/>
                  </a:lnTo>
                  <a:lnTo>
                    <a:pt x="534" y="2084"/>
                  </a:lnTo>
                  <a:lnTo>
                    <a:pt x="532" y="2084"/>
                  </a:lnTo>
                  <a:lnTo>
                    <a:pt x="530" y="2084"/>
                  </a:lnTo>
                  <a:lnTo>
                    <a:pt x="528" y="2084"/>
                  </a:lnTo>
                  <a:lnTo>
                    <a:pt x="528" y="2086"/>
                  </a:lnTo>
                  <a:lnTo>
                    <a:pt x="526" y="2086"/>
                  </a:lnTo>
                  <a:lnTo>
                    <a:pt x="522" y="2090"/>
                  </a:lnTo>
                  <a:lnTo>
                    <a:pt x="520" y="2090"/>
                  </a:lnTo>
                  <a:lnTo>
                    <a:pt x="522" y="2090"/>
                  </a:lnTo>
                  <a:lnTo>
                    <a:pt x="520" y="2090"/>
                  </a:lnTo>
                  <a:lnTo>
                    <a:pt x="518" y="2092"/>
                  </a:lnTo>
                  <a:lnTo>
                    <a:pt x="511" y="2098"/>
                  </a:lnTo>
                  <a:lnTo>
                    <a:pt x="509" y="2098"/>
                  </a:lnTo>
                  <a:lnTo>
                    <a:pt x="507" y="2100"/>
                  </a:lnTo>
                  <a:lnTo>
                    <a:pt x="505" y="2102"/>
                  </a:lnTo>
                  <a:lnTo>
                    <a:pt x="503" y="2102"/>
                  </a:lnTo>
                  <a:lnTo>
                    <a:pt x="501" y="2104"/>
                  </a:lnTo>
                  <a:lnTo>
                    <a:pt x="501" y="2106"/>
                  </a:lnTo>
                  <a:lnTo>
                    <a:pt x="501" y="2104"/>
                  </a:lnTo>
                  <a:lnTo>
                    <a:pt x="501" y="2102"/>
                  </a:lnTo>
                  <a:lnTo>
                    <a:pt x="501" y="2100"/>
                  </a:lnTo>
                  <a:lnTo>
                    <a:pt x="503" y="2096"/>
                  </a:lnTo>
                  <a:lnTo>
                    <a:pt x="503" y="2088"/>
                  </a:lnTo>
                  <a:lnTo>
                    <a:pt x="503" y="2086"/>
                  </a:lnTo>
                  <a:lnTo>
                    <a:pt x="499" y="2081"/>
                  </a:lnTo>
                  <a:lnTo>
                    <a:pt x="499" y="2079"/>
                  </a:lnTo>
                  <a:lnTo>
                    <a:pt x="499" y="2081"/>
                  </a:lnTo>
                  <a:lnTo>
                    <a:pt x="501" y="2081"/>
                  </a:lnTo>
                  <a:lnTo>
                    <a:pt x="501" y="2079"/>
                  </a:lnTo>
                  <a:lnTo>
                    <a:pt x="501" y="2075"/>
                  </a:lnTo>
                  <a:lnTo>
                    <a:pt x="501" y="2071"/>
                  </a:lnTo>
                  <a:lnTo>
                    <a:pt x="499" y="2069"/>
                  </a:lnTo>
                  <a:lnTo>
                    <a:pt x="497" y="2067"/>
                  </a:lnTo>
                  <a:lnTo>
                    <a:pt x="495" y="2065"/>
                  </a:lnTo>
                  <a:lnTo>
                    <a:pt x="495" y="2063"/>
                  </a:lnTo>
                  <a:lnTo>
                    <a:pt x="495" y="2061"/>
                  </a:lnTo>
                  <a:lnTo>
                    <a:pt x="493" y="2061"/>
                  </a:lnTo>
                  <a:lnTo>
                    <a:pt x="493" y="2059"/>
                  </a:lnTo>
                  <a:lnTo>
                    <a:pt x="495" y="2054"/>
                  </a:lnTo>
                  <a:lnTo>
                    <a:pt x="490" y="2048"/>
                  </a:lnTo>
                  <a:lnTo>
                    <a:pt x="488" y="2044"/>
                  </a:lnTo>
                  <a:lnTo>
                    <a:pt x="486" y="2044"/>
                  </a:lnTo>
                  <a:lnTo>
                    <a:pt x="486" y="2042"/>
                  </a:lnTo>
                  <a:lnTo>
                    <a:pt x="482" y="2040"/>
                  </a:lnTo>
                  <a:lnTo>
                    <a:pt x="480" y="2036"/>
                  </a:lnTo>
                  <a:lnTo>
                    <a:pt x="480" y="2038"/>
                  </a:lnTo>
                  <a:lnTo>
                    <a:pt x="478" y="2038"/>
                  </a:lnTo>
                  <a:lnTo>
                    <a:pt x="480" y="2038"/>
                  </a:lnTo>
                  <a:lnTo>
                    <a:pt x="480" y="2036"/>
                  </a:lnTo>
                  <a:lnTo>
                    <a:pt x="478" y="2036"/>
                  </a:lnTo>
                  <a:lnTo>
                    <a:pt x="478" y="2038"/>
                  </a:lnTo>
                  <a:lnTo>
                    <a:pt x="478" y="2036"/>
                  </a:lnTo>
                  <a:lnTo>
                    <a:pt x="478" y="2038"/>
                  </a:lnTo>
                  <a:lnTo>
                    <a:pt x="478" y="2036"/>
                  </a:lnTo>
                  <a:lnTo>
                    <a:pt x="478" y="2038"/>
                  </a:lnTo>
                  <a:lnTo>
                    <a:pt x="478" y="2036"/>
                  </a:lnTo>
                  <a:lnTo>
                    <a:pt x="476" y="2038"/>
                  </a:lnTo>
                  <a:lnTo>
                    <a:pt x="474" y="2038"/>
                  </a:lnTo>
                  <a:lnTo>
                    <a:pt x="472" y="2038"/>
                  </a:lnTo>
                  <a:lnTo>
                    <a:pt x="470" y="2038"/>
                  </a:lnTo>
                  <a:lnTo>
                    <a:pt x="472" y="2038"/>
                  </a:lnTo>
                  <a:lnTo>
                    <a:pt x="470" y="2036"/>
                  </a:lnTo>
                  <a:lnTo>
                    <a:pt x="468" y="2036"/>
                  </a:lnTo>
                  <a:lnTo>
                    <a:pt x="470" y="2038"/>
                  </a:lnTo>
                  <a:lnTo>
                    <a:pt x="468" y="2038"/>
                  </a:lnTo>
                  <a:lnTo>
                    <a:pt x="468" y="2036"/>
                  </a:lnTo>
                  <a:lnTo>
                    <a:pt x="467" y="2034"/>
                  </a:lnTo>
                  <a:lnTo>
                    <a:pt x="465" y="2034"/>
                  </a:lnTo>
                  <a:lnTo>
                    <a:pt x="457" y="2031"/>
                  </a:lnTo>
                  <a:lnTo>
                    <a:pt x="457" y="2029"/>
                  </a:lnTo>
                  <a:lnTo>
                    <a:pt x="455" y="2029"/>
                  </a:lnTo>
                  <a:lnTo>
                    <a:pt x="451" y="2027"/>
                  </a:lnTo>
                  <a:lnTo>
                    <a:pt x="449" y="2027"/>
                  </a:lnTo>
                  <a:lnTo>
                    <a:pt x="447" y="2025"/>
                  </a:lnTo>
                  <a:lnTo>
                    <a:pt x="445" y="2025"/>
                  </a:lnTo>
                  <a:lnTo>
                    <a:pt x="442" y="2021"/>
                  </a:lnTo>
                  <a:lnTo>
                    <a:pt x="445" y="2025"/>
                  </a:lnTo>
                  <a:lnTo>
                    <a:pt x="447" y="2025"/>
                  </a:lnTo>
                  <a:lnTo>
                    <a:pt x="449" y="2025"/>
                  </a:lnTo>
                  <a:lnTo>
                    <a:pt x="451" y="2027"/>
                  </a:lnTo>
                  <a:lnTo>
                    <a:pt x="451" y="2023"/>
                  </a:lnTo>
                  <a:lnTo>
                    <a:pt x="451" y="2021"/>
                  </a:lnTo>
                  <a:lnTo>
                    <a:pt x="449" y="2021"/>
                  </a:lnTo>
                  <a:lnTo>
                    <a:pt x="451" y="2021"/>
                  </a:lnTo>
                  <a:lnTo>
                    <a:pt x="453" y="2023"/>
                  </a:lnTo>
                  <a:lnTo>
                    <a:pt x="453" y="2021"/>
                  </a:lnTo>
                  <a:lnTo>
                    <a:pt x="453" y="2019"/>
                  </a:lnTo>
                  <a:lnTo>
                    <a:pt x="453" y="2017"/>
                  </a:lnTo>
                  <a:lnTo>
                    <a:pt x="451" y="2015"/>
                  </a:lnTo>
                  <a:lnTo>
                    <a:pt x="449" y="2013"/>
                  </a:lnTo>
                  <a:lnTo>
                    <a:pt x="449" y="2011"/>
                  </a:lnTo>
                  <a:lnTo>
                    <a:pt x="447" y="2010"/>
                  </a:lnTo>
                  <a:lnTo>
                    <a:pt x="445" y="2008"/>
                  </a:lnTo>
                  <a:lnTo>
                    <a:pt x="443" y="2008"/>
                  </a:lnTo>
                  <a:lnTo>
                    <a:pt x="443" y="2006"/>
                  </a:lnTo>
                  <a:lnTo>
                    <a:pt x="443" y="2008"/>
                  </a:lnTo>
                  <a:lnTo>
                    <a:pt x="442" y="2008"/>
                  </a:lnTo>
                  <a:lnTo>
                    <a:pt x="440" y="2008"/>
                  </a:lnTo>
                  <a:lnTo>
                    <a:pt x="440" y="2006"/>
                  </a:lnTo>
                  <a:lnTo>
                    <a:pt x="438" y="2006"/>
                  </a:lnTo>
                  <a:lnTo>
                    <a:pt x="436" y="2008"/>
                  </a:lnTo>
                  <a:lnTo>
                    <a:pt x="434" y="2008"/>
                  </a:lnTo>
                  <a:lnTo>
                    <a:pt x="432" y="2008"/>
                  </a:lnTo>
                  <a:lnTo>
                    <a:pt x="430" y="2006"/>
                  </a:lnTo>
                  <a:lnTo>
                    <a:pt x="430" y="2008"/>
                  </a:lnTo>
                  <a:lnTo>
                    <a:pt x="428" y="2008"/>
                  </a:lnTo>
                  <a:lnTo>
                    <a:pt x="426" y="2008"/>
                  </a:lnTo>
                  <a:lnTo>
                    <a:pt x="422" y="2010"/>
                  </a:lnTo>
                  <a:lnTo>
                    <a:pt x="422" y="2011"/>
                  </a:lnTo>
                  <a:lnTo>
                    <a:pt x="420" y="2013"/>
                  </a:lnTo>
                  <a:lnTo>
                    <a:pt x="422" y="2013"/>
                  </a:lnTo>
                  <a:lnTo>
                    <a:pt x="420" y="2013"/>
                  </a:lnTo>
                  <a:lnTo>
                    <a:pt x="420" y="2015"/>
                  </a:lnTo>
                  <a:lnTo>
                    <a:pt x="419" y="2015"/>
                  </a:lnTo>
                  <a:lnTo>
                    <a:pt x="419" y="2017"/>
                  </a:lnTo>
                  <a:lnTo>
                    <a:pt x="420" y="2017"/>
                  </a:lnTo>
                  <a:lnTo>
                    <a:pt x="424" y="2015"/>
                  </a:lnTo>
                  <a:lnTo>
                    <a:pt x="434" y="2015"/>
                  </a:lnTo>
                  <a:lnTo>
                    <a:pt x="436" y="2015"/>
                  </a:lnTo>
                  <a:lnTo>
                    <a:pt x="436" y="2017"/>
                  </a:lnTo>
                  <a:lnTo>
                    <a:pt x="436" y="2015"/>
                  </a:lnTo>
                  <a:lnTo>
                    <a:pt x="434" y="2015"/>
                  </a:lnTo>
                  <a:lnTo>
                    <a:pt x="424" y="2017"/>
                  </a:lnTo>
                  <a:lnTo>
                    <a:pt x="415" y="2021"/>
                  </a:lnTo>
                  <a:lnTo>
                    <a:pt x="413" y="2021"/>
                  </a:lnTo>
                  <a:lnTo>
                    <a:pt x="409" y="2023"/>
                  </a:lnTo>
                  <a:lnTo>
                    <a:pt x="405" y="2027"/>
                  </a:lnTo>
                  <a:lnTo>
                    <a:pt x="403" y="2027"/>
                  </a:lnTo>
                  <a:lnTo>
                    <a:pt x="396" y="2031"/>
                  </a:lnTo>
                  <a:lnTo>
                    <a:pt x="394" y="2031"/>
                  </a:lnTo>
                  <a:lnTo>
                    <a:pt x="394" y="2033"/>
                  </a:lnTo>
                  <a:lnTo>
                    <a:pt x="394" y="2031"/>
                  </a:lnTo>
                  <a:lnTo>
                    <a:pt x="392" y="2033"/>
                  </a:lnTo>
                  <a:lnTo>
                    <a:pt x="390" y="2033"/>
                  </a:lnTo>
                  <a:lnTo>
                    <a:pt x="390" y="2034"/>
                  </a:lnTo>
                  <a:lnTo>
                    <a:pt x="392" y="2034"/>
                  </a:lnTo>
                  <a:lnTo>
                    <a:pt x="394" y="2033"/>
                  </a:lnTo>
                  <a:lnTo>
                    <a:pt x="394" y="2034"/>
                  </a:lnTo>
                  <a:lnTo>
                    <a:pt x="392" y="2034"/>
                  </a:lnTo>
                  <a:lnTo>
                    <a:pt x="392" y="2036"/>
                  </a:lnTo>
                  <a:lnTo>
                    <a:pt x="392" y="2034"/>
                  </a:lnTo>
                  <a:lnTo>
                    <a:pt x="390" y="2034"/>
                  </a:lnTo>
                  <a:lnTo>
                    <a:pt x="390" y="2036"/>
                  </a:lnTo>
                  <a:lnTo>
                    <a:pt x="388" y="2036"/>
                  </a:lnTo>
                  <a:lnTo>
                    <a:pt x="386" y="2036"/>
                  </a:lnTo>
                  <a:lnTo>
                    <a:pt x="382" y="2034"/>
                  </a:lnTo>
                  <a:lnTo>
                    <a:pt x="378" y="2036"/>
                  </a:lnTo>
                  <a:lnTo>
                    <a:pt x="372" y="2036"/>
                  </a:lnTo>
                  <a:lnTo>
                    <a:pt x="374" y="2038"/>
                  </a:lnTo>
                  <a:lnTo>
                    <a:pt x="376" y="2038"/>
                  </a:lnTo>
                  <a:lnTo>
                    <a:pt x="374" y="2038"/>
                  </a:lnTo>
                  <a:lnTo>
                    <a:pt x="372" y="2038"/>
                  </a:lnTo>
                  <a:lnTo>
                    <a:pt x="371" y="2038"/>
                  </a:lnTo>
                  <a:lnTo>
                    <a:pt x="365" y="2040"/>
                  </a:lnTo>
                  <a:lnTo>
                    <a:pt x="363" y="2040"/>
                  </a:lnTo>
                  <a:lnTo>
                    <a:pt x="363" y="2044"/>
                  </a:lnTo>
                  <a:lnTo>
                    <a:pt x="361" y="2044"/>
                  </a:lnTo>
                  <a:lnTo>
                    <a:pt x="361" y="2046"/>
                  </a:lnTo>
                  <a:lnTo>
                    <a:pt x="361" y="2048"/>
                  </a:lnTo>
                  <a:lnTo>
                    <a:pt x="361" y="2058"/>
                  </a:lnTo>
                  <a:lnTo>
                    <a:pt x="361" y="2059"/>
                  </a:lnTo>
                  <a:lnTo>
                    <a:pt x="363" y="2059"/>
                  </a:lnTo>
                  <a:lnTo>
                    <a:pt x="365" y="2059"/>
                  </a:lnTo>
                  <a:lnTo>
                    <a:pt x="365" y="2061"/>
                  </a:lnTo>
                  <a:lnTo>
                    <a:pt x="363" y="2063"/>
                  </a:lnTo>
                  <a:lnTo>
                    <a:pt x="363" y="2065"/>
                  </a:lnTo>
                  <a:lnTo>
                    <a:pt x="365" y="2065"/>
                  </a:lnTo>
                  <a:lnTo>
                    <a:pt x="367" y="2065"/>
                  </a:lnTo>
                  <a:lnTo>
                    <a:pt x="369" y="2065"/>
                  </a:lnTo>
                  <a:lnTo>
                    <a:pt x="369" y="2063"/>
                  </a:lnTo>
                  <a:lnTo>
                    <a:pt x="367" y="2061"/>
                  </a:lnTo>
                  <a:lnTo>
                    <a:pt x="369" y="2061"/>
                  </a:lnTo>
                  <a:lnTo>
                    <a:pt x="369" y="2063"/>
                  </a:lnTo>
                  <a:lnTo>
                    <a:pt x="367" y="2065"/>
                  </a:lnTo>
                  <a:lnTo>
                    <a:pt x="365" y="2065"/>
                  </a:lnTo>
                  <a:lnTo>
                    <a:pt x="363" y="2065"/>
                  </a:lnTo>
                  <a:lnTo>
                    <a:pt x="361" y="2065"/>
                  </a:lnTo>
                  <a:lnTo>
                    <a:pt x="359" y="2065"/>
                  </a:lnTo>
                  <a:lnTo>
                    <a:pt x="357" y="2067"/>
                  </a:lnTo>
                  <a:lnTo>
                    <a:pt x="351" y="2077"/>
                  </a:lnTo>
                  <a:lnTo>
                    <a:pt x="353" y="2079"/>
                  </a:lnTo>
                  <a:lnTo>
                    <a:pt x="351" y="2079"/>
                  </a:lnTo>
                  <a:lnTo>
                    <a:pt x="351" y="2077"/>
                  </a:lnTo>
                  <a:lnTo>
                    <a:pt x="349" y="2081"/>
                  </a:lnTo>
                  <a:lnTo>
                    <a:pt x="351" y="2083"/>
                  </a:lnTo>
                  <a:lnTo>
                    <a:pt x="351" y="2081"/>
                  </a:lnTo>
                  <a:lnTo>
                    <a:pt x="351" y="2083"/>
                  </a:lnTo>
                  <a:lnTo>
                    <a:pt x="353" y="2081"/>
                  </a:lnTo>
                  <a:lnTo>
                    <a:pt x="353" y="2079"/>
                  </a:lnTo>
                  <a:lnTo>
                    <a:pt x="353" y="2081"/>
                  </a:lnTo>
                  <a:lnTo>
                    <a:pt x="355" y="2081"/>
                  </a:lnTo>
                  <a:lnTo>
                    <a:pt x="353" y="2083"/>
                  </a:lnTo>
                  <a:lnTo>
                    <a:pt x="351" y="2084"/>
                  </a:lnTo>
                  <a:lnTo>
                    <a:pt x="349" y="2084"/>
                  </a:lnTo>
                  <a:lnTo>
                    <a:pt x="349" y="2086"/>
                  </a:lnTo>
                  <a:lnTo>
                    <a:pt x="349" y="2088"/>
                  </a:lnTo>
                  <a:lnTo>
                    <a:pt x="349" y="2086"/>
                  </a:lnTo>
                  <a:lnTo>
                    <a:pt x="348" y="2086"/>
                  </a:lnTo>
                  <a:lnTo>
                    <a:pt x="348" y="2088"/>
                  </a:lnTo>
                  <a:lnTo>
                    <a:pt x="346" y="2088"/>
                  </a:lnTo>
                  <a:lnTo>
                    <a:pt x="346" y="2090"/>
                  </a:lnTo>
                  <a:lnTo>
                    <a:pt x="349" y="2094"/>
                  </a:lnTo>
                  <a:lnTo>
                    <a:pt x="351" y="2092"/>
                  </a:lnTo>
                  <a:lnTo>
                    <a:pt x="353" y="2092"/>
                  </a:lnTo>
                  <a:lnTo>
                    <a:pt x="351" y="2092"/>
                  </a:lnTo>
                  <a:lnTo>
                    <a:pt x="357" y="2098"/>
                  </a:lnTo>
                  <a:lnTo>
                    <a:pt x="361" y="2096"/>
                  </a:lnTo>
                  <a:lnTo>
                    <a:pt x="361" y="2094"/>
                  </a:lnTo>
                  <a:lnTo>
                    <a:pt x="357" y="2092"/>
                  </a:lnTo>
                  <a:lnTo>
                    <a:pt x="357" y="2090"/>
                  </a:lnTo>
                  <a:lnTo>
                    <a:pt x="361" y="2094"/>
                  </a:lnTo>
                  <a:lnTo>
                    <a:pt x="363" y="2092"/>
                  </a:lnTo>
                  <a:lnTo>
                    <a:pt x="365" y="2090"/>
                  </a:lnTo>
                  <a:lnTo>
                    <a:pt x="357" y="2084"/>
                  </a:lnTo>
                  <a:lnTo>
                    <a:pt x="359" y="2084"/>
                  </a:lnTo>
                  <a:lnTo>
                    <a:pt x="365" y="2090"/>
                  </a:lnTo>
                  <a:lnTo>
                    <a:pt x="365" y="2092"/>
                  </a:lnTo>
                  <a:lnTo>
                    <a:pt x="359" y="2098"/>
                  </a:lnTo>
                  <a:lnTo>
                    <a:pt x="357" y="2098"/>
                  </a:lnTo>
                  <a:lnTo>
                    <a:pt x="355" y="2102"/>
                  </a:lnTo>
                  <a:lnTo>
                    <a:pt x="351" y="2098"/>
                  </a:lnTo>
                  <a:lnTo>
                    <a:pt x="353" y="2096"/>
                  </a:lnTo>
                  <a:lnTo>
                    <a:pt x="351" y="2096"/>
                  </a:lnTo>
                  <a:lnTo>
                    <a:pt x="346" y="2092"/>
                  </a:lnTo>
                  <a:lnTo>
                    <a:pt x="344" y="2092"/>
                  </a:lnTo>
                  <a:lnTo>
                    <a:pt x="342" y="2094"/>
                  </a:lnTo>
                  <a:lnTo>
                    <a:pt x="340" y="2094"/>
                  </a:lnTo>
                  <a:lnTo>
                    <a:pt x="340" y="2096"/>
                  </a:lnTo>
                  <a:lnTo>
                    <a:pt x="342" y="2100"/>
                  </a:lnTo>
                  <a:lnTo>
                    <a:pt x="342" y="2102"/>
                  </a:lnTo>
                  <a:lnTo>
                    <a:pt x="340" y="2104"/>
                  </a:lnTo>
                  <a:lnTo>
                    <a:pt x="338" y="2104"/>
                  </a:lnTo>
                  <a:lnTo>
                    <a:pt x="340" y="2104"/>
                  </a:lnTo>
                  <a:lnTo>
                    <a:pt x="342" y="2102"/>
                  </a:lnTo>
                  <a:lnTo>
                    <a:pt x="340" y="2100"/>
                  </a:lnTo>
                  <a:lnTo>
                    <a:pt x="340" y="2098"/>
                  </a:lnTo>
                  <a:lnTo>
                    <a:pt x="338" y="2096"/>
                  </a:lnTo>
                  <a:lnTo>
                    <a:pt x="336" y="2094"/>
                  </a:lnTo>
                  <a:lnTo>
                    <a:pt x="334" y="2094"/>
                  </a:lnTo>
                  <a:lnTo>
                    <a:pt x="332" y="2096"/>
                  </a:lnTo>
                  <a:lnTo>
                    <a:pt x="332" y="2098"/>
                  </a:lnTo>
                  <a:lnTo>
                    <a:pt x="330" y="2098"/>
                  </a:lnTo>
                  <a:lnTo>
                    <a:pt x="328" y="2100"/>
                  </a:lnTo>
                  <a:lnTo>
                    <a:pt x="328" y="2102"/>
                  </a:lnTo>
                  <a:lnTo>
                    <a:pt x="330" y="2104"/>
                  </a:lnTo>
                  <a:lnTo>
                    <a:pt x="332" y="2106"/>
                  </a:lnTo>
                  <a:lnTo>
                    <a:pt x="332" y="2107"/>
                  </a:lnTo>
                  <a:lnTo>
                    <a:pt x="334" y="2107"/>
                  </a:lnTo>
                  <a:lnTo>
                    <a:pt x="336" y="2106"/>
                  </a:lnTo>
                  <a:lnTo>
                    <a:pt x="336" y="2107"/>
                  </a:lnTo>
                  <a:lnTo>
                    <a:pt x="334" y="2107"/>
                  </a:lnTo>
                  <a:lnTo>
                    <a:pt x="332" y="2107"/>
                  </a:lnTo>
                  <a:lnTo>
                    <a:pt x="330" y="2107"/>
                  </a:lnTo>
                  <a:lnTo>
                    <a:pt x="330" y="2106"/>
                  </a:lnTo>
                  <a:lnTo>
                    <a:pt x="328" y="2106"/>
                  </a:lnTo>
                  <a:lnTo>
                    <a:pt x="328" y="2107"/>
                  </a:lnTo>
                  <a:lnTo>
                    <a:pt x="328" y="2106"/>
                  </a:lnTo>
                  <a:lnTo>
                    <a:pt x="328" y="2104"/>
                  </a:lnTo>
                  <a:lnTo>
                    <a:pt x="326" y="2104"/>
                  </a:lnTo>
                  <a:lnTo>
                    <a:pt x="325" y="2104"/>
                  </a:lnTo>
                  <a:lnTo>
                    <a:pt x="325" y="2106"/>
                  </a:lnTo>
                  <a:lnTo>
                    <a:pt x="325" y="2107"/>
                  </a:lnTo>
                  <a:lnTo>
                    <a:pt x="323" y="2107"/>
                  </a:lnTo>
                  <a:lnTo>
                    <a:pt x="325" y="2107"/>
                  </a:lnTo>
                  <a:lnTo>
                    <a:pt x="323" y="2109"/>
                  </a:lnTo>
                  <a:lnTo>
                    <a:pt x="326" y="2111"/>
                  </a:lnTo>
                  <a:lnTo>
                    <a:pt x="328" y="2111"/>
                  </a:lnTo>
                  <a:lnTo>
                    <a:pt x="330" y="2109"/>
                  </a:lnTo>
                  <a:lnTo>
                    <a:pt x="330" y="2111"/>
                  </a:lnTo>
                  <a:lnTo>
                    <a:pt x="328" y="2111"/>
                  </a:lnTo>
                  <a:lnTo>
                    <a:pt x="326" y="2111"/>
                  </a:lnTo>
                  <a:lnTo>
                    <a:pt x="323" y="2111"/>
                  </a:lnTo>
                  <a:lnTo>
                    <a:pt x="321" y="2111"/>
                  </a:lnTo>
                  <a:lnTo>
                    <a:pt x="319" y="2131"/>
                  </a:lnTo>
                  <a:lnTo>
                    <a:pt x="319" y="2132"/>
                  </a:lnTo>
                  <a:lnTo>
                    <a:pt x="321" y="2132"/>
                  </a:lnTo>
                  <a:lnTo>
                    <a:pt x="319" y="2134"/>
                  </a:lnTo>
                  <a:lnTo>
                    <a:pt x="319" y="2136"/>
                  </a:lnTo>
                  <a:lnTo>
                    <a:pt x="321" y="2136"/>
                  </a:lnTo>
                  <a:lnTo>
                    <a:pt x="323" y="2136"/>
                  </a:lnTo>
                  <a:lnTo>
                    <a:pt x="323" y="2134"/>
                  </a:lnTo>
                  <a:lnTo>
                    <a:pt x="323" y="2132"/>
                  </a:lnTo>
                  <a:lnTo>
                    <a:pt x="325" y="2132"/>
                  </a:lnTo>
                  <a:lnTo>
                    <a:pt x="323" y="2132"/>
                  </a:lnTo>
                  <a:lnTo>
                    <a:pt x="325" y="2132"/>
                  </a:lnTo>
                  <a:lnTo>
                    <a:pt x="325" y="2134"/>
                  </a:lnTo>
                  <a:lnTo>
                    <a:pt x="325" y="2136"/>
                  </a:lnTo>
                  <a:lnTo>
                    <a:pt x="326" y="2136"/>
                  </a:lnTo>
                  <a:lnTo>
                    <a:pt x="328" y="2136"/>
                  </a:lnTo>
                  <a:lnTo>
                    <a:pt x="330" y="2136"/>
                  </a:lnTo>
                  <a:lnTo>
                    <a:pt x="332" y="2134"/>
                  </a:lnTo>
                  <a:lnTo>
                    <a:pt x="334" y="2132"/>
                  </a:lnTo>
                  <a:lnTo>
                    <a:pt x="334" y="2134"/>
                  </a:lnTo>
                  <a:lnTo>
                    <a:pt x="332" y="2134"/>
                  </a:lnTo>
                  <a:lnTo>
                    <a:pt x="332" y="2136"/>
                  </a:lnTo>
                  <a:lnTo>
                    <a:pt x="334" y="2136"/>
                  </a:lnTo>
                  <a:lnTo>
                    <a:pt x="336" y="2138"/>
                  </a:lnTo>
                  <a:lnTo>
                    <a:pt x="340" y="2142"/>
                  </a:lnTo>
                  <a:lnTo>
                    <a:pt x="342" y="2142"/>
                  </a:lnTo>
                  <a:lnTo>
                    <a:pt x="344" y="2142"/>
                  </a:lnTo>
                  <a:lnTo>
                    <a:pt x="346" y="2142"/>
                  </a:lnTo>
                  <a:lnTo>
                    <a:pt x="349" y="2142"/>
                  </a:lnTo>
                  <a:lnTo>
                    <a:pt x="348" y="2142"/>
                  </a:lnTo>
                  <a:lnTo>
                    <a:pt x="346" y="2142"/>
                  </a:lnTo>
                  <a:lnTo>
                    <a:pt x="344" y="2142"/>
                  </a:lnTo>
                  <a:lnTo>
                    <a:pt x="344" y="2144"/>
                  </a:lnTo>
                  <a:lnTo>
                    <a:pt x="346" y="2144"/>
                  </a:lnTo>
                  <a:lnTo>
                    <a:pt x="344" y="2144"/>
                  </a:lnTo>
                  <a:lnTo>
                    <a:pt x="346" y="2146"/>
                  </a:lnTo>
                  <a:lnTo>
                    <a:pt x="346" y="2148"/>
                  </a:lnTo>
                  <a:lnTo>
                    <a:pt x="346" y="2146"/>
                  </a:lnTo>
                  <a:lnTo>
                    <a:pt x="346" y="2148"/>
                  </a:lnTo>
                  <a:lnTo>
                    <a:pt x="348" y="2148"/>
                  </a:lnTo>
                  <a:lnTo>
                    <a:pt x="349" y="2146"/>
                  </a:lnTo>
                  <a:lnTo>
                    <a:pt x="349" y="2148"/>
                  </a:lnTo>
                  <a:lnTo>
                    <a:pt x="349" y="2144"/>
                  </a:lnTo>
                  <a:lnTo>
                    <a:pt x="349" y="2146"/>
                  </a:lnTo>
                  <a:lnTo>
                    <a:pt x="351" y="2146"/>
                  </a:lnTo>
                  <a:lnTo>
                    <a:pt x="351" y="2148"/>
                  </a:lnTo>
                  <a:lnTo>
                    <a:pt x="353" y="2148"/>
                  </a:lnTo>
                  <a:lnTo>
                    <a:pt x="355" y="2148"/>
                  </a:lnTo>
                  <a:lnTo>
                    <a:pt x="357" y="2148"/>
                  </a:lnTo>
                  <a:lnTo>
                    <a:pt x="359" y="2146"/>
                  </a:lnTo>
                  <a:lnTo>
                    <a:pt x="361" y="2146"/>
                  </a:lnTo>
                  <a:lnTo>
                    <a:pt x="363" y="2146"/>
                  </a:lnTo>
                  <a:lnTo>
                    <a:pt x="363" y="2144"/>
                  </a:lnTo>
                  <a:lnTo>
                    <a:pt x="365" y="2144"/>
                  </a:lnTo>
                  <a:lnTo>
                    <a:pt x="367" y="2144"/>
                  </a:lnTo>
                  <a:lnTo>
                    <a:pt x="369" y="2146"/>
                  </a:lnTo>
                  <a:lnTo>
                    <a:pt x="369" y="2144"/>
                  </a:lnTo>
                  <a:lnTo>
                    <a:pt x="371" y="2144"/>
                  </a:lnTo>
                  <a:lnTo>
                    <a:pt x="372" y="2142"/>
                  </a:lnTo>
                  <a:lnTo>
                    <a:pt x="374" y="2142"/>
                  </a:lnTo>
                  <a:lnTo>
                    <a:pt x="378" y="2142"/>
                  </a:lnTo>
                  <a:lnTo>
                    <a:pt x="378" y="2140"/>
                  </a:lnTo>
                  <a:lnTo>
                    <a:pt x="378" y="2138"/>
                  </a:lnTo>
                  <a:lnTo>
                    <a:pt x="378" y="2140"/>
                  </a:lnTo>
                  <a:lnTo>
                    <a:pt x="378" y="2138"/>
                  </a:lnTo>
                  <a:lnTo>
                    <a:pt x="378" y="2142"/>
                  </a:lnTo>
                  <a:lnTo>
                    <a:pt x="384" y="2142"/>
                  </a:lnTo>
                  <a:lnTo>
                    <a:pt x="386" y="2142"/>
                  </a:lnTo>
                  <a:lnTo>
                    <a:pt x="386" y="2140"/>
                  </a:lnTo>
                  <a:lnTo>
                    <a:pt x="388" y="2140"/>
                  </a:lnTo>
                  <a:lnTo>
                    <a:pt x="392" y="2142"/>
                  </a:lnTo>
                  <a:lnTo>
                    <a:pt x="394" y="2142"/>
                  </a:lnTo>
                  <a:lnTo>
                    <a:pt x="396" y="2142"/>
                  </a:lnTo>
                  <a:lnTo>
                    <a:pt x="397" y="2144"/>
                  </a:lnTo>
                  <a:lnTo>
                    <a:pt x="399" y="2144"/>
                  </a:lnTo>
                  <a:lnTo>
                    <a:pt x="399" y="2142"/>
                  </a:lnTo>
                  <a:lnTo>
                    <a:pt x="401" y="2140"/>
                  </a:lnTo>
                  <a:lnTo>
                    <a:pt x="401" y="2138"/>
                  </a:lnTo>
                  <a:lnTo>
                    <a:pt x="403" y="2138"/>
                  </a:lnTo>
                  <a:lnTo>
                    <a:pt x="405" y="2138"/>
                  </a:lnTo>
                  <a:lnTo>
                    <a:pt x="409" y="2138"/>
                  </a:lnTo>
                  <a:lnTo>
                    <a:pt x="411" y="2138"/>
                  </a:lnTo>
                  <a:lnTo>
                    <a:pt x="413" y="2138"/>
                  </a:lnTo>
                  <a:lnTo>
                    <a:pt x="413" y="2136"/>
                  </a:lnTo>
                  <a:lnTo>
                    <a:pt x="413" y="2138"/>
                  </a:lnTo>
                  <a:lnTo>
                    <a:pt x="417" y="2138"/>
                  </a:lnTo>
                  <a:lnTo>
                    <a:pt x="417" y="2136"/>
                  </a:lnTo>
                  <a:lnTo>
                    <a:pt x="419" y="2136"/>
                  </a:lnTo>
                  <a:lnTo>
                    <a:pt x="417" y="2136"/>
                  </a:lnTo>
                  <a:lnTo>
                    <a:pt x="417" y="2138"/>
                  </a:lnTo>
                  <a:lnTo>
                    <a:pt x="419" y="2138"/>
                  </a:lnTo>
                  <a:lnTo>
                    <a:pt x="419" y="2136"/>
                  </a:lnTo>
                  <a:lnTo>
                    <a:pt x="420" y="2136"/>
                  </a:lnTo>
                  <a:lnTo>
                    <a:pt x="420" y="2138"/>
                  </a:lnTo>
                  <a:lnTo>
                    <a:pt x="422" y="2136"/>
                  </a:lnTo>
                  <a:lnTo>
                    <a:pt x="422" y="2134"/>
                  </a:lnTo>
                  <a:lnTo>
                    <a:pt x="422" y="2136"/>
                  </a:lnTo>
                  <a:lnTo>
                    <a:pt x="420" y="2136"/>
                  </a:lnTo>
                  <a:lnTo>
                    <a:pt x="420" y="2138"/>
                  </a:lnTo>
                  <a:lnTo>
                    <a:pt x="420" y="2136"/>
                  </a:lnTo>
                  <a:lnTo>
                    <a:pt x="419" y="2136"/>
                  </a:lnTo>
                  <a:lnTo>
                    <a:pt x="420" y="2134"/>
                  </a:lnTo>
                  <a:lnTo>
                    <a:pt x="424" y="2134"/>
                  </a:lnTo>
                  <a:lnTo>
                    <a:pt x="426" y="2136"/>
                  </a:lnTo>
                  <a:lnTo>
                    <a:pt x="428" y="2136"/>
                  </a:lnTo>
                  <a:lnTo>
                    <a:pt x="426" y="2134"/>
                  </a:lnTo>
                  <a:lnTo>
                    <a:pt x="428" y="2134"/>
                  </a:lnTo>
                  <a:lnTo>
                    <a:pt x="428" y="2136"/>
                  </a:lnTo>
                  <a:lnTo>
                    <a:pt x="430" y="2134"/>
                  </a:lnTo>
                  <a:lnTo>
                    <a:pt x="432" y="2134"/>
                  </a:lnTo>
                  <a:lnTo>
                    <a:pt x="432" y="2136"/>
                  </a:lnTo>
                  <a:lnTo>
                    <a:pt x="436" y="2140"/>
                  </a:lnTo>
                  <a:lnTo>
                    <a:pt x="438" y="2140"/>
                  </a:lnTo>
                  <a:lnTo>
                    <a:pt x="440" y="2140"/>
                  </a:lnTo>
                  <a:lnTo>
                    <a:pt x="443" y="2138"/>
                  </a:lnTo>
                  <a:lnTo>
                    <a:pt x="451" y="2136"/>
                  </a:lnTo>
                  <a:lnTo>
                    <a:pt x="455" y="2138"/>
                  </a:lnTo>
                  <a:lnTo>
                    <a:pt x="455" y="2136"/>
                  </a:lnTo>
                  <a:lnTo>
                    <a:pt x="455" y="2138"/>
                  </a:lnTo>
                  <a:lnTo>
                    <a:pt x="455" y="2140"/>
                  </a:lnTo>
                  <a:lnTo>
                    <a:pt x="457" y="2140"/>
                  </a:lnTo>
                  <a:lnTo>
                    <a:pt x="461" y="2140"/>
                  </a:lnTo>
                  <a:lnTo>
                    <a:pt x="463" y="2140"/>
                  </a:lnTo>
                  <a:lnTo>
                    <a:pt x="465" y="2140"/>
                  </a:lnTo>
                  <a:lnTo>
                    <a:pt x="463" y="2140"/>
                  </a:lnTo>
                  <a:lnTo>
                    <a:pt x="461" y="2140"/>
                  </a:lnTo>
                  <a:lnTo>
                    <a:pt x="457" y="2140"/>
                  </a:lnTo>
                  <a:lnTo>
                    <a:pt x="457" y="2142"/>
                  </a:lnTo>
                  <a:lnTo>
                    <a:pt x="459" y="2142"/>
                  </a:lnTo>
                  <a:lnTo>
                    <a:pt x="461" y="2142"/>
                  </a:lnTo>
                  <a:lnTo>
                    <a:pt x="463" y="2142"/>
                  </a:lnTo>
                  <a:lnTo>
                    <a:pt x="465" y="2142"/>
                  </a:lnTo>
                  <a:lnTo>
                    <a:pt x="465" y="2140"/>
                  </a:lnTo>
                  <a:lnTo>
                    <a:pt x="465" y="2142"/>
                  </a:lnTo>
                  <a:lnTo>
                    <a:pt x="465" y="2144"/>
                  </a:lnTo>
                  <a:lnTo>
                    <a:pt x="467" y="2144"/>
                  </a:lnTo>
                  <a:lnTo>
                    <a:pt x="468" y="2144"/>
                  </a:lnTo>
                  <a:lnTo>
                    <a:pt x="470" y="2146"/>
                  </a:lnTo>
                  <a:lnTo>
                    <a:pt x="474" y="2146"/>
                  </a:lnTo>
                  <a:lnTo>
                    <a:pt x="474" y="2148"/>
                  </a:lnTo>
                  <a:lnTo>
                    <a:pt x="478" y="2150"/>
                  </a:lnTo>
                  <a:lnTo>
                    <a:pt x="478" y="2152"/>
                  </a:lnTo>
                  <a:lnTo>
                    <a:pt x="480" y="2154"/>
                  </a:lnTo>
                  <a:lnTo>
                    <a:pt x="482" y="2156"/>
                  </a:lnTo>
                  <a:lnTo>
                    <a:pt x="482" y="2157"/>
                  </a:lnTo>
                  <a:lnTo>
                    <a:pt x="484" y="2157"/>
                  </a:lnTo>
                  <a:lnTo>
                    <a:pt x="482" y="2157"/>
                  </a:lnTo>
                  <a:lnTo>
                    <a:pt x="484" y="2159"/>
                  </a:lnTo>
                  <a:lnTo>
                    <a:pt x="484" y="2157"/>
                  </a:lnTo>
                  <a:lnTo>
                    <a:pt x="484" y="2159"/>
                  </a:lnTo>
                  <a:lnTo>
                    <a:pt x="484" y="2161"/>
                  </a:lnTo>
                  <a:lnTo>
                    <a:pt x="486" y="2163"/>
                  </a:lnTo>
                  <a:lnTo>
                    <a:pt x="486" y="2167"/>
                  </a:lnTo>
                  <a:lnTo>
                    <a:pt x="486" y="2169"/>
                  </a:lnTo>
                  <a:lnTo>
                    <a:pt x="488" y="2171"/>
                  </a:lnTo>
                  <a:lnTo>
                    <a:pt x="488" y="2173"/>
                  </a:lnTo>
                  <a:lnTo>
                    <a:pt x="488" y="2175"/>
                  </a:lnTo>
                  <a:lnTo>
                    <a:pt x="490" y="2175"/>
                  </a:lnTo>
                  <a:lnTo>
                    <a:pt x="490" y="2177"/>
                  </a:lnTo>
                  <a:lnTo>
                    <a:pt x="491" y="2179"/>
                  </a:lnTo>
                  <a:lnTo>
                    <a:pt x="491" y="2180"/>
                  </a:lnTo>
                  <a:lnTo>
                    <a:pt x="493" y="2182"/>
                  </a:lnTo>
                  <a:lnTo>
                    <a:pt x="493" y="2184"/>
                  </a:lnTo>
                  <a:lnTo>
                    <a:pt x="495" y="2184"/>
                  </a:lnTo>
                  <a:lnTo>
                    <a:pt x="495" y="2182"/>
                  </a:lnTo>
                  <a:lnTo>
                    <a:pt x="497" y="2182"/>
                  </a:lnTo>
                  <a:lnTo>
                    <a:pt x="497" y="2184"/>
                  </a:lnTo>
                  <a:lnTo>
                    <a:pt x="499" y="2182"/>
                  </a:lnTo>
                  <a:lnTo>
                    <a:pt x="497" y="2184"/>
                  </a:lnTo>
                  <a:lnTo>
                    <a:pt x="499" y="2184"/>
                  </a:lnTo>
                  <a:lnTo>
                    <a:pt x="497" y="2184"/>
                  </a:lnTo>
                  <a:lnTo>
                    <a:pt x="497" y="2186"/>
                  </a:lnTo>
                  <a:lnTo>
                    <a:pt x="497" y="2184"/>
                  </a:lnTo>
                  <a:lnTo>
                    <a:pt x="493" y="2184"/>
                  </a:lnTo>
                  <a:lnTo>
                    <a:pt x="493" y="2186"/>
                  </a:lnTo>
                  <a:lnTo>
                    <a:pt x="495" y="2186"/>
                  </a:lnTo>
                  <a:lnTo>
                    <a:pt x="497" y="2186"/>
                  </a:lnTo>
                  <a:lnTo>
                    <a:pt x="499" y="2186"/>
                  </a:lnTo>
                  <a:lnTo>
                    <a:pt x="497" y="2186"/>
                  </a:lnTo>
                  <a:lnTo>
                    <a:pt x="497" y="2188"/>
                  </a:lnTo>
                  <a:lnTo>
                    <a:pt x="497" y="2186"/>
                  </a:lnTo>
                  <a:lnTo>
                    <a:pt x="497" y="2188"/>
                  </a:lnTo>
                  <a:lnTo>
                    <a:pt x="497" y="2190"/>
                  </a:lnTo>
                  <a:lnTo>
                    <a:pt x="497" y="2192"/>
                  </a:lnTo>
                  <a:lnTo>
                    <a:pt x="497" y="2194"/>
                  </a:lnTo>
                  <a:lnTo>
                    <a:pt x="497" y="2196"/>
                  </a:lnTo>
                  <a:lnTo>
                    <a:pt x="499" y="2196"/>
                  </a:lnTo>
                  <a:lnTo>
                    <a:pt x="497" y="2196"/>
                  </a:lnTo>
                  <a:lnTo>
                    <a:pt x="499" y="2196"/>
                  </a:lnTo>
                  <a:lnTo>
                    <a:pt x="499" y="2198"/>
                  </a:lnTo>
                  <a:lnTo>
                    <a:pt x="501" y="2200"/>
                  </a:lnTo>
                  <a:lnTo>
                    <a:pt x="501" y="2202"/>
                  </a:lnTo>
                  <a:lnTo>
                    <a:pt x="501" y="2200"/>
                  </a:lnTo>
                  <a:lnTo>
                    <a:pt x="499" y="2200"/>
                  </a:lnTo>
                  <a:lnTo>
                    <a:pt x="499" y="2202"/>
                  </a:lnTo>
                  <a:lnTo>
                    <a:pt x="499" y="2204"/>
                  </a:lnTo>
                  <a:lnTo>
                    <a:pt x="495" y="2207"/>
                  </a:lnTo>
                  <a:lnTo>
                    <a:pt x="490" y="2207"/>
                  </a:lnTo>
                  <a:lnTo>
                    <a:pt x="490" y="2209"/>
                  </a:lnTo>
                  <a:lnTo>
                    <a:pt x="490" y="2207"/>
                  </a:lnTo>
                  <a:lnTo>
                    <a:pt x="488" y="2207"/>
                  </a:lnTo>
                  <a:lnTo>
                    <a:pt x="490" y="2207"/>
                  </a:lnTo>
                  <a:lnTo>
                    <a:pt x="490" y="2211"/>
                  </a:lnTo>
                  <a:lnTo>
                    <a:pt x="490" y="2209"/>
                  </a:lnTo>
                  <a:lnTo>
                    <a:pt x="488" y="2207"/>
                  </a:lnTo>
                  <a:lnTo>
                    <a:pt x="486" y="2209"/>
                  </a:lnTo>
                  <a:lnTo>
                    <a:pt x="480" y="2209"/>
                  </a:lnTo>
                  <a:lnTo>
                    <a:pt x="478" y="2209"/>
                  </a:lnTo>
                  <a:lnTo>
                    <a:pt x="476" y="2209"/>
                  </a:lnTo>
                  <a:lnTo>
                    <a:pt x="476" y="2211"/>
                  </a:lnTo>
                  <a:lnTo>
                    <a:pt x="476" y="2213"/>
                  </a:lnTo>
                  <a:lnTo>
                    <a:pt x="474" y="2215"/>
                  </a:lnTo>
                  <a:lnTo>
                    <a:pt x="470" y="2219"/>
                  </a:lnTo>
                  <a:lnTo>
                    <a:pt x="470" y="2221"/>
                  </a:lnTo>
                  <a:lnTo>
                    <a:pt x="470" y="2223"/>
                  </a:lnTo>
                  <a:lnTo>
                    <a:pt x="472" y="2223"/>
                  </a:lnTo>
                  <a:lnTo>
                    <a:pt x="474" y="2225"/>
                  </a:lnTo>
                  <a:lnTo>
                    <a:pt x="472" y="2225"/>
                  </a:lnTo>
                  <a:lnTo>
                    <a:pt x="470" y="2225"/>
                  </a:lnTo>
                  <a:lnTo>
                    <a:pt x="467" y="2225"/>
                  </a:lnTo>
                  <a:lnTo>
                    <a:pt x="465" y="2225"/>
                  </a:lnTo>
                  <a:lnTo>
                    <a:pt x="465" y="2223"/>
                  </a:lnTo>
                  <a:lnTo>
                    <a:pt x="461" y="2225"/>
                  </a:lnTo>
                  <a:lnTo>
                    <a:pt x="461" y="2223"/>
                  </a:lnTo>
                  <a:lnTo>
                    <a:pt x="457" y="2221"/>
                  </a:lnTo>
                  <a:lnTo>
                    <a:pt x="455" y="2217"/>
                  </a:lnTo>
                  <a:lnTo>
                    <a:pt x="455" y="2215"/>
                  </a:lnTo>
                  <a:lnTo>
                    <a:pt x="453" y="2215"/>
                  </a:lnTo>
                  <a:lnTo>
                    <a:pt x="453" y="2213"/>
                  </a:lnTo>
                  <a:lnTo>
                    <a:pt x="451" y="2211"/>
                  </a:lnTo>
                  <a:lnTo>
                    <a:pt x="447" y="2207"/>
                  </a:lnTo>
                  <a:lnTo>
                    <a:pt x="447" y="2205"/>
                  </a:lnTo>
                  <a:lnTo>
                    <a:pt x="445" y="2205"/>
                  </a:lnTo>
                  <a:lnTo>
                    <a:pt x="443" y="2205"/>
                  </a:lnTo>
                  <a:lnTo>
                    <a:pt x="440" y="2205"/>
                  </a:lnTo>
                  <a:lnTo>
                    <a:pt x="438" y="2205"/>
                  </a:lnTo>
                  <a:lnTo>
                    <a:pt x="436" y="2205"/>
                  </a:lnTo>
                  <a:lnTo>
                    <a:pt x="434" y="2207"/>
                  </a:lnTo>
                  <a:lnTo>
                    <a:pt x="432" y="2207"/>
                  </a:lnTo>
                  <a:lnTo>
                    <a:pt x="432" y="2205"/>
                  </a:lnTo>
                  <a:lnTo>
                    <a:pt x="432" y="2207"/>
                  </a:lnTo>
                  <a:lnTo>
                    <a:pt x="430" y="2207"/>
                  </a:lnTo>
                  <a:lnTo>
                    <a:pt x="428" y="2207"/>
                  </a:lnTo>
                  <a:lnTo>
                    <a:pt x="426" y="2209"/>
                  </a:lnTo>
                  <a:lnTo>
                    <a:pt x="426" y="2211"/>
                  </a:lnTo>
                  <a:lnTo>
                    <a:pt x="424" y="2207"/>
                  </a:lnTo>
                  <a:lnTo>
                    <a:pt x="424" y="2205"/>
                  </a:lnTo>
                  <a:lnTo>
                    <a:pt x="422" y="2205"/>
                  </a:lnTo>
                  <a:lnTo>
                    <a:pt x="422" y="2207"/>
                  </a:lnTo>
                  <a:lnTo>
                    <a:pt x="422" y="2209"/>
                  </a:lnTo>
                  <a:lnTo>
                    <a:pt x="424" y="2211"/>
                  </a:lnTo>
                  <a:lnTo>
                    <a:pt x="422" y="2211"/>
                  </a:lnTo>
                  <a:lnTo>
                    <a:pt x="422" y="2209"/>
                  </a:lnTo>
                  <a:lnTo>
                    <a:pt x="420" y="2209"/>
                  </a:lnTo>
                  <a:lnTo>
                    <a:pt x="422" y="2207"/>
                  </a:lnTo>
                  <a:lnTo>
                    <a:pt x="420" y="2207"/>
                  </a:lnTo>
                  <a:lnTo>
                    <a:pt x="420" y="2205"/>
                  </a:lnTo>
                  <a:lnTo>
                    <a:pt x="419" y="2205"/>
                  </a:lnTo>
                  <a:lnTo>
                    <a:pt x="420" y="2207"/>
                  </a:lnTo>
                  <a:lnTo>
                    <a:pt x="420" y="2209"/>
                  </a:lnTo>
                  <a:lnTo>
                    <a:pt x="422" y="2211"/>
                  </a:lnTo>
                  <a:lnTo>
                    <a:pt x="422" y="2213"/>
                  </a:lnTo>
                  <a:lnTo>
                    <a:pt x="420" y="2213"/>
                  </a:lnTo>
                  <a:lnTo>
                    <a:pt x="419" y="2215"/>
                  </a:lnTo>
                  <a:lnTo>
                    <a:pt x="417" y="2215"/>
                  </a:lnTo>
                  <a:lnTo>
                    <a:pt x="415" y="2213"/>
                  </a:lnTo>
                  <a:lnTo>
                    <a:pt x="413" y="2213"/>
                  </a:lnTo>
                  <a:lnTo>
                    <a:pt x="411" y="2211"/>
                  </a:lnTo>
                  <a:lnTo>
                    <a:pt x="409" y="2211"/>
                  </a:lnTo>
                  <a:lnTo>
                    <a:pt x="407" y="2211"/>
                  </a:lnTo>
                  <a:lnTo>
                    <a:pt x="405" y="2209"/>
                  </a:lnTo>
                  <a:lnTo>
                    <a:pt x="403" y="2209"/>
                  </a:lnTo>
                  <a:lnTo>
                    <a:pt x="403" y="2211"/>
                  </a:lnTo>
                  <a:lnTo>
                    <a:pt x="401" y="2209"/>
                  </a:lnTo>
                  <a:lnTo>
                    <a:pt x="394" y="2205"/>
                  </a:lnTo>
                  <a:lnTo>
                    <a:pt x="394" y="2204"/>
                  </a:lnTo>
                  <a:lnTo>
                    <a:pt x="388" y="2204"/>
                  </a:lnTo>
                  <a:lnTo>
                    <a:pt x="388" y="2202"/>
                  </a:lnTo>
                  <a:lnTo>
                    <a:pt x="386" y="2202"/>
                  </a:lnTo>
                  <a:lnTo>
                    <a:pt x="384" y="2202"/>
                  </a:lnTo>
                  <a:lnTo>
                    <a:pt x="382" y="2202"/>
                  </a:lnTo>
                  <a:lnTo>
                    <a:pt x="380" y="2202"/>
                  </a:lnTo>
                  <a:lnTo>
                    <a:pt x="378" y="2202"/>
                  </a:lnTo>
                  <a:lnTo>
                    <a:pt x="372" y="2204"/>
                  </a:lnTo>
                  <a:lnTo>
                    <a:pt x="369" y="2205"/>
                  </a:lnTo>
                  <a:lnTo>
                    <a:pt x="369" y="2207"/>
                  </a:lnTo>
                  <a:lnTo>
                    <a:pt x="363" y="2209"/>
                  </a:lnTo>
                  <a:lnTo>
                    <a:pt x="361" y="2209"/>
                  </a:lnTo>
                  <a:lnTo>
                    <a:pt x="363" y="2209"/>
                  </a:lnTo>
                  <a:lnTo>
                    <a:pt x="361" y="2209"/>
                  </a:lnTo>
                  <a:lnTo>
                    <a:pt x="361" y="2211"/>
                  </a:lnTo>
                  <a:lnTo>
                    <a:pt x="361" y="2209"/>
                  </a:lnTo>
                  <a:lnTo>
                    <a:pt x="359" y="2211"/>
                  </a:lnTo>
                  <a:lnTo>
                    <a:pt x="357" y="2213"/>
                  </a:lnTo>
                  <a:lnTo>
                    <a:pt x="355" y="2213"/>
                  </a:lnTo>
                  <a:lnTo>
                    <a:pt x="355" y="2215"/>
                  </a:lnTo>
                  <a:lnTo>
                    <a:pt x="353" y="2215"/>
                  </a:lnTo>
                  <a:lnTo>
                    <a:pt x="353" y="2217"/>
                  </a:lnTo>
                  <a:lnTo>
                    <a:pt x="351" y="2217"/>
                  </a:lnTo>
                  <a:lnTo>
                    <a:pt x="351" y="2219"/>
                  </a:lnTo>
                  <a:lnTo>
                    <a:pt x="349" y="2219"/>
                  </a:lnTo>
                  <a:lnTo>
                    <a:pt x="348" y="2219"/>
                  </a:lnTo>
                  <a:lnTo>
                    <a:pt x="348" y="2221"/>
                  </a:lnTo>
                  <a:lnTo>
                    <a:pt x="346" y="2221"/>
                  </a:lnTo>
                  <a:lnTo>
                    <a:pt x="344" y="2221"/>
                  </a:lnTo>
                  <a:lnTo>
                    <a:pt x="344" y="2223"/>
                  </a:lnTo>
                  <a:lnTo>
                    <a:pt x="342" y="2223"/>
                  </a:lnTo>
                  <a:lnTo>
                    <a:pt x="340" y="2225"/>
                  </a:lnTo>
                  <a:lnTo>
                    <a:pt x="338" y="2225"/>
                  </a:lnTo>
                  <a:lnTo>
                    <a:pt x="338" y="2227"/>
                  </a:lnTo>
                  <a:lnTo>
                    <a:pt x="336" y="2228"/>
                  </a:lnTo>
                  <a:lnTo>
                    <a:pt x="334" y="2228"/>
                  </a:lnTo>
                  <a:lnTo>
                    <a:pt x="334" y="2230"/>
                  </a:lnTo>
                  <a:lnTo>
                    <a:pt x="334" y="2232"/>
                  </a:lnTo>
                  <a:lnTo>
                    <a:pt x="332" y="2232"/>
                  </a:lnTo>
                  <a:lnTo>
                    <a:pt x="332" y="2234"/>
                  </a:lnTo>
                  <a:lnTo>
                    <a:pt x="330" y="2236"/>
                  </a:lnTo>
                  <a:lnTo>
                    <a:pt x="328" y="2236"/>
                  </a:lnTo>
                  <a:lnTo>
                    <a:pt x="328" y="2238"/>
                  </a:lnTo>
                  <a:lnTo>
                    <a:pt x="326" y="2238"/>
                  </a:lnTo>
                  <a:lnTo>
                    <a:pt x="326" y="2236"/>
                  </a:lnTo>
                  <a:lnTo>
                    <a:pt x="325" y="2236"/>
                  </a:lnTo>
                  <a:lnTo>
                    <a:pt x="325" y="2234"/>
                  </a:lnTo>
                  <a:lnTo>
                    <a:pt x="325" y="2236"/>
                  </a:lnTo>
                  <a:lnTo>
                    <a:pt x="325" y="2238"/>
                  </a:lnTo>
                  <a:lnTo>
                    <a:pt x="325" y="2240"/>
                  </a:lnTo>
                  <a:lnTo>
                    <a:pt x="325" y="2238"/>
                  </a:lnTo>
                  <a:lnTo>
                    <a:pt x="325" y="2236"/>
                  </a:lnTo>
                  <a:lnTo>
                    <a:pt x="325" y="2234"/>
                  </a:lnTo>
                  <a:lnTo>
                    <a:pt x="325" y="2232"/>
                  </a:lnTo>
                  <a:lnTo>
                    <a:pt x="325" y="2230"/>
                  </a:lnTo>
                  <a:lnTo>
                    <a:pt x="325" y="2228"/>
                  </a:lnTo>
                  <a:lnTo>
                    <a:pt x="325" y="2227"/>
                  </a:lnTo>
                  <a:lnTo>
                    <a:pt x="325" y="2225"/>
                  </a:lnTo>
                  <a:lnTo>
                    <a:pt x="325" y="2223"/>
                  </a:lnTo>
                  <a:lnTo>
                    <a:pt x="326" y="2221"/>
                  </a:lnTo>
                  <a:lnTo>
                    <a:pt x="326" y="2219"/>
                  </a:lnTo>
                  <a:lnTo>
                    <a:pt x="326" y="2217"/>
                  </a:lnTo>
                  <a:lnTo>
                    <a:pt x="328" y="2217"/>
                  </a:lnTo>
                  <a:lnTo>
                    <a:pt x="328" y="2219"/>
                  </a:lnTo>
                  <a:lnTo>
                    <a:pt x="330" y="2219"/>
                  </a:lnTo>
                  <a:lnTo>
                    <a:pt x="330" y="2221"/>
                  </a:lnTo>
                  <a:lnTo>
                    <a:pt x="330" y="2223"/>
                  </a:lnTo>
                  <a:lnTo>
                    <a:pt x="332" y="2225"/>
                  </a:lnTo>
                  <a:lnTo>
                    <a:pt x="332" y="2223"/>
                  </a:lnTo>
                  <a:lnTo>
                    <a:pt x="330" y="2223"/>
                  </a:lnTo>
                  <a:lnTo>
                    <a:pt x="330" y="2221"/>
                  </a:lnTo>
                  <a:lnTo>
                    <a:pt x="330" y="2219"/>
                  </a:lnTo>
                  <a:lnTo>
                    <a:pt x="330" y="2217"/>
                  </a:lnTo>
                  <a:lnTo>
                    <a:pt x="328" y="2217"/>
                  </a:lnTo>
                  <a:lnTo>
                    <a:pt x="328" y="2215"/>
                  </a:lnTo>
                  <a:lnTo>
                    <a:pt x="326" y="2213"/>
                  </a:lnTo>
                  <a:lnTo>
                    <a:pt x="326" y="2211"/>
                  </a:lnTo>
                  <a:lnTo>
                    <a:pt x="326" y="2209"/>
                  </a:lnTo>
                  <a:lnTo>
                    <a:pt x="326" y="2207"/>
                  </a:lnTo>
                  <a:lnTo>
                    <a:pt x="326" y="2209"/>
                  </a:lnTo>
                  <a:lnTo>
                    <a:pt x="326" y="2207"/>
                  </a:lnTo>
                  <a:lnTo>
                    <a:pt x="328" y="2207"/>
                  </a:lnTo>
                  <a:lnTo>
                    <a:pt x="326" y="2207"/>
                  </a:lnTo>
                  <a:lnTo>
                    <a:pt x="325" y="2205"/>
                  </a:lnTo>
                  <a:lnTo>
                    <a:pt x="325" y="2204"/>
                  </a:lnTo>
                  <a:lnTo>
                    <a:pt x="323" y="2204"/>
                  </a:lnTo>
                  <a:lnTo>
                    <a:pt x="323" y="2202"/>
                  </a:lnTo>
                  <a:lnTo>
                    <a:pt x="323" y="2200"/>
                  </a:lnTo>
                  <a:lnTo>
                    <a:pt x="321" y="2198"/>
                  </a:lnTo>
                  <a:lnTo>
                    <a:pt x="319" y="2196"/>
                  </a:lnTo>
                  <a:lnTo>
                    <a:pt x="319" y="2194"/>
                  </a:lnTo>
                  <a:lnTo>
                    <a:pt x="321" y="2194"/>
                  </a:lnTo>
                  <a:lnTo>
                    <a:pt x="321" y="2192"/>
                  </a:lnTo>
                  <a:lnTo>
                    <a:pt x="323" y="2190"/>
                  </a:lnTo>
                  <a:lnTo>
                    <a:pt x="325" y="2186"/>
                  </a:lnTo>
                  <a:lnTo>
                    <a:pt x="326" y="2184"/>
                  </a:lnTo>
                  <a:lnTo>
                    <a:pt x="328" y="2184"/>
                  </a:lnTo>
                  <a:lnTo>
                    <a:pt x="328" y="2182"/>
                  </a:lnTo>
                  <a:lnTo>
                    <a:pt x="330" y="2180"/>
                  </a:lnTo>
                  <a:lnTo>
                    <a:pt x="328" y="2180"/>
                  </a:lnTo>
                  <a:lnTo>
                    <a:pt x="328" y="2182"/>
                  </a:lnTo>
                  <a:lnTo>
                    <a:pt x="326" y="2182"/>
                  </a:lnTo>
                  <a:lnTo>
                    <a:pt x="326" y="2184"/>
                  </a:lnTo>
                  <a:lnTo>
                    <a:pt x="325" y="2184"/>
                  </a:lnTo>
                  <a:lnTo>
                    <a:pt x="326" y="2184"/>
                  </a:lnTo>
                  <a:lnTo>
                    <a:pt x="325" y="2186"/>
                  </a:lnTo>
                  <a:lnTo>
                    <a:pt x="325" y="2188"/>
                  </a:lnTo>
                  <a:lnTo>
                    <a:pt x="323" y="2190"/>
                  </a:lnTo>
                  <a:lnTo>
                    <a:pt x="321" y="2190"/>
                  </a:lnTo>
                  <a:lnTo>
                    <a:pt x="323" y="2190"/>
                  </a:lnTo>
                  <a:lnTo>
                    <a:pt x="321" y="2192"/>
                  </a:lnTo>
                  <a:lnTo>
                    <a:pt x="321" y="2190"/>
                  </a:lnTo>
                  <a:lnTo>
                    <a:pt x="321" y="2192"/>
                  </a:lnTo>
                  <a:lnTo>
                    <a:pt x="319" y="2192"/>
                  </a:lnTo>
                  <a:lnTo>
                    <a:pt x="319" y="2194"/>
                  </a:lnTo>
                  <a:lnTo>
                    <a:pt x="317" y="2194"/>
                  </a:lnTo>
                  <a:lnTo>
                    <a:pt x="315" y="2192"/>
                  </a:lnTo>
                  <a:lnTo>
                    <a:pt x="313" y="2190"/>
                  </a:lnTo>
                  <a:lnTo>
                    <a:pt x="311" y="2188"/>
                  </a:lnTo>
                  <a:lnTo>
                    <a:pt x="309" y="2188"/>
                  </a:lnTo>
                  <a:lnTo>
                    <a:pt x="309" y="2186"/>
                  </a:lnTo>
                  <a:lnTo>
                    <a:pt x="305" y="2182"/>
                  </a:lnTo>
                  <a:lnTo>
                    <a:pt x="305" y="2180"/>
                  </a:lnTo>
                  <a:lnTo>
                    <a:pt x="303" y="2182"/>
                  </a:lnTo>
                  <a:lnTo>
                    <a:pt x="303" y="2180"/>
                  </a:lnTo>
                  <a:lnTo>
                    <a:pt x="301" y="2179"/>
                  </a:lnTo>
                  <a:lnTo>
                    <a:pt x="300" y="2179"/>
                  </a:lnTo>
                  <a:lnTo>
                    <a:pt x="300" y="2177"/>
                  </a:lnTo>
                  <a:lnTo>
                    <a:pt x="298" y="2177"/>
                  </a:lnTo>
                  <a:lnTo>
                    <a:pt x="296" y="2177"/>
                  </a:lnTo>
                  <a:lnTo>
                    <a:pt x="296" y="2175"/>
                  </a:lnTo>
                  <a:lnTo>
                    <a:pt x="294" y="2175"/>
                  </a:lnTo>
                  <a:lnTo>
                    <a:pt x="292" y="2175"/>
                  </a:lnTo>
                  <a:lnTo>
                    <a:pt x="290" y="2173"/>
                  </a:lnTo>
                  <a:lnTo>
                    <a:pt x="288" y="2173"/>
                  </a:lnTo>
                  <a:lnTo>
                    <a:pt x="288" y="2171"/>
                  </a:lnTo>
                  <a:lnTo>
                    <a:pt x="288" y="2169"/>
                  </a:lnTo>
                  <a:lnTo>
                    <a:pt x="288" y="2167"/>
                  </a:lnTo>
                  <a:lnTo>
                    <a:pt x="286" y="2165"/>
                  </a:lnTo>
                  <a:lnTo>
                    <a:pt x="288" y="2165"/>
                  </a:lnTo>
                  <a:lnTo>
                    <a:pt x="286" y="2163"/>
                  </a:lnTo>
                  <a:lnTo>
                    <a:pt x="286" y="2161"/>
                  </a:lnTo>
                  <a:lnTo>
                    <a:pt x="286" y="2159"/>
                  </a:lnTo>
                  <a:lnTo>
                    <a:pt x="286" y="2157"/>
                  </a:lnTo>
                  <a:lnTo>
                    <a:pt x="284" y="2157"/>
                  </a:lnTo>
                  <a:lnTo>
                    <a:pt x="284" y="2156"/>
                  </a:lnTo>
                  <a:lnTo>
                    <a:pt x="284" y="2154"/>
                  </a:lnTo>
                  <a:lnTo>
                    <a:pt x="284" y="2152"/>
                  </a:lnTo>
                  <a:lnTo>
                    <a:pt x="282" y="2152"/>
                  </a:lnTo>
                  <a:lnTo>
                    <a:pt x="282" y="2150"/>
                  </a:lnTo>
                  <a:lnTo>
                    <a:pt x="284" y="2148"/>
                  </a:lnTo>
                  <a:lnTo>
                    <a:pt x="286" y="2148"/>
                  </a:lnTo>
                  <a:lnTo>
                    <a:pt x="286" y="2146"/>
                  </a:lnTo>
                  <a:lnTo>
                    <a:pt x="284" y="2146"/>
                  </a:lnTo>
                  <a:lnTo>
                    <a:pt x="282" y="2146"/>
                  </a:lnTo>
                  <a:lnTo>
                    <a:pt x="278" y="2146"/>
                  </a:lnTo>
                  <a:lnTo>
                    <a:pt x="275" y="2148"/>
                  </a:lnTo>
                  <a:lnTo>
                    <a:pt x="271" y="2150"/>
                  </a:lnTo>
                  <a:lnTo>
                    <a:pt x="269" y="2150"/>
                  </a:lnTo>
                  <a:lnTo>
                    <a:pt x="269" y="2152"/>
                  </a:lnTo>
                  <a:lnTo>
                    <a:pt x="269" y="2154"/>
                  </a:lnTo>
                  <a:lnTo>
                    <a:pt x="269" y="2156"/>
                  </a:lnTo>
                  <a:lnTo>
                    <a:pt x="269" y="2157"/>
                  </a:lnTo>
                  <a:lnTo>
                    <a:pt x="267" y="2159"/>
                  </a:lnTo>
                  <a:lnTo>
                    <a:pt x="269" y="2161"/>
                  </a:lnTo>
                  <a:lnTo>
                    <a:pt x="269" y="2163"/>
                  </a:lnTo>
                  <a:lnTo>
                    <a:pt x="267" y="2163"/>
                  </a:lnTo>
                  <a:lnTo>
                    <a:pt x="269" y="2165"/>
                  </a:lnTo>
                  <a:lnTo>
                    <a:pt x="269" y="2167"/>
                  </a:lnTo>
                  <a:lnTo>
                    <a:pt x="269" y="2169"/>
                  </a:lnTo>
                  <a:lnTo>
                    <a:pt x="271" y="2169"/>
                  </a:lnTo>
                  <a:lnTo>
                    <a:pt x="271" y="2171"/>
                  </a:lnTo>
                  <a:lnTo>
                    <a:pt x="273" y="2171"/>
                  </a:lnTo>
                  <a:lnTo>
                    <a:pt x="273" y="2173"/>
                  </a:lnTo>
                  <a:lnTo>
                    <a:pt x="275" y="2173"/>
                  </a:lnTo>
                  <a:lnTo>
                    <a:pt x="273" y="2173"/>
                  </a:lnTo>
                  <a:lnTo>
                    <a:pt x="275" y="2175"/>
                  </a:lnTo>
                  <a:lnTo>
                    <a:pt x="277" y="2177"/>
                  </a:lnTo>
                  <a:lnTo>
                    <a:pt x="277" y="2179"/>
                  </a:lnTo>
                  <a:lnTo>
                    <a:pt x="277" y="2180"/>
                  </a:lnTo>
                  <a:lnTo>
                    <a:pt x="278" y="2180"/>
                  </a:lnTo>
                  <a:lnTo>
                    <a:pt x="278" y="2182"/>
                  </a:lnTo>
                  <a:lnTo>
                    <a:pt x="277" y="2182"/>
                  </a:lnTo>
                  <a:lnTo>
                    <a:pt x="277" y="2180"/>
                  </a:lnTo>
                  <a:lnTo>
                    <a:pt x="275" y="2180"/>
                  </a:lnTo>
                  <a:lnTo>
                    <a:pt x="277" y="2180"/>
                  </a:lnTo>
                  <a:lnTo>
                    <a:pt x="277" y="2182"/>
                  </a:lnTo>
                  <a:lnTo>
                    <a:pt x="278" y="2182"/>
                  </a:lnTo>
                  <a:lnTo>
                    <a:pt x="278" y="2184"/>
                  </a:lnTo>
                  <a:lnTo>
                    <a:pt x="280" y="2184"/>
                  </a:lnTo>
                  <a:lnTo>
                    <a:pt x="282" y="2184"/>
                  </a:lnTo>
                  <a:lnTo>
                    <a:pt x="282" y="2186"/>
                  </a:lnTo>
                  <a:lnTo>
                    <a:pt x="284" y="2186"/>
                  </a:lnTo>
                  <a:lnTo>
                    <a:pt x="284" y="2188"/>
                  </a:lnTo>
                  <a:lnTo>
                    <a:pt x="286" y="2188"/>
                  </a:lnTo>
                  <a:lnTo>
                    <a:pt x="288" y="2188"/>
                  </a:lnTo>
                  <a:lnTo>
                    <a:pt x="284" y="2188"/>
                  </a:lnTo>
                  <a:lnTo>
                    <a:pt x="284" y="2186"/>
                  </a:lnTo>
                  <a:lnTo>
                    <a:pt x="282" y="2186"/>
                  </a:lnTo>
                  <a:lnTo>
                    <a:pt x="280" y="2184"/>
                  </a:lnTo>
                  <a:lnTo>
                    <a:pt x="280" y="2186"/>
                  </a:lnTo>
                  <a:lnTo>
                    <a:pt x="282" y="2188"/>
                  </a:lnTo>
                  <a:lnTo>
                    <a:pt x="284" y="2190"/>
                  </a:lnTo>
                  <a:lnTo>
                    <a:pt x="286" y="2190"/>
                  </a:lnTo>
                  <a:lnTo>
                    <a:pt x="286" y="2188"/>
                  </a:lnTo>
                  <a:lnTo>
                    <a:pt x="286" y="2190"/>
                  </a:lnTo>
                  <a:lnTo>
                    <a:pt x="288" y="2190"/>
                  </a:lnTo>
                  <a:lnTo>
                    <a:pt x="290" y="2192"/>
                  </a:lnTo>
                  <a:lnTo>
                    <a:pt x="292" y="2194"/>
                  </a:lnTo>
                  <a:lnTo>
                    <a:pt x="294" y="2196"/>
                  </a:lnTo>
                  <a:lnTo>
                    <a:pt x="294" y="2198"/>
                  </a:lnTo>
                  <a:lnTo>
                    <a:pt x="296" y="2198"/>
                  </a:lnTo>
                  <a:lnTo>
                    <a:pt x="296" y="2200"/>
                  </a:lnTo>
                  <a:lnTo>
                    <a:pt x="298" y="2200"/>
                  </a:lnTo>
                  <a:lnTo>
                    <a:pt x="300" y="2202"/>
                  </a:lnTo>
                  <a:lnTo>
                    <a:pt x="301" y="2202"/>
                  </a:lnTo>
                  <a:lnTo>
                    <a:pt x="300" y="2202"/>
                  </a:lnTo>
                  <a:lnTo>
                    <a:pt x="298" y="2202"/>
                  </a:lnTo>
                  <a:lnTo>
                    <a:pt x="298" y="2204"/>
                  </a:lnTo>
                  <a:lnTo>
                    <a:pt x="298" y="2202"/>
                  </a:lnTo>
                  <a:lnTo>
                    <a:pt x="296" y="2204"/>
                  </a:lnTo>
                  <a:lnTo>
                    <a:pt x="298" y="2204"/>
                  </a:lnTo>
                  <a:lnTo>
                    <a:pt x="300" y="2202"/>
                  </a:lnTo>
                  <a:lnTo>
                    <a:pt x="301" y="2202"/>
                  </a:lnTo>
                  <a:lnTo>
                    <a:pt x="301" y="2204"/>
                  </a:lnTo>
                  <a:lnTo>
                    <a:pt x="301" y="2205"/>
                  </a:lnTo>
                  <a:lnTo>
                    <a:pt x="300" y="2207"/>
                  </a:lnTo>
                  <a:lnTo>
                    <a:pt x="298" y="2209"/>
                  </a:lnTo>
                  <a:lnTo>
                    <a:pt x="298" y="2211"/>
                  </a:lnTo>
                  <a:lnTo>
                    <a:pt x="298" y="2213"/>
                  </a:lnTo>
                  <a:lnTo>
                    <a:pt x="300" y="2213"/>
                  </a:lnTo>
                  <a:lnTo>
                    <a:pt x="300" y="2211"/>
                  </a:lnTo>
                  <a:lnTo>
                    <a:pt x="300" y="2209"/>
                  </a:lnTo>
                  <a:lnTo>
                    <a:pt x="301" y="2207"/>
                  </a:lnTo>
                  <a:lnTo>
                    <a:pt x="303" y="2205"/>
                  </a:lnTo>
                  <a:lnTo>
                    <a:pt x="303" y="2207"/>
                  </a:lnTo>
                  <a:lnTo>
                    <a:pt x="303" y="2209"/>
                  </a:lnTo>
                  <a:lnTo>
                    <a:pt x="305" y="2209"/>
                  </a:lnTo>
                  <a:lnTo>
                    <a:pt x="305" y="2211"/>
                  </a:lnTo>
                  <a:lnTo>
                    <a:pt x="305" y="2213"/>
                  </a:lnTo>
                  <a:lnTo>
                    <a:pt x="305" y="2215"/>
                  </a:lnTo>
                  <a:lnTo>
                    <a:pt x="307" y="2215"/>
                  </a:lnTo>
                  <a:lnTo>
                    <a:pt x="307" y="2217"/>
                  </a:lnTo>
                  <a:lnTo>
                    <a:pt x="307" y="2219"/>
                  </a:lnTo>
                  <a:lnTo>
                    <a:pt x="307" y="2221"/>
                  </a:lnTo>
                  <a:lnTo>
                    <a:pt x="307" y="2223"/>
                  </a:lnTo>
                  <a:lnTo>
                    <a:pt x="309" y="2223"/>
                  </a:lnTo>
                  <a:lnTo>
                    <a:pt x="307" y="2223"/>
                  </a:lnTo>
                  <a:lnTo>
                    <a:pt x="307" y="2225"/>
                  </a:lnTo>
                  <a:lnTo>
                    <a:pt x="309" y="2225"/>
                  </a:lnTo>
                  <a:lnTo>
                    <a:pt x="309" y="2227"/>
                  </a:lnTo>
                  <a:lnTo>
                    <a:pt x="309" y="2228"/>
                  </a:lnTo>
                  <a:lnTo>
                    <a:pt x="309" y="2230"/>
                  </a:lnTo>
                  <a:lnTo>
                    <a:pt x="311" y="2234"/>
                  </a:lnTo>
                  <a:lnTo>
                    <a:pt x="311" y="2236"/>
                  </a:lnTo>
                  <a:lnTo>
                    <a:pt x="313" y="2236"/>
                  </a:lnTo>
                  <a:lnTo>
                    <a:pt x="313" y="2238"/>
                  </a:lnTo>
                  <a:lnTo>
                    <a:pt x="313" y="2240"/>
                  </a:lnTo>
                  <a:lnTo>
                    <a:pt x="315" y="2242"/>
                  </a:lnTo>
                  <a:lnTo>
                    <a:pt x="315" y="2244"/>
                  </a:lnTo>
                  <a:lnTo>
                    <a:pt x="317" y="2244"/>
                  </a:lnTo>
                  <a:lnTo>
                    <a:pt x="317" y="2246"/>
                  </a:lnTo>
                  <a:lnTo>
                    <a:pt x="319" y="2248"/>
                  </a:lnTo>
                  <a:lnTo>
                    <a:pt x="319" y="2250"/>
                  </a:lnTo>
                  <a:lnTo>
                    <a:pt x="321" y="2250"/>
                  </a:lnTo>
                  <a:lnTo>
                    <a:pt x="321" y="2252"/>
                  </a:lnTo>
                  <a:lnTo>
                    <a:pt x="321" y="2253"/>
                  </a:lnTo>
                  <a:lnTo>
                    <a:pt x="323" y="2253"/>
                  </a:lnTo>
                  <a:lnTo>
                    <a:pt x="325" y="2255"/>
                  </a:lnTo>
                  <a:lnTo>
                    <a:pt x="325" y="2257"/>
                  </a:lnTo>
                  <a:lnTo>
                    <a:pt x="323" y="2257"/>
                  </a:lnTo>
                  <a:lnTo>
                    <a:pt x="325" y="2259"/>
                  </a:lnTo>
                  <a:lnTo>
                    <a:pt x="325" y="2257"/>
                  </a:lnTo>
                  <a:lnTo>
                    <a:pt x="326" y="2257"/>
                  </a:lnTo>
                  <a:lnTo>
                    <a:pt x="326" y="2259"/>
                  </a:lnTo>
                  <a:lnTo>
                    <a:pt x="326" y="2261"/>
                  </a:lnTo>
                  <a:lnTo>
                    <a:pt x="328" y="2261"/>
                  </a:lnTo>
                  <a:lnTo>
                    <a:pt x="328" y="2259"/>
                  </a:lnTo>
                  <a:lnTo>
                    <a:pt x="326" y="2257"/>
                  </a:lnTo>
                  <a:lnTo>
                    <a:pt x="328" y="2257"/>
                  </a:lnTo>
                  <a:lnTo>
                    <a:pt x="330" y="2257"/>
                  </a:lnTo>
                  <a:lnTo>
                    <a:pt x="332" y="2257"/>
                  </a:lnTo>
                  <a:lnTo>
                    <a:pt x="334" y="2255"/>
                  </a:lnTo>
                  <a:lnTo>
                    <a:pt x="336" y="2255"/>
                  </a:lnTo>
                  <a:lnTo>
                    <a:pt x="338" y="2255"/>
                  </a:lnTo>
                  <a:lnTo>
                    <a:pt x="340" y="2255"/>
                  </a:lnTo>
                  <a:lnTo>
                    <a:pt x="342" y="2257"/>
                  </a:lnTo>
                  <a:lnTo>
                    <a:pt x="342" y="2255"/>
                  </a:lnTo>
                  <a:lnTo>
                    <a:pt x="340" y="2255"/>
                  </a:lnTo>
                  <a:lnTo>
                    <a:pt x="338" y="2253"/>
                  </a:lnTo>
                  <a:lnTo>
                    <a:pt x="336" y="2253"/>
                  </a:lnTo>
                  <a:lnTo>
                    <a:pt x="336" y="2255"/>
                  </a:lnTo>
                  <a:lnTo>
                    <a:pt x="334" y="2255"/>
                  </a:lnTo>
                  <a:lnTo>
                    <a:pt x="332" y="2255"/>
                  </a:lnTo>
                  <a:lnTo>
                    <a:pt x="330" y="2255"/>
                  </a:lnTo>
                  <a:lnTo>
                    <a:pt x="328" y="2253"/>
                  </a:lnTo>
                  <a:lnTo>
                    <a:pt x="328" y="2252"/>
                  </a:lnTo>
                  <a:lnTo>
                    <a:pt x="326" y="2252"/>
                  </a:lnTo>
                  <a:lnTo>
                    <a:pt x="328" y="2252"/>
                  </a:lnTo>
                  <a:lnTo>
                    <a:pt x="328" y="2250"/>
                  </a:lnTo>
                  <a:lnTo>
                    <a:pt x="328" y="2252"/>
                  </a:lnTo>
                  <a:lnTo>
                    <a:pt x="330" y="2252"/>
                  </a:lnTo>
                  <a:lnTo>
                    <a:pt x="332" y="2250"/>
                  </a:lnTo>
                  <a:lnTo>
                    <a:pt x="334" y="2250"/>
                  </a:lnTo>
                  <a:lnTo>
                    <a:pt x="336" y="2248"/>
                  </a:lnTo>
                  <a:lnTo>
                    <a:pt x="338" y="2248"/>
                  </a:lnTo>
                  <a:lnTo>
                    <a:pt x="340" y="2246"/>
                  </a:lnTo>
                  <a:lnTo>
                    <a:pt x="340" y="2244"/>
                  </a:lnTo>
                  <a:lnTo>
                    <a:pt x="342" y="2244"/>
                  </a:lnTo>
                  <a:lnTo>
                    <a:pt x="342" y="2246"/>
                  </a:lnTo>
                  <a:lnTo>
                    <a:pt x="346" y="2248"/>
                  </a:lnTo>
                  <a:lnTo>
                    <a:pt x="344" y="2246"/>
                  </a:lnTo>
                  <a:lnTo>
                    <a:pt x="346" y="2246"/>
                  </a:lnTo>
                  <a:lnTo>
                    <a:pt x="348" y="2246"/>
                  </a:lnTo>
                  <a:lnTo>
                    <a:pt x="346" y="2246"/>
                  </a:lnTo>
                  <a:lnTo>
                    <a:pt x="346" y="2244"/>
                  </a:lnTo>
                  <a:lnTo>
                    <a:pt x="344" y="2244"/>
                  </a:lnTo>
                  <a:lnTo>
                    <a:pt x="348" y="2242"/>
                  </a:lnTo>
                  <a:lnTo>
                    <a:pt x="348" y="2244"/>
                  </a:lnTo>
                  <a:lnTo>
                    <a:pt x="349" y="2244"/>
                  </a:lnTo>
                  <a:lnTo>
                    <a:pt x="349" y="2242"/>
                  </a:lnTo>
                  <a:lnTo>
                    <a:pt x="348" y="2242"/>
                  </a:lnTo>
                  <a:lnTo>
                    <a:pt x="349" y="2242"/>
                  </a:lnTo>
                  <a:lnTo>
                    <a:pt x="348" y="2242"/>
                  </a:lnTo>
                  <a:lnTo>
                    <a:pt x="349" y="2242"/>
                  </a:lnTo>
                  <a:lnTo>
                    <a:pt x="349" y="2240"/>
                  </a:lnTo>
                  <a:lnTo>
                    <a:pt x="348" y="2240"/>
                  </a:lnTo>
                  <a:lnTo>
                    <a:pt x="348" y="2242"/>
                  </a:lnTo>
                  <a:lnTo>
                    <a:pt x="346" y="2242"/>
                  </a:lnTo>
                  <a:lnTo>
                    <a:pt x="346" y="2240"/>
                  </a:lnTo>
                  <a:lnTo>
                    <a:pt x="346" y="2238"/>
                  </a:lnTo>
                  <a:lnTo>
                    <a:pt x="346" y="2240"/>
                  </a:lnTo>
                  <a:lnTo>
                    <a:pt x="346" y="2238"/>
                  </a:lnTo>
                  <a:lnTo>
                    <a:pt x="348" y="2238"/>
                  </a:lnTo>
                  <a:lnTo>
                    <a:pt x="348" y="2236"/>
                  </a:lnTo>
                  <a:lnTo>
                    <a:pt x="348" y="2234"/>
                  </a:lnTo>
                  <a:lnTo>
                    <a:pt x="349" y="2232"/>
                  </a:lnTo>
                  <a:lnTo>
                    <a:pt x="349" y="2230"/>
                  </a:lnTo>
                  <a:lnTo>
                    <a:pt x="351" y="2228"/>
                  </a:lnTo>
                  <a:lnTo>
                    <a:pt x="353" y="2227"/>
                  </a:lnTo>
                  <a:lnTo>
                    <a:pt x="355" y="2227"/>
                  </a:lnTo>
                  <a:lnTo>
                    <a:pt x="355" y="2228"/>
                  </a:lnTo>
                  <a:lnTo>
                    <a:pt x="357" y="2228"/>
                  </a:lnTo>
                  <a:lnTo>
                    <a:pt x="355" y="2227"/>
                  </a:lnTo>
                  <a:lnTo>
                    <a:pt x="353" y="2227"/>
                  </a:lnTo>
                  <a:lnTo>
                    <a:pt x="353" y="2225"/>
                  </a:lnTo>
                  <a:lnTo>
                    <a:pt x="353" y="2223"/>
                  </a:lnTo>
                  <a:lnTo>
                    <a:pt x="355" y="2223"/>
                  </a:lnTo>
                  <a:lnTo>
                    <a:pt x="355" y="2221"/>
                  </a:lnTo>
                  <a:lnTo>
                    <a:pt x="357" y="2221"/>
                  </a:lnTo>
                  <a:lnTo>
                    <a:pt x="357" y="2219"/>
                  </a:lnTo>
                  <a:lnTo>
                    <a:pt x="359" y="2219"/>
                  </a:lnTo>
                  <a:lnTo>
                    <a:pt x="361" y="2219"/>
                  </a:lnTo>
                  <a:lnTo>
                    <a:pt x="361" y="2217"/>
                  </a:lnTo>
                  <a:lnTo>
                    <a:pt x="363" y="2217"/>
                  </a:lnTo>
                  <a:lnTo>
                    <a:pt x="363" y="2215"/>
                  </a:lnTo>
                  <a:lnTo>
                    <a:pt x="365" y="2215"/>
                  </a:lnTo>
                  <a:lnTo>
                    <a:pt x="367" y="2215"/>
                  </a:lnTo>
                  <a:lnTo>
                    <a:pt x="369" y="2215"/>
                  </a:lnTo>
                  <a:lnTo>
                    <a:pt x="369" y="2217"/>
                  </a:lnTo>
                  <a:lnTo>
                    <a:pt x="367" y="2219"/>
                  </a:lnTo>
                  <a:lnTo>
                    <a:pt x="367" y="2221"/>
                  </a:lnTo>
                  <a:lnTo>
                    <a:pt x="367" y="2223"/>
                  </a:lnTo>
                  <a:lnTo>
                    <a:pt x="367" y="2221"/>
                  </a:lnTo>
                  <a:lnTo>
                    <a:pt x="369" y="2221"/>
                  </a:lnTo>
                  <a:lnTo>
                    <a:pt x="369" y="2219"/>
                  </a:lnTo>
                  <a:lnTo>
                    <a:pt x="369" y="2221"/>
                  </a:lnTo>
                  <a:lnTo>
                    <a:pt x="369" y="2219"/>
                  </a:lnTo>
                  <a:lnTo>
                    <a:pt x="371" y="2217"/>
                  </a:lnTo>
                  <a:lnTo>
                    <a:pt x="372" y="2219"/>
                  </a:lnTo>
                  <a:lnTo>
                    <a:pt x="374" y="2219"/>
                  </a:lnTo>
                  <a:lnTo>
                    <a:pt x="376" y="2219"/>
                  </a:lnTo>
                  <a:lnTo>
                    <a:pt x="378" y="2219"/>
                  </a:lnTo>
                  <a:lnTo>
                    <a:pt x="376" y="2219"/>
                  </a:lnTo>
                  <a:lnTo>
                    <a:pt x="376" y="2217"/>
                  </a:lnTo>
                  <a:lnTo>
                    <a:pt x="374" y="2217"/>
                  </a:lnTo>
                  <a:lnTo>
                    <a:pt x="372" y="2217"/>
                  </a:lnTo>
                  <a:lnTo>
                    <a:pt x="371" y="2217"/>
                  </a:lnTo>
                  <a:lnTo>
                    <a:pt x="369" y="2217"/>
                  </a:lnTo>
                  <a:lnTo>
                    <a:pt x="369" y="2215"/>
                  </a:lnTo>
                  <a:lnTo>
                    <a:pt x="371" y="2215"/>
                  </a:lnTo>
                  <a:lnTo>
                    <a:pt x="371" y="2213"/>
                  </a:lnTo>
                  <a:lnTo>
                    <a:pt x="372" y="2211"/>
                  </a:lnTo>
                  <a:lnTo>
                    <a:pt x="374" y="2211"/>
                  </a:lnTo>
                  <a:lnTo>
                    <a:pt x="372" y="2211"/>
                  </a:lnTo>
                  <a:lnTo>
                    <a:pt x="372" y="2213"/>
                  </a:lnTo>
                  <a:lnTo>
                    <a:pt x="372" y="2211"/>
                  </a:lnTo>
                  <a:lnTo>
                    <a:pt x="374" y="2211"/>
                  </a:lnTo>
                  <a:lnTo>
                    <a:pt x="374" y="2213"/>
                  </a:lnTo>
                  <a:lnTo>
                    <a:pt x="376" y="2213"/>
                  </a:lnTo>
                  <a:lnTo>
                    <a:pt x="378" y="2213"/>
                  </a:lnTo>
                  <a:lnTo>
                    <a:pt x="378" y="2215"/>
                  </a:lnTo>
                  <a:lnTo>
                    <a:pt x="382" y="2215"/>
                  </a:lnTo>
                  <a:lnTo>
                    <a:pt x="382" y="2217"/>
                  </a:lnTo>
                  <a:lnTo>
                    <a:pt x="380" y="2217"/>
                  </a:lnTo>
                  <a:lnTo>
                    <a:pt x="382" y="2217"/>
                  </a:lnTo>
                  <a:lnTo>
                    <a:pt x="382" y="2215"/>
                  </a:lnTo>
                  <a:lnTo>
                    <a:pt x="384" y="2215"/>
                  </a:lnTo>
                  <a:lnTo>
                    <a:pt x="386" y="2215"/>
                  </a:lnTo>
                  <a:lnTo>
                    <a:pt x="386" y="2217"/>
                  </a:lnTo>
                  <a:lnTo>
                    <a:pt x="388" y="2217"/>
                  </a:lnTo>
                  <a:lnTo>
                    <a:pt x="388" y="2219"/>
                  </a:lnTo>
                  <a:lnTo>
                    <a:pt x="386" y="2219"/>
                  </a:lnTo>
                  <a:lnTo>
                    <a:pt x="384" y="2219"/>
                  </a:lnTo>
                  <a:lnTo>
                    <a:pt x="382" y="2219"/>
                  </a:lnTo>
                  <a:lnTo>
                    <a:pt x="380" y="2219"/>
                  </a:lnTo>
                  <a:lnTo>
                    <a:pt x="378" y="2219"/>
                  </a:lnTo>
                  <a:lnTo>
                    <a:pt x="380" y="2219"/>
                  </a:lnTo>
                  <a:lnTo>
                    <a:pt x="382" y="2219"/>
                  </a:lnTo>
                  <a:lnTo>
                    <a:pt x="384" y="2219"/>
                  </a:lnTo>
                  <a:lnTo>
                    <a:pt x="386" y="2219"/>
                  </a:lnTo>
                  <a:lnTo>
                    <a:pt x="388" y="2219"/>
                  </a:lnTo>
                  <a:lnTo>
                    <a:pt x="390" y="2219"/>
                  </a:lnTo>
                  <a:lnTo>
                    <a:pt x="396" y="2221"/>
                  </a:lnTo>
                  <a:lnTo>
                    <a:pt x="397" y="2221"/>
                  </a:lnTo>
                  <a:lnTo>
                    <a:pt x="401" y="2221"/>
                  </a:lnTo>
                  <a:lnTo>
                    <a:pt x="403" y="2223"/>
                  </a:lnTo>
                  <a:lnTo>
                    <a:pt x="403" y="2221"/>
                  </a:lnTo>
                  <a:lnTo>
                    <a:pt x="403" y="2223"/>
                  </a:lnTo>
                  <a:lnTo>
                    <a:pt x="405" y="2223"/>
                  </a:lnTo>
                  <a:lnTo>
                    <a:pt x="407" y="2223"/>
                  </a:lnTo>
                  <a:lnTo>
                    <a:pt x="409" y="2223"/>
                  </a:lnTo>
                  <a:lnTo>
                    <a:pt x="411" y="2223"/>
                  </a:lnTo>
                  <a:lnTo>
                    <a:pt x="413" y="2223"/>
                  </a:lnTo>
                  <a:lnTo>
                    <a:pt x="415" y="2223"/>
                  </a:lnTo>
                  <a:lnTo>
                    <a:pt x="415" y="2221"/>
                  </a:lnTo>
                  <a:lnTo>
                    <a:pt x="417" y="2221"/>
                  </a:lnTo>
                  <a:lnTo>
                    <a:pt x="417" y="2219"/>
                  </a:lnTo>
                  <a:lnTo>
                    <a:pt x="419" y="2219"/>
                  </a:lnTo>
                  <a:lnTo>
                    <a:pt x="420" y="2217"/>
                  </a:lnTo>
                  <a:lnTo>
                    <a:pt x="422" y="2217"/>
                  </a:lnTo>
                  <a:lnTo>
                    <a:pt x="424" y="2217"/>
                  </a:lnTo>
                  <a:lnTo>
                    <a:pt x="424" y="2215"/>
                  </a:lnTo>
                  <a:lnTo>
                    <a:pt x="424" y="2217"/>
                  </a:lnTo>
                  <a:lnTo>
                    <a:pt x="426" y="2217"/>
                  </a:lnTo>
                  <a:lnTo>
                    <a:pt x="426" y="2215"/>
                  </a:lnTo>
                  <a:lnTo>
                    <a:pt x="426" y="2217"/>
                  </a:lnTo>
                  <a:lnTo>
                    <a:pt x="426" y="2215"/>
                  </a:lnTo>
                  <a:lnTo>
                    <a:pt x="428" y="2215"/>
                  </a:lnTo>
                  <a:lnTo>
                    <a:pt x="428" y="2217"/>
                  </a:lnTo>
                  <a:lnTo>
                    <a:pt x="428" y="2219"/>
                  </a:lnTo>
                  <a:lnTo>
                    <a:pt x="428" y="2217"/>
                  </a:lnTo>
                  <a:lnTo>
                    <a:pt x="428" y="2215"/>
                  </a:lnTo>
                  <a:lnTo>
                    <a:pt x="430" y="2215"/>
                  </a:lnTo>
                  <a:lnTo>
                    <a:pt x="428" y="2215"/>
                  </a:lnTo>
                  <a:lnTo>
                    <a:pt x="430" y="2215"/>
                  </a:lnTo>
                  <a:lnTo>
                    <a:pt x="432" y="2215"/>
                  </a:lnTo>
                  <a:lnTo>
                    <a:pt x="432" y="2219"/>
                  </a:lnTo>
                  <a:lnTo>
                    <a:pt x="432" y="2217"/>
                  </a:lnTo>
                  <a:lnTo>
                    <a:pt x="432" y="2215"/>
                  </a:lnTo>
                  <a:lnTo>
                    <a:pt x="432" y="2213"/>
                  </a:lnTo>
                  <a:lnTo>
                    <a:pt x="432" y="2215"/>
                  </a:lnTo>
                  <a:lnTo>
                    <a:pt x="434" y="2215"/>
                  </a:lnTo>
                  <a:lnTo>
                    <a:pt x="436" y="2215"/>
                  </a:lnTo>
                  <a:lnTo>
                    <a:pt x="440" y="2215"/>
                  </a:lnTo>
                  <a:lnTo>
                    <a:pt x="442" y="2217"/>
                  </a:lnTo>
                  <a:lnTo>
                    <a:pt x="443" y="2217"/>
                  </a:lnTo>
                  <a:lnTo>
                    <a:pt x="445" y="2217"/>
                  </a:lnTo>
                  <a:lnTo>
                    <a:pt x="445" y="2219"/>
                  </a:lnTo>
                  <a:lnTo>
                    <a:pt x="447" y="2221"/>
                  </a:lnTo>
                  <a:lnTo>
                    <a:pt x="449" y="2221"/>
                  </a:lnTo>
                  <a:lnTo>
                    <a:pt x="451" y="2223"/>
                  </a:lnTo>
                  <a:lnTo>
                    <a:pt x="453" y="2223"/>
                  </a:lnTo>
                  <a:lnTo>
                    <a:pt x="453" y="2225"/>
                  </a:lnTo>
                  <a:lnTo>
                    <a:pt x="453" y="2227"/>
                  </a:lnTo>
                  <a:lnTo>
                    <a:pt x="453" y="2228"/>
                  </a:lnTo>
                  <a:lnTo>
                    <a:pt x="455" y="2228"/>
                  </a:lnTo>
                  <a:lnTo>
                    <a:pt x="455" y="2230"/>
                  </a:lnTo>
                  <a:lnTo>
                    <a:pt x="457" y="2230"/>
                  </a:lnTo>
                  <a:lnTo>
                    <a:pt x="459" y="2230"/>
                  </a:lnTo>
                  <a:lnTo>
                    <a:pt x="465" y="2232"/>
                  </a:lnTo>
                  <a:lnTo>
                    <a:pt x="470" y="2230"/>
                  </a:lnTo>
                  <a:lnTo>
                    <a:pt x="470" y="2228"/>
                  </a:lnTo>
                  <a:lnTo>
                    <a:pt x="468" y="2228"/>
                  </a:lnTo>
                  <a:lnTo>
                    <a:pt x="470" y="2228"/>
                  </a:lnTo>
                  <a:lnTo>
                    <a:pt x="468" y="2227"/>
                  </a:lnTo>
                  <a:lnTo>
                    <a:pt x="467" y="2227"/>
                  </a:lnTo>
                  <a:lnTo>
                    <a:pt x="467" y="2225"/>
                  </a:lnTo>
                  <a:lnTo>
                    <a:pt x="470" y="2225"/>
                  </a:lnTo>
                  <a:lnTo>
                    <a:pt x="472" y="2225"/>
                  </a:lnTo>
                  <a:lnTo>
                    <a:pt x="470" y="2227"/>
                  </a:lnTo>
                  <a:lnTo>
                    <a:pt x="470" y="2228"/>
                  </a:lnTo>
                  <a:lnTo>
                    <a:pt x="470" y="2230"/>
                  </a:lnTo>
                  <a:lnTo>
                    <a:pt x="472" y="2230"/>
                  </a:lnTo>
                  <a:lnTo>
                    <a:pt x="474" y="2230"/>
                  </a:lnTo>
                  <a:lnTo>
                    <a:pt x="474" y="2228"/>
                  </a:lnTo>
                  <a:lnTo>
                    <a:pt x="474" y="2230"/>
                  </a:lnTo>
                  <a:lnTo>
                    <a:pt x="476" y="2230"/>
                  </a:lnTo>
                  <a:lnTo>
                    <a:pt x="480" y="2228"/>
                  </a:lnTo>
                  <a:lnTo>
                    <a:pt x="482" y="2228"/>
                  </a:lnTo>
                  <a:lnTo>
                    <a:pt x="480" y="2227"/>
                  </a:lnTo>
                  <a:lnTo>
                    <a:pt x="482" y="2228"/>
                  </a:lnTo>
                  <a:lnTo>
                    <a:pt x="482" y="2227"/>
                  </a:lnTo>
                  <a:lnTo>
                    <a:pt x="482" y="2228"/>
                  </a:lnTo>
                  <a:lnTo>
                    <a:pt x="484" y="2228"/>
                  </a:lnTo>
                  <a:lnTo>
                    <a:pt x="484" y="2227"/>
                  </a:lnTo>
                  <a:lnTo>
                    <a:pt x="484" y="2228"/>
                  </a:lnTo>
                  <a:lnTo>
                    <a:pt x="488" y="2228"/>
                  </a:lnTo>
                  <a:lnTo>
                    <a:pt x="491" y="2230"/>
                  </a:lnTo>
                  <a:lnTo>
                    <a:pt x="493" y="2230"/>
                  </a:lnTo>
                  <a:lnTo>
                    <a:pt x="495" y="2230"/>
                  </a:lnTo>
                  <a:lnTo>
                    <a:pt x="497" y="2230"/>
                  </a:lnTo>
                  <a:lnTo>
                    <a:pt x="499" y="2230"/>
                  </a:lnTo>
                  <a:lnTo>
                    <a:pt x="501" y="2230"/>
                  </a:lnTo>
                  <a:lnTo>
                    <a:pt x="501" y="2228"/>
                  </a:lnTo>
                  <a:lnTo>
                    <a:pt x="503" y="2228"/>
                  </a:lnTo>
                  <a:lnTo>
                    <a:pt x="505" y="2228"/>
                  </a:lnTo>
                  <a:lnTo>
                    <a:pt x="507" y="2228"/>
                  </a:lnTo>
                  <a:lnTo>
                    <a:pt x="509" y="2227"/>
                  </a:lnTo>
                  <a:lnTo>
                    <a:pt x="511" y="2227"/>
                  </a:lnTo>
                  <a:lnTo>
                    <a:pt x="515" y="2228"/>
                  </a:lnTo>
                  <a:lnTo>
                    <a:pt x="516" y="2228"/>
                  </a:lnTo>
                  <a:lnTo>
                    <a:pt x="518" y="2228"/>
                  </a:lnTo>
                  <a:lnTo>
                    <a:pt x="518" y="2227"/>
                  </a:lnTo>
                  <a:lnTo>
                    <a:pt x="518" y="2228"/>
                  </a:lnTo>
                  <a:lnTo>
                    <a:pt x="520" y="2228"/>
                  </a:lnTo>
                  <a:lnTo>
                    <a:pt x="520" y="2230"/>
                  </a:lnTo>
                  <a:lnTo>
                    <a:pt x="520" y="2228"/>
                  </a:lnTo>
                  <a:lnTo>
                    <a:pt x="522" y="2228"/>
                  </a:lnTo>
                  <a:lnTo>
                    <a:pt x="520" y="2228"/>
                  </a:lnTo>
                  <a:lnTo>
                    <a:pt x="520" y="2227"/>
                  </a:lnTo>
                  <a:lnTo>
                    <a:pt x="522" y="2227"/>
                  </a:lnTo>
                  <a:lnTo>
                    <a:pt x="522" y="2228"/>
                  </a:lnTo>
                  <a:lnTo>
                    <a:pt x="524" y="2228"/>
                  </a:lnTo>
                  <a:lnTo>
                    <a:pt x="524" y="2230"/>
                  </a:lnTo>
                  <a:lnTo>
                    <a:pt x="524" y="2232"/>
                  </a:lnTo>
                  <a:lnTo>
                    <a:pt x="524" y="2230"/>
                  </a:lnTo>
                  <a:lnTo>
                    <a:pt x="526" y="2230"/>
                  </a:lnTo>
                  <a:lnTo>
                    <a:pt x="524" y="2232"/>
                  </a:lnTo>
                  <a:lnTo>
                    <a:pt x="524" y="2234"/>
                  </a:lnTo>
                  <a:lnTo>
                    <a:pt x="526" y="2234"/>
                  </a:lnTo>
                  <a:lnTo>
                    <a:pt x="526" y="2236"/>
                  </a:lnTo>
                  <a:lnTo>
                    <a:pt x="526" y="2238"/>
                  </a:lnTo>
                  <a:lnTo>
                    <a:pt x="524" y="2238"/>
                  </a:lnTo>
                  <a:lnTo>
                    <a:pt x="522" y="2238"/>
                  </a:lnTo>
                  <a:lnTo>
                    <a:pt x="524" y="2238"/>
                  </a:lnTo>
                  <a:lnTo>
                    <a:pt x="524" y="2240"/>
                  </a:lnTo>
                  <a:lnTo>
                    <a:pt x="526" y="2238"/>
                  </a:lnTo>
                  <a:lnTo>
                    <a:pt x="524" y="2240"/>
                  </a:lnTo>
                  <a:lnTo>
                    <a:pt x="526" y="2246"/>
                  </a:lnTo>
                  <a:lnTo>
                    <a:pt x="528" y="2246"/>
                  </a:lnTo>
                  <a:lnTo>
                    <a:pt x="528" y="2242"/>
                  </a:lnTo>
                  <a:lnTo>
                    <a:pt x="528" y="2248"/>
                  </a:lnTo>
                  <a:lnTo>
                    <a:pt x="530" y="2250"/>
                  </a:lnTo>
                  <a:lnTo>
                    <a:pt x="534" y="2255"/>
                  </a:lnTo>
                  <a:lnTo>
                    <a:pt x="536" y="2255"/>
                  </a:lnTo>
                  <a:lnTo>
                    <a:pt x="539" y="2253"/>
                  </a:lnTo>
                  <a:lnTo>
                    <a:pt x="541" y="2252"/>
                  </a:lnTo>
                  <a:lnTo>
                    <a:pt x="543" y="2252"/>
                  </a:lnTo>
                  <a:lnTo>
                    <a:pt x="543" y="2250"/>
                  </a:lnTo>
                  <a:lnTo>
                    <a:pt x="543" y="2252"/>
                  </a:lnTo>
                  <a:lnTo>
                    <a:pt x="545" y="2252"/>
                  </a:lnTo>
                  <a:lnTo>
                    <a:pt x="545" y="2250"/>
                  </a:lnTo>
                  <a:lnTo>
                    <a:pt x="545" y="2252"/>
                  </a:lnTo>
                  <a:lnTo>
                    <a:pt x="547" y="2252"/>
                  </a:lnTo>
                  <a:lnTo>
                    <a:pt x="547" y="2250"/>
                  </a:lnTo>
                  <a:lnTo>
                    <a:pt x="549" y="2250"/>
                  </a:lnTo>
                  <a:lnTo>
                    <a:pt x="551" y="2252"/>
                  </a:lnTo>
                  <a:lnTo>
                    <a:pt x="553" y="2252"/>
                  </a:lnTo>
                  <a:lnTo>
                    <a:pt x="555" y="2252"/>
                  </a:lnTo>
                  <a:lnTo>
                    <a:pt x="557" y="2252"/>
                  </a:lnTo>
                  <a:lnTo>
                    <a:pt x="555" y="2252"/>
                  </a:lnTo>
                  <a:lnTo>
                    <a:pt x="553" y="2252"/>
                  </a:lnTo>
                  <a:lnTo>
                    <a:pt x="551" y="2252"/>
                  </a:lnTo>
                  <a:lnTo>
                    <a:pt x="553" y="2252"/>
                  </a:lnTo>
                  <a:lnTo>
                    <a:pt x="555" y="2253"/>
                  </a:lnTo>
                  <a:lnTo>
                    <a:pt x="555" y="2252"/>
                  </a:lnTo>
                  <a:lnTo>
                    <a:pt x="557" y="2253"/>
                  </a:lnTo>
                  <a:lnTo>
                    <a:pt x="559" y="2253"/>
                  </a:lnTo>
                  <a:lnTo>
                    <a:pt x="557" y="2253"/>
                  </a:lnTo>
                  <a:lnTo>
                    <a:pt x="559" y="2253"/>
                  </a:lnTo>
                  <a:lnTo>
                    <a:pt x="559" y="2255"/>
                  </a:lnTo>
                  <a:lnTo>
                    <a:pt x="559" y="2253"/>
                  </a:lnTo>
                  <a:lnTo>
                    <a:pt x="561" y="2253"/>
                  </a:lnTo>
                  <a:lnTo>
                    <a:pt x="559" y="2255"/>
                  </a:lnTo>
                  <a:lnTo>
                    <a:pt x="559" y="2253"/>
                  </a:lnTo>
                  <a:lnTo>
                    <a:pt x="559" y="2255"/>
                  </a:lnTo>
                  <a:lnTo>
                    <a:pt x="561" y="2255"/>
                  </a:lnTo>
                  <a:lnTo>
                    <a:pt x="562" y="2255"/>
                  </a:lnTo>
                  <a:lnTo>
                    <a:pt x="564" y="2255"/>
                  </a:lnTo>
                  <a:lnTo>
                    <a:pt x="564" y="2257"/>
                  </a:lnTo>
                  <a:lnTo>
                    <a:pt x="566" y="2257"/>
                  </a:lnTo>
                  <a:lnTo>
                    <a:pt x="570" y="2259"/>
                  </a:lnTo>
                  <a:lnTo>
                    <a:pt x="568" y="2259"/>
                  </a:lnTo>
                  <a:lnTo>
                    <a:pt x="570" y="2261"/>
                  </a:lnTo>
                  <a:lnTo>
                    <a:pt x="572" y="2261"/>
                  </a:lnTo>
                  <a:lnTo>
                    <a:pt x="572" y="2259"/>
                  </a:lnTo>
                  <a:lnTo>
                    <a:pt x="572" y="2261"/>
                  </a:lnTo>
                  <a:lnTo>
                    <a:pt x="574" y="2261"/>
                  </a:lnTo>
                  <a:lnTo>
                    <a:pt x="576" y="2261"/>
                  </a:lnTo>
                  <a:lnTo>
                    <a:pt x="576" y="2263"/>
                  </a:lnTo>
                  <a:lnTo>
                    <a:pt x="578" y="2263"/>
                  </a:lnTo>
                  <a:lnTo>
                    <a:pt x="580" y="2265"/>
                  </a:lnTo>
                  <a:lnTo>
                    <a:pt x="578" y="2263"/>
                  </a:lnTo>
                  <a:lnTo>
                    <a:pt x="578" y="2265"/>
                  </a:lnTo>
                  <a:lnTo>
                    <a:pt x="580" y="2265"/>
                  </a:lnTo>
                  <a:lnTo>
                    <a:pt x="582" y="2265"/>
                  </a:lnTo>
                  <a:lnTo>
                    <a:pt x="584" y="2267"/>
                  </a:lnTo>
                  <a:lnTo>
                    <a:pt x="586" y="2267"/>
                  </a:lnTo>
                  <a:lnTo>
                    <a:pt x="587" y="2265"/>
                  </a:lnTo>
                  <a:lnTo>
                    <a:pt x="586" y="2265"/>
                  </a:lnTo>
                  <a:lnTo>
                    <a:pt x="587" y="2267"/>
                  </a:lnTo>
                  <a:lnTo>
                    <a:pt x="587" y="2269"/>
                  </a:lnTo>
                  <a:lnTo>
                    <a:pt x="586" y="2269"/>
                  </a:lnTo>
                  <a:lnTo>
                    <a:pt x="586" y="2271"/>
                  </a:lnTo>
                  <a:lnTo>
                    <a:pt x="586" y="2273"/>
                  </a:lnTo>
                  <a:lnTo>
                    <a:pt x="586" y="2275"/>
                  </a:lnTo>
                  <a:lnTo>
                    <a:pt x="586" y="2277"/>
                  </a:lnTo>
                  <a:lnTo>
                    <a:pt x="587" y="2277"/>
                  </a:lnTo>
                  <a:lnTo>
                    <a:pt x="587" y="2273"/>
                  </a:lnTo>
                  <a:lnTo>
                    <a:pt x="586" y="2273"/>
                  </a:lnTo>
                  <a:lnTo>
                    <a:pt x="586" y="2271"/>
                  </a:lnTo>
                  <a:lnTo>
                    <a:pt x="587" y="2271"/>
                  </a:lnTo>
                  <a:lnTo>
                    <a:pt x="587" y="2275"/>
                  </a:lnTo>
                  <a:lnTo>
                    <a:pt x="589" y="2275"/>
                  </a:lnTo>
                  <a:lnTo>
                    <a:pt x="587" y="2275"/>
                  </a:lnTo>
                  <a:lnTo>
                    <a:pt x="587" y="2277"/>
                  </a:lnTo>
                  <a:lnTo>
                    <a:pt x="589" y="2277"/>
                  </a:lnTo>
                  <a:lnTo>
                    <a:pt x="589" y="2275"/>
                  </a:lnTo>
                  <a:lnTo>
                    <a:pt x="589" y="2273"/>
                  </a:lnTo>
                  <a:lnTo>
                    <a:pt x="589" y="2271"/>
                  </a:lnTo>
                  <a:lnTo>
                    <a:pt x="589" y="2269"/>
                  </a:lnTo>
                  <a:lnTo>
                    <a:pt x="589" y="2267"/>
                  </a:lnTo>
                  <a:lnTo>
                    <a:pt x="587" y="2267"/>
                  </a:lnTo>
                  <a:lnTo>
                    <a:pt x="589" y="2267"/>
                  </a:lnTo>
                  <a:lnTo>
                    <a:pt x="589" y="2269"/>
                  </a:lnTo>
                  <a:lnTo>
                    <a:pt x="591" y="2269"/>
                  </a:lnTo>
                  <a:lnTo>
                    <a:pt x="593" y="2269"/>
                  </a:lnTo>
                  <a:lnTo>
                    <a:pt x="595" y="2271"/>
                  </a:lnTo>
                  <a:lnTo>
                    <a:pt x="595" y="2269"/>
                  </a:lnTo>
                  <a:lnTo>
                    <a:pt x="597" y="2269"/>
                  </a:lnTo>
                  <a:lnTo>
                    <a:pt x="597" y="2271"/>
                  </a:lnTo>
                  <a:lnTo>
                    <a:pt x="599" y="2271"/>
                  </a:lnTo>
                  <a:lnTo>
                    <a:pt x="599" y="2273"/>
                  </a:lnTo>
                  <a:lnTo>
                    <a:pt x="599" y="2275"/>
                  </a:lnTo>
                  <a:lnTo>
                    <a:pt x="601" y="2277"/>
                  </a:lnTo>
                  <a:lnTo>
                    <a:pt x="601" y="2278"/>
                  </a:lnTo>
                  <a:lnTo>
                    <a:pt x="601" y="2280"/>
                  </a:lnTo>
                  <a:lnTo>
                    <a:pt x="605" y="2280"/>
                  </a:lnTo>
                  <a:lnTo>
                    <a:pt x="605" y="2282"/>
                  </a:lnTo>
                  <a:lnTo>
                    <a:pt x="610" y="2288"/>
                  </a:lnTo>
                  <a:lnTo>
                    <a:pt x="612" y="2288"/>
                  </a:lnTo>
                  <a:lnTo>
                    <a:pt x="614" y="2290"/>
                  </a:lnTo>
                  <a:lnTo>
                    <a:pt x="616" y="2292"/>
                  </a:lnTo>
                  <a:lnTo>
                    <a:pt x="616" y="2294"/>
                  </a:lnTo>
                  <a:lnTo>
                    <a:pt x="618" y="2296"/>
                  </a:lnTo>
                  <a:lnTo>
                    <a:pt x="620" y="2296"/>
                  </a:lnTo>
                  <a:lnTo>
                    <a:pt x="622" y="2296"/>
                  </a:lnTo>
                  <a:lnTo>
                    <a:pt x="624" y="2296"/>
                  </a:lnTo>
                  <a:lnTo>
                    <a:pt x="626" y="2296"/>
                  </a:lnTo>
                  <a:lnTo>
                    <a:pt x="628" y="2296"/>
                  </a:lnTo>
                  <a:lnTo>
                    <a:pt x="630" y="2298"/>
                  </a:lnTo>
                  <a:lnTo>
                    <a:pt x="630" y="2300"/>
                  </a:lnTo>
                  <a:lnTo>
                    <a:pt x="632" y="2300"/>
                  </a:lnTo>
                  <a:lnTo>
                    <a:pt x="632" y="2301"/>
                  </a:lnTo>
                  <a:lnTo>
                    <a:pt x="630" y="2301"/>
                  </a:lnTo>
                  <a:lnTo>
                    <a:pt x="630" y="2300"/>
                  </a:lnTo>
                  <a:lnTo>
                    <a:pt x="630" y="2298"/>
                  </a:lnTo>
                  <a:lnTo>
                    <a:pt x="628" y="2296"/>
                  </a:lnTo>
                  <a:lnTo>
                    <a:pt x="628" y="2298"/>
                  </a:lnTo>
                  <a:lnTo>
                    <a:pt x="628" y="2300"/>
                  </a:lnTo>
                  <a:lnTo>
                    <a:pt x="628" y="2301"/>
                  </a:lnTo>
                  <a:lnTo>
                    <a:pt x="630" y="2301"/>
                  </a:lnTo>
                  <a:lnTo>
                    <a:pt x="630" y="2303"/>
                  </a:lnTo>
                  <a:lnTo>
                    <a:pt x="632" y="2303"/>
                  </a:lnTo>
                  <a:lnTo>
                    <a:pt x="632" y="2305"/>
                  </a:lnTo>
                  <a:lnTo>
                    <a:pt x="632" y="2303"/>
                  </a:lnTo>
                  <a:lnTo>
                    <a:pt x="630" y="2303"/>
                  </a:lnTo>
                  <a:lnTo>
                    <a:pt x="628" y="2301"/>
                  </a:lnTo>
                  <a:lnTo>
                    <a:pt x="628" y="2303"/>
                  </a:lnTo>
                  <a:lnTo>
                    <a:pt x="630" y="2305"/>
                  </a:lnTo>
                  <a:lnTo>
                    <a:pt x="628" y="2305"/>
                  </a:lnTo>
                  <a:lnTo>
                    <a:pt x="630" y="2305"/>
                  </a:lnTo>
                  <a:lnTo>
                    <a:pt x="628" y="2305"/>
                  </a:lnTo>
                  <a:lnTo>
                    <a:pt x="628" y="2303"/>
                  </a:lnTo>
                  <a:lnTo>
                    <a:pt x="626" y="2305"/>
                  </a:lnTo>
                  <a:lnTo>
                    <a:pt x="628" y="2305"/>
                  </a:lnTo>
                  <a:lnTo>
                    <a:pt x="628" y="2307"/>
                  </a:lnTo>
                  <a:lnTo>
                    <a:pt x="628" y="2305"/>
                  </a:lnTo>
                  <a:lnTo>
                    <a:pt x="628" y="2307"/>
                  </a:lnTo>
                  <a:lnTo>
                    <a:pt x="628" y="2309"/>
                  </a:lnTo>
                  <a:lnTo>
                    <a:pt x="628" y="2311"/>
                  </a:lnTo>
                  <a:lnTo>
                    <a:pt x="628" y="2313"/>
                  </a:lnTo>
                  <a:lnTo>
                    <a:pt x="630" y="2313"/>
                  </a:lnTo>
                  <a:lnTo>
                    <a:pt x="630" y="2315"/>
                  </a:lnTo>
                  <a:lnTo>
                    <a:pt x="630" y="2317"/>
                  </a:lnTo>
                  <a:lnTo>
                    <a:pt x="632" y="2317"/>
                  </a:lnTo>
                  <a:lnTo>
                    <a:pt x="632" y="2319"/>
                  </a:lnTo>
                  <a:lnTo>
                    <a:pt x="630" y="2321"/>
                  </a:lnTo>
                  <a:lnTo>
                    <a:pt x="630" y="2323"/>
                  </a:lnTo>
                  <a:lnTo>
                    <a:pt x="628" y="2325"/>
                  </a:lnTo>
                  <a:lnTo>
                    <a:pt x="628" y="2326"/>
                  </a:lnTo>
                  <a:lnTo>
                    <a:pt x="628" y="2328"/>
                  </a:lnTo>
                  <a:lnTo>
                    <a:pt x="630" y="2332"/>
                  </a:lnTo>
                  <a:lnTo>
                    <a:pt x="630" y="2334"/>
                  </a:lnTo>
                  <a:lnTo>
                    <a:pt x="632" y="2336"/>
                  </a:lnTo>
                  <a:lnTo>
                    <a:pt x="634" y="2338"/>
                  </a:lnTo>
                  <a:lnTo>
                    <a:pt x="635" y="2342"/>
                  </a:lnTo>
                  <a:lnTo>
                    <a:pt x="635" y="2344"/>
                  </a:lnTo>
                  <a:lnTo>
                    <a:pt x="637" y="2344"/>
                  </a:lnTo>
                  <a:lnTo>
                    <a:pt x="637" y="2346"/>
                  </a:lnTo>
                  <a:lnTo>
                    <a:pt x="637" y="2348"/>
                  </a:lnTo>
                  <a:lnTo>
                    <a:pt x="639" y="2346"/>
                  </a:lnTo>
                  <a:lnTo>
                    <a:pt x="639" y="2348"/>
                  </a:lnTo>
                  <a:lnTo>
                    <a:pt x="637" y="2348"/>
                  </a:lnTo>
                  <a:lnTo>
                    <a:pt x="639" y="2348"/>
                  </a:lnTo>
                  <a:lnTo>
                    <a:pt x="639" y="2350"/>
                  </a:lnTo>
                  <a:lnTo>
                    <a:pt x="641" y="2351"/>
                  </a:lnTo>
                  <a:lnTo>
                    <a:pt x="643" y="2355"/>
                  </a:lnTo>
                  <a:lnTo>
                    <a:pt x="645" y="2359"/>
                  </a:lnTo>
                  <a:lnTo>
                    <a:pt x="647" y="2359"/>
                  </a:lnTo>
                  <a:lnTo>
                    <a:pt x="649" y="2359"/>
                  </a:lnTo>
                  <a:lnTo>
                    <a:pt x="651" y="2361"/>
                  </a:lnTo>
                  <a:lnTo>
                    <a:pt x="655" y="2376"/>
                  </a:lnTo>
                  <a:lnTo>
                    <a:pt x="657" y="2376"/>
                  </a:lnTo>
                  <a:lnTo>
                    <a:pt x="657" y="2378"/>
                  </a:lnTo>
                  <a:lnTo>
                    <a:pt x="662" y="2380"/>
                  </a:lnTo>
                  <a:lnTo>
                    <a:pt x="664" y="2380"/>
                  </a:lnTo>
                  <a:lnTo>
                    <a:pt x="666" y="2382"/>
                  </a:lnTo>
                  <a:lnTo>
                    <a:pt x="668" y="2382"/>
                  </a:lnTo>
                  <a:lnTo>
                    <a:pt x="668" y="2384"/>
                  </a:lnTo>
                  <a:lnTo>
                    <a:pt x="674" y="2388"/>
                  </a:lnTo>
                  <a:lnTo>
                    <a:pt x="676" y="2390"/>
                  </a:lnTo>
                  <a:lnTo>
                    <a:pt x="681" y="2394"/>
                  </a:lnTo>
                  <a:lnTo>
                    <a:pt x="683" y="2394"/>
                  </a:lnTo>
                  <a:lnTo>
                    <a:pt x="685" y="2394"/>
                  </a:lnTo>
                  <a:lnTo>
                    <a:pt x="687" y="2396"/>
                  </a:lnTo>
                  <a:lnTo>
                    <a:pt x="687" y="2394"/>
                  </a:lnTo>
                  <a:lnTo>
                    <a:pt x="685" y="2394"/>
                  </a:lnTo>
                  <a:lnTo>
                    <a:pt x="687" y="2394"/>
                  </a:lnTo>
                  <a:lnTo>
                    <a:pt x="689" y="2396"/>
                  </a:lnTo>
                  <a:lnTo>
                    <a:pt x="687" y="2396"/>
                  </a:lnTo>
                  <a:lnTo>
                    <a:pt x="687" y="2398"/>
                  </a:lnTo>
                  <a:lnTo>
                    <a:pt x="689" y="2399"/>
                  </a:lnTo>
                  <a:lnTo>
                    <a:pt x="689" y="2401"/>
                  </a:lnTo>
                  <a:lnTo>
                    <a:pt x="691" y="2401"/>
                  </a:lnTo>
                  <a:lnTo>
                    <a:pt x="693" y="2401"/>
                  </a:lnTo>
                  <a:lnTo>
                    <a:pt x="693" y="2403"/>
                  </a:lnTo>
                  <a:lnTo>
                    <a:pt x="695" y="2401"/>
                  </a:lnTo>
                  <a:lnTo>
                    <a:pt x="695" y="2403"/>
                  </a:lnTo>
                  <a:lnTo>
                    <a:pt x="695" y="2401"/>
                  </a:lnTo>
                  <a:lnTo>
                    <a:pt x="697" y="2401"/>
                  </a:lnTo>
                  <a:lnTo>
                    <a:pt x="699" y="2401"/>
                  </a:lnTo>
                  <a:lnTo>
                    <a:pt x="701" y="2401"/>
                  </a:lnTo>
                  <a:lnTo>
                    <a:pt x="703" y="2401"/>
                  </a:lnTo>
                  <a:lnTo>
                    <a:pt x="705" y="2401"/>
                  </a:lnTo>
                  <a:lnTo>
                    <a:pt x="705" y="2403"/>
                  </a:lnTo>
                  <a:lnTo>
                    <a:pt x="703" y="2403"/>
                  </a:lnTo>
                  <a:lnTo>
                    <a:pt x="705" y="2403"/>
                  </a:lnTo>
                  <a:lnTo>
                    <a:pt x="705" y="2401"/>
                  </a:lnTo>
                  <a:lnTo>
                    <a:pt x="706" y="2401"/>
                  </a:lnTo>
                  <a:lnTo>
                    <a:pt x="712" y="2398"/>
                  </a:lnTo>
                  <a:lnTo>
                    <a:pt x="718" y="2396"/>
                  </a:lnTo>
                  <a:lnTo>
                    <a:pt x="720" y="2394"/>
                  </a:lnTo>
                  <a:lnTo>
                    <a:pt x="722" y="2394"/>
                  </a:lnTo>
                  <a:lnTo>
                    <a:pt x="720" y="2394"/>
                  </a:lnTo>
                  <a:lnTo>
                    <a:pt x="722" y="2394"/>
                  </a:lnTo>
                  <a:lnTo>
                    <a:pt x="722" y="2392"/>
                  </a:lnTo>
                  <a:lnTo>
                    <a:pt x="722" y="2394"/>
                  </a:lnTo>
                  <a:lnTo>
                    <a:pt x="722" y="2392"/>
                  </a:lnTo>
                  <a:lnTo>
                    <a:pt x="724" y="2392"/>
                  </a:lnTo>
                  <a:lnTo>
                    <a:pt x="726" y="2392"/>
                  </a:lnTo>
                  <a:lnTo>
                    <a:pt x="726" y="2390"/>
                  </a:lnTo>
                  <a:lnTo>
                    <a:pt x="728" y="2390"/>
                  </a:lnTo>
                  <a:lnTo>
                    <a:pt x="729" y="2390"/>
                  </a:lnTo>
                  <a:lnTo>
                    <a:pt x="731" y="2390"/>
                  </a:lnTo>
                  <a:lnTo>
                    <a:pt x="731" y="2388"/>
                  </a:lnTo>
                  <a:lnTo>
                    <a:pt x="733" y="2388"/>
                  </a:lnTo>
                  <a:lnTo>
                    <a:pt x="735" y="2388"/>
                  </a:lnTo>
                  <a:lnTo>
                    <a:pt x="737" y="2388"/>
                  </a:lnTo>
                  <a:lnTo>
                    <a:pt x="737" y="2390"/>
                  </a:lnTo>
                  <a:lnTo>
                    <a:pt x="739" y="2390"/>
                  </a:lnTo>
                  <a:lnTo>
                    <a:pt x="739" y="2392"/>
                  </a:lnTo>
                  <a:lnTo>
                    <a:pt x="739" y="2394"/>
                  </a:lnTo>
                  <a:lnTo>
                    <a:pt x="737" y="2394"/>
                  </a:lnTo>
                  <a:lnTo>
                    <a:pt x="739" y="2394"/>
                  </a:lnTo>
                  <a:lnTo>
                    <a:pt x="739" y="2392"/>
                  </a:lnTo>
                  <a:lnTo>
                    <a:pt x="739" y="2390"/>
                  </a:lnTo>
                  <a:lnTo>
                    <a:pt x="739" y="2388"/>
                  </a:lnTo>
                  <a:lnTo>
                    <a:pt x="739" y="2390"/>
                  </a:lnTo>
                  <a:lnTo>
                    <a:pt x="741" y="2390"/>
                  </a:lnTo>
                  <a:lnTo>
                    <a:pt x="741" y="2392"/>
                  </a:lnTo>
                  <a:lnTo>
                    <a:pt x="743" y="2392"/>
                  </a:lnTo>
                  <a:lnTo>
                    <a:pt x="743" y="2390"/>
                  </a:lnTo>
                  <a:lnTo>
                    <a:pt x="743" y="2392"/>
                  </a:lnTo>
                  <a:lnTo>
                    <a:pt x="745" y="2392"/>
                  </a:lnTo>
                  <a:lnTo>
                    <a:pt x="747" y="2392"/>
                  </a:lnTo>
                  <a:lnTo>
                    <a:pt x="749" y="2392"/>
                  </a:lnTo>
                  <a:lnTo>
                    <a:pt x="751" y="2392"/>
                  </a:lnTo>
                  <a:lnTo>
                    <a:pt x="749" y="2396"/>
                  </a:lnTo>
                  <a:lnTo>
                    <a:pt x="749" y="2394"/>
                  </a:lnTo>
                  <a:lnTo>
                    <a:pt x="747" y="2396"/>
                  </a:lnTo>
                  <a:lnTo>
                    <a:pt x="745" y="2396"/>
                  </a:lnTo>
                  <a:lnTo>
                    <a:pt x="747" y="2396"/>
                  </a:lnTo>
                  <a:lnTo>
                    <a:pt x="749" y="2394"/>
                  </a:lnTo>
                  <a:lnTo>
                    <a:pt x="749" y="2396"/>
                  </a:lnTo>
                  <a:lnTo>
                    <a:pt x="747" y="2399"/>
                  </a:lnTo>
                  <a:lnTo>
                    <a:pt x="745" y="2399"/>
                  </a:lnTo>
                  <a:lnTo>
                    <a:pt x="745" y="2401"/>
                  </a:lnTo>
                  <a:lnTo>
                    <a:pt x="743" y="2399"/>
                  </a:lnTo>
                  <a:lnTo>
                    <a:pt x="743" y="2398"/>
                  </a:lnTo>
                  <a:lnTo>
                    <a:pt x="743" y="2399"/>
                  </a:lnTo>
                  <a:lnTo>
                    <a:pt x="743" y="2401"/>
                  </a:lnTo>
                  <a:lnTo>
                    <a:pt x="745" y="2401"/>
                  </a:lnTo>
                  <a:lnTo>
                    <a:pt x="745" y="2399"/>
                  </a:lnTo>
                  <a:lnTo>
                    <a:pt x="745" y="2401"/>
                  </a:lnTo>
                  <a:lnTo>
                    <a:pt x="745" y="2399"/>
                  </a:lnTo>
                  <a:lnTo>
                    <a:pt x="747" y="2399"/>
                  </a:lnTo>
                  <a:lnTo>
                    <a:pt x="747" y="2398"/>
                  </a:lnTo>
                  <a:lnTo>
                    <a:pt x="749" y="2398"/>
                  </a:lnTo>
                  <a:lnTo>
                    <a:pt x="749" y="2396"/>
                  </a:lnTo>
                  <a:lnTo>
                    <a:pt x="751" y="2394"/>
                  </a:lnTo>
                  <a:lnTo>
                    <a:pt x="751" y="2396"/>
                  </a:lnTo>
                  <a:lnTo>
                    <a:pt x="753" y="2396"/>
                  </a:lnTo>
                  <a:lnTo>
                    <a:pt x="753" y="2398"/>
                  </a:lnTo>
                  <a:lnTo>
                    <a:pt x="754" y="2398"/>
                  </a:lnTo>
                  <a:lnTo>
                    <a:pt x="756" y="2398"/>
                  </a:lnTo>
                  <a:lnTo>
                    <a:pt x="758" y="2398"/>
                  </a:lnTo>
                  <a:lnTo>
                    <a:pt x="760" y="2398"/>
                  </a:lnTo>
                  <a:lnTo>
                    <a:pt x="760" y="2399"/>
                  </a:lnTo>
                  <a:lnTo>
                    <a:pt x="760" y="2401"/>
                  </a:lnTo>
                  <a:lnTo>
                    <a:pt x="760" y="2403"/>
                  </a:lnTo>
                  <a:lnTo>
                    <a:pt x="762" y="2403"/>
                  </a:lnTo>
                  <a:lnTo>
                    <a:pt x="760" y="2403"/>
                  </a:lnTo>
                  <a:lnTo>
                    <a:pt x="760" y="2401"/>
                  </a:lnTo>
                  <a:lnTo>
                    <a:pt x="762" y="2399"/>
                  </a:lnTo>
                  <a:lnTo>
                    <a:pt x="764" y="2399"/>
                  </a:lnTo>
                  <a:lnTo>
                    <a:pt x="764" y="2401"/>
                  </a:lnTo>
                  <a:lnTo>
                    <a:pt x="764" y="2399"/>
                  </a:lnTo>
                  <a:lnTo>
                    <a:pt x="762" y="2399"/>
                  </a:lnTo>
                  <a:lnTo>
                    <a:pt x="764" y="2399"/>
                  </a:lnTo>
                  <a:lnTo>
                    <a:pt x="766" y="2399"/>
                  </a:lnTo>
                  <a:lnTo>
                    <a:pt x="768" y="2398"/>
                  </a:lnTo>
                  <a:lnTo>
                    <a:pt x="768" y="2373"/>
                  </a:lnTo>
                  <a:lnTo>
                    <a:pt x="768" y="2371"/>
                  </a:lnTo>
                  <a:lnTo>
                    <a:pt x="770" y="2365"/>
                  </a:lnTo>
                  <a:lnTo>
                    <a:pt x="770" y="2363"/>
                  </a:lnTo>
                  <a:lnTo>
                    <a:pt x="770" y="2328"/>
                  </a:lnTo>
                  <a:lnTo>
                    <a:pt x="770" y="2326"/>
                  </a:lnTo>
                  <a:lnTo>
                    <a:pt x="768" y="2325"/>
                  </a:lnTo>
                  <a:lnTo>
                    <a:pt x="768" y="2323"/>
                  </a:lnTo>
                  <a:lnTo>
                    <a:pt x="766" y="2323"/>
                  </a:lnTo>
                  <a:lnTo>
                    <a:pt x="756" y="2317"/>
                  </a:lnTo>
                  <a:lnTo>
                    <a:pt x="735" y="2307"/>
                  </a:lnTo>
                  <a:lnTo>
                    <a:pt x="735" y="2305"/>
                  </a:lnTo>
                  <a:lnTo>
                    <a:pt x="733" y="2305"/>
                  </a:lnTo>
                  <a:lnTo>
                    <a:pt x="733" y="2303"/>
                  </a:lnTo>
                  <a:lnTo>
                    <a:pt x="733" y="2301"/>
                  </a:lnTo>
                  <a:lnTo>
                    <a:pt x="731" y="2301"/>
                  </a:lnTo>
                  <a:lnTo>
                    <a:pt x="731" y="2300"/>
                  </a:lnTo>
                  <a:lnTo>
                    <a:pt x="731" y="2298"/>
                  </a:lnTo>
                  <a:lnTo>
                    <a:pt x="731" y="2296"/>
                  </a:lnTo>
                  <a:lnTo>
                    <a:pt x="728" y="2294"/>
                  </a:lnTo>
                  <a:lnTo>
                    <a:pt x="726" y="2292"/>
                  </a:lnTo>
                  <a:lnTo>
                    <a:pt x="724" y="2292"/>
                  </a:lnTo>
                  <a:lnTo>
                    <a:pt x="724" y="2290"/>
                  </a:lnTo>
                  <a:lnTo>
                    <a:pt x="722" y="2288"/>
                  </a:lnTo>
                  <a:lnTo>
                    <a:pt x="722" y="2286"/>
                  </a:lnTo>
                  <a:lnTo>
                    <a:pt x="724" y="2286"/>
                  </a:lnTo>
                  <a:lnTo>
                    <a:pt x="724" y="2290"/>
                  </a:lnTo>
                  <a:lnTo>
                    <a:pt x="726" y="2290"/>
                  </a:lnTo>
                  <a:lnTo>
                    <a:pt x="726" y="2292"/>
                  </a:lnTo>
                  <a:lnTo>
                    <a:pt x="729" y="2294"/>
                  </a:lnTo>
                  <a:lnTo>
                    <a:pt x="733" y="2294"/>
                  </a:lnTo>
                  <a:lnTo>
                    <a:pt x="731" y="2292"/>
                  </a:lnTo>
                  <a:lnTo>
                    <a:pt x="728" y="2290"/>
                  </a:lnTo>
                  <a:lnTo>
                    <a:pt x="729" y="2288"/>
                  </a:lnTo>
                  <a:lnTo>
                    <a:pt x="733" y="2292"/>
                  </a:lnTo>
                  <a:lnTo>
                    <a:pt x="735" y="2292"/>
                  </a:lnTo>
                  <a:lnTo>
                    <a:pt x="735" y="2290"/>
                  </a:lnTo>
                  <a:lnTo>
                    <a:pt x="737" y="2288"/>
                  </a:lnTo>
                  <a:lnTo>
                    <a:pt x="735" y="2286"/>
                  </a:lnTo>
                  <a:lnTo>
                    <a:pt x="733" y="2286"/>
                  </a:lnTo>
                  <a:lnTo>
                    <a:pt x="731" y="2284"/>
                  </a:lnTo>
                  <a:lnTo>
                    <a:pt x="731" y="2282"/>
                  </a:lnTo>
                  <a:lnTo>
                    <a:pt x="729" y="2280"/>
                  </a:lnTo>
                  <a:lnTo>
                    <a:pt x="728" y="2277"/>
                  </a:lnTo>
                  <a:lnTo>
                    <a:pt x="726" y="2277"/>
                  </a:lnTo>
                  <a:lnTo>
                    <a:pt x="726" y="2275"/>
                  </a:lnTo>
                  <a:lnTo>
                    <a:pt x="724" y="2275"/>
                  </a:lnTo>
                  <a:lnTo>
                    <a:pt x="720" y="2275"/>
                  </a:lnTo>
                  <a:lnTo>
                    <a:pt x="718" y="2275"/>
                  </a:lnTo>
                  <a:lnTo>
                    <a:pt x="716" y="2275"/>
                  </a:lnTo>
                  <a:lnTo>
                    <a:pt x="716" y="2273"/>
                  </a:lnTo>
                  <a:lnTo>
                    <a:pt x="714" y="2273"/>
                  </a:lnTo>
                  <a:lnTo>
                    <a:pt x="714" y="2275"/>
                  </a:lnTo>
                  <a:lnTo>
                    <a:pt x="712" y="2275"/>
                  </a:lnTo>
                  <a:lnTo>
                    <a:pt x="712" y="2277"/>
                  </a:lnTo>
                  <a:lnTo>
                    <a:pt x="710" y="2277"/>
                  </a:lnTo>
                  <a:lnTo>
                    <a:pt x="708" y="2277"/>
                  </a:lnTo>
                  <a:lnTo>
                    <a:pt x="706" y="2277"/>
                  </a:lnTo>
                  <a:lnTo>
                    <a:pt x="706" y="2275"/>
                  </a:lnTo>
                  <a:lnTo>
                    <a:pt x="705" y="2275"/>
                  </a:lnTo>
                  <a:lnTo>
                    <a:pt x="703" y="2273"/>
                  </a:lnTo>
                  <a:lnTo>
                    <a:pt x="703" y="2271"/>
                  </a:lnTo>
                  <a:lnTo>
                    <a:pt x="703" y="2269"/>
                  </a:lnTo>
                  <a:lnTo>
                    <a:pt x="701" y="2269"/>
                  </a:lnTo>
                  <a:lnTo>
                    <a:pt x="693" y="2271"/>
                  </a:lnTo>
                  <a:lnTo>
                    <a:pt x="687" y="2271"/>
                  </a:lnTo>
                  <a:lnTo>
                    <a:pt x="681" y="2271"/>
                  </a:lnTo>
                  <a:lnTo>
                    <a:pt x="680" y="2269"/>
                  </a:lnTo>
                  <a:lnTo>
                    <a:pt x="678" y="2269"/>
                  </a:lnTo>
                  <a:lnTo>
                    <a:pt x="674" y="2269"/>
                  </a:lnTo>
                  <a:lnTo>
                    <a:pt x="672" y="2267"/>
                  </a:lnTo>
                  <a:lnTo>
                    <a:pt x="670" y="2269"/>
                  </a:lnTo>
                  <a:lnTo>
                    <a:pt x="666" y="2269"/>
                  </a:lnTo>
                  <a:lnTo>
                    <a:pt x="664" y="2267"/>
                  </a:lnTo>
                  <a:lnTo>
                    <a:pt x="664" y="2265"/>
                  </a:lnTo>
                  <a:lnTo>
                    <a:pt x="660" y="2265"/>
                  </a:lnTo>
                  <a:lnTo>
                    <a:pt x="658" y="2265"/>
                  </a:lnTo>
                  <a:lnTo>
                    <a:pt x="658" y="2267"/>
                  </a:lnTo>
                  <a:lnTo>
                    <a:pt x="658" y="2265"/>
                  </a:lnTo>
                  <a:lnTo>
                    <a:pt x="657" y="2263"/>
                  </a:lnTo>
                  <a:lnTo>
                    <a:pt x="657" y="2267"/>
                  </a:lnTo>
                  <a:lnTo>
                    <a:pt x="657" y="2263"/>
                  </a:lnTo>
                  <a:lnTo>
                    <a:pt x="655" y="2263"/>
                  </a:lnTo>
                  <a:lnTo>
                    <a:pt x="653" y="2267"/>
                  </a:lnTo>
                  <a:lnTo>
                    <a:pt x="653" y="2265"/>
                  </a:lnTo>
                  <a:lnTo>
                    <a:pt x="651" y="2265"/>
                  </a:lnTo>
                  <a:lnTo>
                    <a:pt x="651" y="2267"/>
                  </a:lnTo>
                  <a:lnTo>
                    <a:pt x="651" y="2265"/>
                  </a:lnTo>
                  <a:lnTo>
                    <a:pt x="649" y="2263"/>
                  </a:lnTo>
                  <a:lnTo>
                    <a:pt x="647" y="2259"/>
                  </a:lnTo>
                  <a:lnTo>
                    <a:pt x="649" y="2259"/>
                  </a:lnTo>
                  <a:lnTo>
                    <a:pt x="649" y="2257"/>
                  </a:lnTo>
                  <a:lnTo>
                    <a:pt x="647" y="2257"/>
                  </a:lnTo>
                  <a:lnTo>
                    <a:pt x="647" y="2255"/>
                  </a:lnTo>
                  <a:lnTo>
                    <a:pt x="645" y="2255"/>
                  </a:lnTo>
                  <a:lnTo>
                    <a:pt x="645" y="2253"/>
                  </a:lnTo>
                  <a:lnTo>
                    <a:pt x="643" y="2253"/>
                  </a:lnTo>
                  <a:lnTo>
                    <a:pt x="641" y="2253"/>
                  </a:lnTo>
                  <a:lnTo>
                    <a:pt x="641" y="2252"/>
                  </a:lnTo>
                  <a:lnTo>
                    <a:pt x="639" y="2244"/>
                  </a:lnTo>
                  <a:lnTo>
                    <a:pt x="637" y="2244"/>
                  </a:lnTo>
                  <a:lnTo>
                    <a:pt x="637" y="2242"/>
                  </a:lnTo>
                  <a:lnTo>
                    <a:pt x="639" y="2242"/>
                  </a:lnTo>
                  <a:lnTo>
                    <a:pt x="639" y="2240"/>
                  </a:lnTo>
                  <a:lnTo>
                    <a:pt x="639" y="2238"/>
                  </a:lnTo>
                  <a:lnTo>
                    <a:pt x="637" y="2236"/>
                  </a:lnTo>
                  <a:lnTo>
                    <a:pt x="635" y="2234"/>
                  </a:lnTo>
                  <a:lnTo>
                    <a:pt x="634" y="2234"/>
                  </a:lnTo>
                  <a:lnTo>
                    <a:pt x="632" y="2234"/>
                  </a:lnTo>
                  <a:lnTo>
                    <a:pt x="632" y="2232"/>
                  </a:lnTo>
                  <a:lnTo>
                    <a:pt x="632" y="2230"/>
                  </a:lnTo>
                  <a:lnTo>
                    <a:pt x="632" y="2228"/>
                  </a:lnTo>
                  <a:lnTo>
                    <a:pt x="630" y="2228"/>
                  </a:lnTo>
                  <a:lnTo>
                    <a:pt x="630" y="2227"/>
                  </a:lnTo>
                  <a:lnTo>
                    <a:pt x="628" y="2225"/>
                  </a:lnTo>
                  <a:lnTo>
                    <a:pt x="624" y="2225"/>
                  </a:lnTo>
                  <a:lnTo>
                    <a:pt x="620" y="2223"/>
                  </a:lnTo>
                  <a:lnTo>
                    <a:pt x="618" y="2223"/>
                  </a:lnTo>
                  <a:lnTo>
                    <a:pt x="616" y="2223"/>
                  </a:lnTo>
                  <a:lnTo>
                    <a:pt x="616" y="2221"/>
                  </a:lnTo>
                  <a:lnTo>
                    <a:pt x="612" y="2219"/>
                  </a:lnTo>
                  <a:lnTo>
                    <a:pt x="612" y="2217"/>
                  </a:lnTo>
                  <a:lnTo>
                    <a:pt x="614" y="2215"/>
                  </a:lnTo>
                  <a:lnTo>
                    <a:pt x="614" y="2213"/>
                  </a:lnTo>
                  <a:lnTo>
                    <a:pt x="614" y="2211"/>
                  </a:lnTo>
                  <a:lnTo>
                    <a:pt x="614" y="2209"/>
                  </a:lnTo>
                  <a:lnTo>
                    <a:pt x="614" y="2207"/>
                  </a:lnTo>
                  <a:lnTo>
                    <a:pt x="612" y="2207"/>
                  </a:lnTo>
                  <a:lnTo>
                    <a:pt x="612" y="2205"/>
                  </a:lnTo>
                  <a:lnTo>
                    <a:pt x="610" y="2205"/>
                  </a:lnTo>
                  <a:lnTo>
                    <a:pt x="610" y="2204"/>
                  </a:lnTo>
                  <a:lnTo>
                    <a:pt x="609" y="2204"/>
                  </a:lnTo>
                  <a:lnTo>
                    <a:pt x="601" y="2200"/>
                  </a:lnTo>
                  <a:lnTo>
                    <a:pt x="601" y="2198"/>
                  </a:lnTo>
                  <a:lnTo>
                    <a:pt x="599" y="2196"/>
                  </a:lnTo>
                  <a:lnTo>
                    <a:pt x="597" y="2194"/>
                  </a:lnTo>
                  <a:lnTo>
                    <a:pt x="595" y="2194"/>
                  </a:lnTo>
                  <a:lnTo>
                    <a:pt x="595" y="2192"/>
                  </a:lnTo>
                  <a:lnTo>
                    <a:pt x="593" y="2192"/>
                  </a:lnTo>
                  <a:lnTo>
                    <a:pt x="593" y="2190"/>
                  </a:lnTo>
                  <a:lnTo>
                    <a:pt x="584" y="2188"/>
                  </a:lnTo>
                  <a:lnTo>
                    <a:pt x="582" y="2188"/>
                  </a:lnTo>
                  <a:lnTo>
                    <a:pt x="578" y="2182"/>
                  </a:lnTo>
                  <a:lnTo>
                    <a:pt x="578" y="2179"/>
                  </a:lnTo>
                  <a:lnTo>
                    <a:pt x="578" y="2175"/>
                  </a:lnTo>
                  <a:lnTo>
                    <a:pt x="578" y="2173"/>
                  </a:lnTo>
                  <a:lnTo>
                    <a:pt x="580" y="2171"/>
                  </a:lnTo>
                  <a:lnTo>
                    <a:pt x="582" y="2169"/>
                  </a:lnTo>
                  <a:lnTo>
                    <a:pt x="582" y="2167"/>
                  </a:lnTo>
                  <a:lnTo>
                    <a:pt x="584" y="2167"/>
                  </a:lnTo>
                  <a:lnTo>
                    <a:pt x="584" y="2165"/>
                  </a:lnTo>
                  <a:lnTo>
                    <a:pt x="582" y="2163"/>
                  </a:lnTo>
                  <a:lnTo>
                    <a:pt x="584" y="2163"/>
                  </a:lnTo>
                  <a:lnTo>
                    <a:pt x="584" y="2165"/>
                  </a:lnTo>
                  <a:lnTo>
                    <a:pt x="587" y="2165"/>
                  </a:lnTo>
                  <a:lnTo>
                    <a:pt x="589" y="2165"/>
                  </a:lnTo>
                  <a:lnTo>
                    <a:pt x="587" y="2165"/>
                  </a:lnTo>
                  <a:lnTo>
                    <a:pt x="591" y="2165"/>
                  </a:lnTo>
                  <a:lnTo>
                    <a:pt x="591" y="2163"/>
                  </a:lnTo>
                  <a:lnTo>
                    <a:pt x="591" y="2165"/>
                  </a:lnTo>
                  <a:lnTo>
                    <a:pt x="595" y="2165"/>
                  </a:lnTo>
                  <a:lnTo>
                    <a:pt x="595" y="2163"/>
                  </a:lnTo>
                  <a:lnTo>
                    <a:pt x="595" y="2165"/>
                  </a:lnTo>
                  <a:lnTo>
                    <a:pt x="601" y="2169"/>
                  </a:lnTo>
                  <a:lnTo>
                    <a:pt x="603" y="2171"/>
                  </a:lnTo>
                  <a:lnTo>
                    <a:pt x="603" y="2173"/>
                  </a:lnTo>
                  <a:lnTo>
                    <a:pt x="603" y="2175"/>
                  </a:lnTo>
                  <a:lnTo>
                    <a:pt x="605" y="2173"/>
                  </a:lnTo>
                  <a:lnTo>
                    <a:pt x="603" y="2173"/>
                  </a:lnTo>
                  <a:lnTo>
                    <a:pt x="601" y="2169"/>
                  </a:lnTo>
                  <a:lnTo>
                    <a:pt x="597" y="2165"/>
                  </a:lnTo>
                  <a:lnTo>
                    <a:pt x="595" y="2163"/>
                  </a:lnTo>
                  <a:lnTo>
                    <a:pt x="597" y="2163"/>
                  </a:lnTo>
                  <a:lnTo>
                    <a:pt x="599" y="2163"/>
                  </a:lnTo>
                  <a:lnTo>
                    <a:pt x="601" y="2163"/>
                  </a:lnTo>
                  <a:lnTo>
                    <a:pt x="603" y="2165"/>
                  </a:lnTo>
                  <a:lnTo>
                    <a:pt x="605" y="2163"/>
                  </a:lnTo>
                  <a:lnTo>
                    <a:pt x="603" y="2161"/>
                  </a:lnTo>
                  <a:lnTo>
                    <a:pt x="605" y="2163"/>
                  </a:lnTo>
                  <a:lnTo>
                    <a:pt x="607" y="2163"/>
                  </a:lnTo>
                  <a:lnTo>
                    <a:pt x="607" y="2161"/>
                  </a:lnTo>
                  <a:lnTo>
                    <a:pt x="607" y="2163"/>
                  </a:lnTo>
                  <a:lnTo>
                    <a:pt x="610" y="2161"/>
                  </a:lnTo>
                  <a:lnTo>
                    <a:pt x="609" y="2159"/>
                  </a:lnTo>
                  <a:lnTo>
                    <a:pt x="610" y="2159"/>
                  </a:lnTo>
                  <a:lnTo>
                    <a:pt x="612" y="2161"/>
                  </a:lnTo>
                  <a:lnTo>
                    <a:pt x="612" y="2163"/>
                  </a:lnTo>
                  <a:lnTo>
                    <a:pt x="614" y="2163"/>
                  </a:lnTo>
                  <a:lnTo>
                    <a:pt x="614" y="2161"/>
                  </a:lnTo>
                  <a:lnTo>
                    <a:pt x="616" y="2161"/>
                  </a:lnTo>
                  <a:lnTo>
                    <a:pt x="618" y="2159"/>
                  </a:lnTo>
                  <a:lnTo>
                    <a:pt x="622" y="2157"/>
                  </a:lnTo>
                  <a:lnTo>
                    <a:pt x="620" y="2156"/>
                  </a:lnTo>
                  <a:lnTo>
                    <a:pt x="622" y="2156"/>
                  </a:lnTo>
                  <a:lnTo>
                    <a:pt x="620" y="2156"/>
                  </a:lnTo>
                  <a:lnTo>
                    <a:pt x="622" y="2157"/>
                  </a:lnTo>
                  <a:lnTo>
                    <a:pt x="626" y="2156"/>
                  </a:lnTo>
                  <a:lnTo>
                    <a:pt x="626" y="2154"/>
                  </a:lnTo>
                  <a:lnTo>
                    <a:pt x="628" y="2154"/>
                  </a:lnTo>
                  <a:lnTo>
                    <a:pt x="628" y="2152"/>
                  </a:lnTo>
                  <a:lnTo>
                    <a:pt x="626" y="2152"/>
                  </a:lnTo>
                  <a:lnTo>
                    <a:pt x="628" y="2152"/>
                  </a:lnTo>
                  <a:lnTo>
                    <a:pt x="628" y="2154"/>
                  </a:lnTo>
                  <a:lnTo>
                    <a:pt x="630" y="2154"/>
                  </a:lnTo>
                  <a:lnTo>
                    <a:pt x="632" y="2154"/>
                  </a:lnTo>
                  <a:lnTo>
                    <a:pt x="634" y="2154"/>
                  </a:lnTo>
                  <a:lnTo>
                    <a:pt x="641" y="2148"/>
                  </a:lnTo>
                  <a:lnTo>
                    <a:pt x="639" y="2146"/>
                  </a:lnTo>
                  <a:lnTo>
                    <a:pt x="641" y="2148"/>
                  </a:lnTo>
                  <a:lnTo>
                    <a:pt x="643" y="2148"/>
                  </a:lnTo>
                  <a:lnTo>
                    <a:pt x="645" y="2146"/>
                  </a:lnTo>
                  <a:lnTo>
                    <a:pt x="647" y="2148"/>
                  </a:lnTo>
                  <a:lnTo>
                    <a:pt x="649" y="2146"/>
                  </a:lnTo>
                  <a:lnTo>
                    <a:pt x="649" y="2142"/>
                  </a:lnTo>
                  <a:lnTo>
                    <a:pt x="649" y="2144"/>
                  </a:lnTo>
                  <a:lnTo>
                    <a:pt x="651" y="2144"/>
                  </a:lnTo>
                  <a:lnTo>
                    <a:pt x="653" y="2144"/>
                  </a:lnTo>
                  <a:lnTo>
                    <a:pt x="655" y="2144"/>
                  </a:lnTo>
                  <a:lnTo>
                    <a:pt x="660" y="2144"/>
                  </a:lnTo>
                  <a:lnTo>
                    <a:pt x="658" y="2142"/>
                  </a:lnTo>
                  <a:lnTo>
                    <a:pt x="660" y="2144"/>
                  </a:lnTo>
                  <a:lnTo>
                    <a:pt x="662" y="2144"/>
                  </a:lnTo>
                  <a:lnTo>
                    <a:pt x="664" y="2144"/>
                  </a:lnTo>
                  <a:lnTo>
                    <a:pt x="666" y="2146"/>
                  </a:lnTo>
                  <a:lnTo>
                    <a:pt x="668" y="2146"/>
                  </a:lnTo>
                  <a:lnTo>
                    <a:pt x="674" y="2146"/>
                  </a:lnTo>
                  <a:lnTo>
                    <a:pt x="676" y="2148"/>
                  </a:lnTo>
                  <a:lnTo>
                    <a:pt x="681" y="2148"/>
                  </a:lnTo>
                  <a:lnTo>
                    <a:pt x="681" y="2150"/>
                  </a:lnTo>
                  <a:lnTo>
                    <a:pt x="683" y="2152"/>
                  </a:lnTo>
                  <a:lnTo>
                    <a:pt x="685" y="2154"/>
                  </a:lnTo>
                  <a:lnTo>
                    <a:pt x="685" y="2156"/>
                  </a:lnTo>
                  <a:lnTo>
                    <a:pt x="687" y="2157"/>
                  </a:lnTo>
                  <a:lnTo>
                    <a:pt x="689" y="2157"/>
                  </a:lnTo>
                  <a:lnTo>
                    <a:pt x="687" y="2157"/>
                  </a:lnTo>
                  <a:lnTo>
                    <a:pt x="685" y="2156"/>
                  </a:lnTo>
                  <a:lnTo>
                    <a:pt x="685" y="2157"/>
                  </a:lnTo>
                  <a:lnTo>
                    <a:pt x="685" y="2159"/>
                  </a:lnTo>
                  <a:lnTo>
                    <a:pt x="687" y="2159"/>
                  </a:lnTo>
                  <a:lnTo>
                    <a:pt x="687" y="2161"/>
                  </a:lnTo>
                  <a:lnTo>
                    <a:pt x="689" y="2159"/>
                  </a:lnTo>
                  <a:lnTo>
                    <a:pt x="691" y="2159"/>
                  </a:lnTo>
                  <a:lnTo>
                    <a:pt x="691" y="2161"/>
                  </a:lnTo>
                  <a:lnTo>
                    <a:pt x="693" y="2161"/>
                  </a:lnTo>
                  <a:lnTo>
                    <a:pt x="691" y="2161"/>
                  </a:lnTo>
                  <a:lnTo>
                    <a:pt x="693" y="2161"/>
                  </a:lnTo>
                  <a:lnTo>
                    <a:pt x="693" y="2163"/>
                  </a:lnTo>
                  <a:lnTo>
                    <a:pt x="693" y="2165"/>
                  </a:lnTo>
                  <a:lnTo>
                    <a:pt x="695" y="2167"/>
                  </a:lnTo>
                  <a:lnTo>
                    <a:pt x="697" y="2167"/>
                  </a:lnTo>
                  <a:lnTo>
                    <a:pt x="699" y="2169"/>
                  </a:lnTo>
                  <a:lnTo>
                    <a:pt x="701" y="2169"/>
                  </a:lnTo>
                  <a:lnTo>
                    <a:pt x="705" y="2169"/>
                  </a:lnTo>
                  <a:lnTo>
                    <a:pt x="706" y="2167"/>
                  </a:lnTo>
                  <a:lnTo>
                    <a:pt x="706" y="2169"/>
                  </a:lnTo>
                  <a:lnTo>
                    <a:pt x="708" y="2169"/>
                  </a:lnTo>
                  <a:lnTo>
                    <a:pt x="706" y="2167"/>
                  </a:lnTo>
                  <a:lnTo>
                    <a:pt x="705" y="2167"/>
                  </a:lnTo>
                  <a:lnTo>
                    <a:pt x="705" y="2169"/>
                  </a:lnTo>
                  <a:lnTo>
                    <a:pt x="703" y="2169"/>
                  </a:lnTo>
                  <a:lnTo>
                    <a:pt x="701" y="2169"/>
                  </a:lnTo>
                  <a:lnTo>
                    <a:pt x="699" y="2169"/>
                  </a:lnTo>
                  <a:lnTo>
                    <a:pt x="697" y="2167"/>
                  </a:lnTo>
                  <a:lnTo>
                    <a:pt x="699" y="2167"/>
                  </a:lnTo>
                  <a:lnTo>
                    <a:pt x="697" y="2167"/>
                  </a:lnTo>
                  <a:lnTo>
                    <a:pt x="695" y="2167"/>
                  </a:lnTo>
                  <a:lnTo>
                    <a:pt x="695" y="2165"/>
                  </a:lnTo>
                  <a:lnTo>
                    <a:pt x="693" y="2163"/>
                  </a:lnTo>
                  <a:lnTo>
                    <a:pt x="695" y="2163"/>
                  </a:lnTo>
                  <a:lnTo>
                    <a:pt x="695" y="2161"/>
                  </a:lnTo>
                  <a:lnTo>
                    <a:pt x="697" y="2161"/>
                  </a:lnTo>
                  <a:lnTo>
                    <a:pt x="697" y="2163"/>
                  </a:lnTo>
                  <a:lnTo>
                    <a:pt x="699" y="2163"/>
                  </a:lnTo>
                  <a:lnTo>
                    <a:pt x="699" y="2161"/>
                  </a:lnTo>
                  <a:lnTo>
                    <a:pt x="699" y="2163"/>
                  </a:lnTo>
                  <a:lnTo>
                    <a:pt x="701" y="2163"/>
                  </a:lnTo>
                  <a:lnTo>
                    <a:pt x="703" y="2163"/>
                  </a:lnTo>
                  <a:lnTo>
                    <a:pt x="705" y="2163"/>
                  </a:lnTo>
                  <a:lnTo>
                    <a:pt x="705" y="2165"/>
                  </a:lnTo>
                  <a:lnTo>
                    <a:pt x="706" y="2165"/>
                  </a:lnTo>
                  <a:lnTo>
                    <a:pt x="705" y="2165"/>
                  </a:lnTo>
                  <a:lnTo>
                    <a:pt x="705" y="2163"/>
                  </a:lnTo>
                  <a:lnTo>
                    <a:pt x="706" y="2163"/>
                  </a:lnTo>
                  <a:lnTo>
                    <a:pt x="708" y="2163"/>
                  </a:lnTo>
                  <a:lnTo>
                    <a:pt x="708" y="2161"/>
                  </a:lnTo>
                  <a:lnTo>
                    <a:pt x="708" y="2163"/>
                  </a:lnTo>
                  <a:lnTo>
                    <a:pt x="708" y="2161"/>
                  </a:lnTo>
                  <a:lnTo>
                    <a:pt x="710" y="2161"/>
                  </a:lnTo>
                  <a:lnTo>
                    <a:pt x="710" y="2163"/>
                  </a:lnTo>
                  <a:lnTo>
                    <a:pt x="712" y="2165"/>
                  </a:lnTo>
                  <a:lnTo>
                    <a:pt x="712" y="2167"/>
                  </a:lnTo>
                  <a:lnTo>
                    <a:pt x="710" y="2167"/>
                  </a:lnTo>
                  <a:lnTo>
                    <a:pt x="712" y="2167"/>
                  </a:lnTo>
                  <a:lnTo>
                    <a:pt x="712" y="2169"/>
                  </a:lnTo>
                  <a:lnTo>
                    <a:pt x="712" y="2167"/>
                  </a:lnTo>
                  <a:lnTo>
                    <a:pt x="714" y="2167"/>
                  </a:lnTo>
                  <a:lnTo>
                    <a:pt x="716" y="2167"/>
                  </a:lnTo>
                  <a:lnTo>
                    <a:pt x="716" y="2169"/>
                  </a:lnTo>
                  <a:lnTo>
                    <a:pt x="714" y="2169"/>
                  </a:lnTo>
                  <a:lnTo>
                    <a:pt x="716" y="2169"/>
                  </a:lnTo>
                  <a:lnTo>
                    <a:pt x="716" y="2167"/>
                  </a:lnTo>
                  <a:lnTo>
                    <a:pt x="714" y="2167"/>
                  </a:lnTo>
                  <a:lnTo>
                    <a:pt x="712" y="2167"/>
                  </a:lnTo>
                  <a:lnTo>
                    <a:pt x="712" y="2165"/>
                  </a:lnTo>
                  <a:lnTo>
                    <a:pt x="712" y="2163"/>
                  </a:lnTo>
                  <a:lnTo>
                    <a:pt x="712" y="2161"/>
                  </a:lnTo>
                  <a:lnTo>
                    <a:pt x="714" y="2161"/>
                  </a:lnTo>
                  <a:lnTo>
                    <a:pt x="714" y="2163"/>
                  </a:lnTo>
                  <a:lnTo>
                    <a:pt x="714" y="2161"/>
                  </a:lnTo>
                  <a:lnTo>
                    <a:pt x="716" y="2161"/>
                  </a:lnTo>
                  <a:lnTo>
                    <a:pt x="718" y="2161"/>
                  </a:lnTo>
                  <a:lnTo>
                    <a:pt x="720" y="2161"/>
                  </a:lnTo>
                  <a:lnTo>
                    <a:pt x="720" y="2163"/>
                  </a:lnTo>
                  <a:lnTo>
                    <a:pt x="720" y="2165"/>
                  </a:lnTo>
                  <a:lnTo>
                    <a:pt x="720" y="2167"/>
                  </a:lnTo>
                  <a:lnTo>
                    <a:pt x="718" y="2167"/>
                  </a:lnTo>
                  <a:lnTo>
                    <a:pt x="718" y="2165"/>
                  </a:lnTo>
                  <a:lnTo>
                    <a:pt x="718" y="2167"/>
                  </a:lnTo>
                  <a:lnTo>
                    <a:pt x="720" y="2167"/>
                  </a:lnTo>
                  <a:lnTo>
                    <a:pt x="720" y="2165"/>
                  </a:lnTo>
                  <a:lnTo>
                    <a:pt x="720" y="2163"/>
                  </a:lnTo>
                  <a:lnTo>
                    <a:pt x="722" y="2163"/>
                  </a:lnTo>
                  <a:lnTo>
                    <a:pt x="722" y="2165"/>
                  </a:lnTo>
                  <a:lnTo>
                    <a:pt x="722" y="2163"/>
                  </a:lnTo>
                  <a:lnTo>
                    <a:pt x="722" y="2161"/>
                  </a:lnTo>
                  <a:lnTo>
                    <a:pt x="722" y="2163"/>
                  </a:lnTo>
                  <a:lnTo>
                    <a:pt x="722" y="2165"/>
                  </a:lnTo>
                  <a:lnTo>
                    <a:pt x="722" y="2163"/>
                  </a:lnTo>
                  <a:lnTo>
                    <a:pt x="722" y="2161"/>
                  </a:lnTo>
                  <a:lnTo>
                    <a:pt x="724" y="2161"/>
                  </a:lnTo>
                  <a:lnTo>
                    <a:pt x="724" y="2163"/>
                  </a:lnTo>
                  <a:lnTo>
                    <a:pt x="724" y="2165"/>
                  </a:lnTo>
                  <a:lnTo>
                    <a:pt x="724" y="2167"/>
                  </a:lnTo>
                  <a:lnTo>
                    <a:pt x="724" y="2165"/>
                  </a:lnTo>
                  <a:lnTo>
                    <a:pt x="724" y="2163"/>
                  </a:lnTo>
                  <a:lnTo>
                    <a:pt x="726" y="2163"/>
                  </a:lnTo>
                  <a:lnTo>
                    <a:pt x="728" y="2163"/>
                  </a:lnTo>
                  <a:lnTo>
                    <a:pt x="728" y="2165"/>
                  </a:lnTo>
                  <a:lnTo>
                    <a:pt x="728" y="2163"/>
                  </a:lnTo>
                  <a:lnTo>
                    <a:pt x="726" y="2163"/>
                  </a:lnTo>
                  <a:lnTo>
                    <a:pt x="726" y="2165"/>
                  </a:lnTo>
                  <a:lnTo>
                    <a:pt x="726" y="2163"/>
                  </a:lnTo>
                  <a:lnTo>
                    <a:pt x="728" y="2163"/>
                  </a:lnTo>
                  <a:lnTo>
                    <a:pt x="728" y="2165"/>
                  </a:lnTo>
                  <a:lnTo>
                    <a:pt x="728" y="2163"/>
                  </a:lnTo>
                  <a:lnTo>
                    <a:pt x="728" y="2165"/>
                  </a:lnTo>
                  <a:lnTo>
                    <a:pt x="726" y="2165"/>
                  </a:lnTo>
                  <a:lnTo>
                    <a:pt x="726" y="2167"/>
                  </a:lnTo>
                  <a:lnTo>
                    <a:pt x="728" y="2167"/>
                  </a:lnTo>
                  <a:lnTo>
                    <a:pt x="728" y="2165"/>
                  </a:lnTo>
                  <a:lnTo>
                    <a:pt x="728" y="2163"/>
                  </a:lnTo>
                  <a:lnTo>
                    <a:pt x="728" y="2161"/>
                  </a:lnTo>
                  <a:lnTo>
                    <a:pt x="728" y="2163"/>
                  </a:lnTo>
                  <a:lnTo>
                    <a:pt x="729" y="2163"/>
                  </a:lnTo>
                  <a:lnTo>
                    <a:pt x="731" y="2163"/>
                  </a:lnTo>
                  <a:lnTo>
                    <a:pt x="729" y="2165"/>
                  </a:lnTo>
                  <a:lnTo>
                    <a:pt x="729" y="2167"/>
                  </a:lnTo>
                  <a:lnTo>
                    <a:pt x="729" y="2165"/>
                  </a:lnTo>
                  <a:lnTo>
                    <a:pt x="731" y="2165"/>
                  </a:lnTo>
                  <a:lnTo>
                    <a:pt x="731" y="2163"/>
                  </a:lnTo>
                  <a:lnTo>
                    <a:pt x="731" y="2161"/>
                  </a:lnTo>
                  <a:lnTo>
                    <a:pt x="733" y="2161"/>
                  </a:lnTo>
                  <a:lnTo>
                    <a:pt x="741" y="2161"/>
                  </a:lnTo>
                  <a:lnTo>
                    <a:pt x="741" y="2159"/>
                  </a:lnTo>
                  <a:lnTo>
                    <a:pt x="743" y="2161"/>
                  </a:lnTo>
                  <a:lnTo>
                    <a:pt x="745" y="2161"/>
                  </a:lnTo>
                  <a:lnTo>
                    <a:pt x="745" y="2159"/>
                  </a:lnTo>
                  <a:lnTo>
                    <a:pt x="745" y="2157"/>
                  </a:lnTo>
                  <a:lnTo>
                    <a:pt x="743" y="2156"/>
                  </a:lnTo>
                  <a:lnTo>
                    <a:pt x="743" y="2157"/>
                  </a:lnTo>
                  <a:lnTo>
                    <a:pt x="743" y="2156"/>
                  </a:lnTo>
                  <a:lnTo>
                    <a:pt x="741" y="2156"/>
                  </a:lnTo>
                  <a:lnTo>
                    <a:pt x="743" y="2156"/>
                  </a:lnTo>
                  <a:lnTo>
                    <a:pt x="743" y="2154"/>
                  </a:lnTo>
                  <a:lnTo>
                    <a:pt x="745" y="2154"/>
                  </a:lnTo>
                  <a:lnTo>
                    <a:pt x="745" y="2152"/>
                  </a:lnTo>
                  <a:lnTo>
                    <a:pt x="743" y="2152"/>
                  </a:lnTo>
                  <a:lnTo>
                    <a:pt x="745" y="2150"/>
                  </a:lnTo>
                  <a:lnTo>
                    <a:pt x="745" y="2148"/>
                  </a:lnTo>
                  <a:lnTo>
                    <a:pt x="745" y="2150"/>
                  </a:lnTo>
                  <a:lnTo>
                    <a:pt x="745" y="2152"/>
                  </a:lnTo>
                  <a:lnTo>
                    <a:pt x="747" y="2152"/>
                  </a:lnTo>
                  <a:lnTo>
                    <a:pt x="745" y="2152"/>
                  </a:lnTo>
                  <a:lnTo>
                    <a:pt x="745" y="2150"/>
                  </a:lnTo>
                  <a:lnTo>
                    <a:pt x="747" y="2152"/>
                  </a:lnTo>
                  <a:lnTo>
                    <a:pt x="747" y="2150"/>
                  </a:lnTo>
                  <a:lnTo>
                    <a:pt x="749" y="2146"/>
                  </a:lnTo>
                  <a:lnTo>
                    <a:pt x="747" y="2144"/>
                  </a:lnTo>
                  <a:lnTo>
                    <a:pt x="745" y="2144"/>
                  </a:lnTo>
                  <a:lnTo>
                    <a:pt x="743" y="2144"/>
                  </a:lnTo>
                  <a:lnTo>
                    <a:pt x="745" y="2144"/>
                  </a:lnTo>
                  <a:lnTo>
                    <a:pt x="747" y="2144"/>
                  </a:lnTo>
                  <a:lnTo>
                    <a:pt x="745" y="2144"/>
                  </a:lnTo>
                  <a:lnTo>
                    <a:pt x="743" y="2146"/>
                  </a:lnTo>
                  <a:lnTo>
                    <a:pt x="741" y="2146"/>
                  </a:lnTo>
                  <a:lnTo>
                    <a:pt x="741" y="2148"/>
                  </a:lnTo>
                  <a:lnTo>
                    <a:pt x="739" y="2148"/>
                  </a:lnTo>
                  <a:lnTo>
                    <a:pt x="737" y="2148"/>
                  </a:lnTo>
                  <a:lnTo>
                    <a:pt x="737" y="2150"/>
                  </a:lnTo>
                  <a:lnTo>
                    <a:pt x="737" y="2148"/>
                  </a:lnTo>
                  <a:lnTo>
                    <a:pt x="735" y="2148"/>
                  </a:lnTo>
                  <a:lnTo>
                    <a:pt x="733" y="2148"/>
                  </a:lnTo>
                  <a:lnTo>
                    <a:pt x="731" y="2150"/>
                  </a:lnTo>
                  <a:lnTo>
                    <a:pt x="728" y="2150"/>
                  </a:lnTo>
                  <a:lnTo>
                    <a:pt x="720" y="2148"/>
                  </a:lnTo>
                  <a:lnTo>
                    <a:pt x="718" y="2148"/>
                  </a:lnTo>
                  <a:lnTo>
                    <a:pt x="712" y="2148"/>
                  </a:lnTo>
                  <a:lnTo>
                    <a:pt x="705" y="2148"/>
                  </a:lnTo>
                  <a:lnTo>
                    <a:pt x="705" y="2146"/>
                  </a:lnTo>
                  <a:lnTo>
                    <a:pt x="703" y="2144"/>
                  </a:lnTo>
                  <a:lnTo>
                    <a:pt x="699" y="2131"/>
                  </a:lnTo>
                  <a:lnTo>
                    <a:pt x="697" y="2131"/>
                  </a:lnTo>
                  <a:lnTo>
                    <a:pt x="695" y="2131"/>
                  </a:lnTo>
                  <a:lnTo>
                    <a:pt x="695" y="2129"/>
                  </a:lnTo>
                  <a:lnTo>
                    <a:pt x="693" y="2129"/>
                  </a:lnTo>
                  <a:lnTo>
                    <a:pt x="693" y="2127"/>
                  </a:lnTo>
                  <a:lnTo>
                    <a:pt x="693" y="2129"/>
                  </a:lnTo>
                  <a:lnTo>
                    <a:pt x="695" y="2127"/>
                  </a:lnTo>
                  <a:lnTo>
                    <a:pt x="693" y="2127"/>
                  </a:lnTo>
                  <a:lnTo>
                    <a:pt x="693" y="2125"/>
                  </a:lnTo>
                  <a:lnTo>
                    <a:pt x="693" y="2127"/>
                  </a:lnTo>
                  <a:lnTo>
                    <a:pt x="691" y="2127"/>
                  </a:lnTo>
                  <a:lnTo>
                    <a:pt x="693" y="2125"/>
                  </a:lnTo>
                  <a:lnTo>
                    <a:pt x="691" y="2125"/>
                  </a:lnTo>
                  <a:lnTo>
                    <a:pt x="693" y="2125"/>
                  </a:lnTo>
                  <a:lnTo>
                    <a:pt x="693" y="2127"/>
                  </a:lnTo>
                  <a:lnTo>
                    <a:pt x="693" y="2125"/>
                  </a:lnTo>
                  <a:lnTo>
                    <a:pt x="691" y="2125"/>
                  </a:lnTo>
                  <a:lnTo>
                    <a:pt x="691" y="2123"/>
                  </a:lnTo>
                  <a:lnTo>
                    <a:pt x="689" y="2123"/>
                  </a:lnTo>
                  <a:lnTo>
                    <a:pt x="687" y="2121"/>
                  </a:lnTo>
                  <a:lnTo>
                    <a:pt x="687" y="2123"/>
                  </a:lnTo>
                  <a:lnTo>
                    <a:pt x="685" y="2121"/>
                  </a:lnTo>
                  <a:lnTo>
                    <a:pt x="685" y="2123"/>
                  </a:lnTo>
                  <a:lnTo>
                    <a:pt x="685" y="2121"/>
                  </a:lnTo>
                  <a:lnTo>
                    <a:pt x="683" y="2121"/>
                  </a:lnTo>
                  <a:lnTo>
                    <a:pt x="685" y="2121"/>
                  </a:lnTo>
                  <a:lnTo>
                    <a:pt x="683" y="2121"/>
                  </a:lnTo>
                  <a:lnTo>
                    <a:pt x="683" y="2119"/>
                  </a:lnTo>
                  <a:lnTo>
                    <a:pt x="683" y="2117"/>
                  </a:lnTo>
                  <a:lnTo>
                    <a:pt x="683" y="2111"/>
                  </a:lnTo>
                  <a:lnTo>
                    <a:pt x="683" y="2109"/>
                  </a:lnTo>
                  <a:lnTo>
                    <a:pt x="683" y="2107"/>
                  </a:lnTo>
                  <a:lnTo>
                    <a:pt x="685" y="2106"/>
                  </a:lnTo>
                  <a:lnTo>
                    <a:pt x="683" y="2104"/>
                  </a:lnTo>
                  <a:lnTo>
                    <a:pt x="685" y="2106"/>
                  </a:lnTo>
                  <a:lnTo>
                    <a:pt x="685" y="2104"/>
                  </a:lnTo>
                  <a:lnTo>
                    <a:pt x="683" y="2104"/>
                  </a:lnTo>
                  <a:lnTo>
                    <a:pt x="685" y="2104"/>
                  </a:lnTo>
                  <a:lnTo>
                    <a:pt x="687" y="2104"/>
                  </a:lnTo>
                  <a:lnTo>
                    <a:pt x="687" y="2106"/>
                  </a:lnTo>
                  <a:lnTo>
                    <a:pt x="689" y="2106"/>
                  </a:lnTo>
                  <a:lnTo>
                    <a:pt x="689" y="2104"/>
                  </a:lnTo>
                  <a:lnTo>
                    <a:pt x="687" y="2104"/>
                  </a:lnTo>
                  <a:lnTo>
                    <a:pt x="689" y="2104"/>
                  </a:lnTo>
                  <a:lnTo>
                    <a:pt x="689" y="2102"/>
                  </a:lnTo>
                  <a:lnTo>
                    <a:pt x="691" y="2100"/>
                  </a:lnTo>
                  <a:lnTo>
                    <a:pt x="691" y="2102"/>
                  </a:lnTo>
                  <a:lnTo>
                    <a:pt x="691" y="2100"/>
                  </a:lnTo>
                  <a:lnTo>
                    <a:pt x="693" y="2100"/>
                  </a:lnTo>
                  <a:lnTo>
                    <a:pt x="693" y="2098"/>
                  </a:lnTo>
                  <a:lnTo>
                    <a:pt x="695" y="2098"/>
                  </a:lnTo>
                  <a:lnTo>
                    <a:pt x="695" y="2096"/>
                  </a:lnTo>
                  <a:lnTo>
                    <a:pt x="697" y="2096"/>
                  </a:lnTo>
                  <a:lnTo>
                    <a:pt x="695" y="2096"/>
                  </a:lnTo>
                  <a:lnTo>
                    <a:pt x="697" y="2096"/>
                  </a:lnTo>
                  <a:lnTo>
                    <a:pt x="699" y="2094"/>
                  </a:lnTo>
                  <a:lnTo>
                    <a:pt x="701" y="2092"/>
                  </a:lnTo>
                  <a:lnTo>
                    <a:pt x="703" y="2090"/>
                  </a:lnTo>
                  <a:lnTo>
                    <a:pt x="703" y="2092"/>
                  </a:lnTo>
                  <a:lnTo>
                    <a:pt x="703" y="2090"/>
                  </a:lnTo>
                  <a:lnTo>
                    <a:pt x="705" y="2090"/>
                  </a:lnTo>
                  <a:lnTo>
                    <a:pt x="706" y="2090"/>
                  </a:lnTo>
                  <a:lnTo>
                    <a:pt x="708" y="2090"/>
                  </a:lnTo>
                  <a:lnTo>
                    <a:pt x="708" y="2092"/>
                  </a:lnTo>
                  <a:lnTo>
                    <a:pt x="710" y="2090"/>
                  </a:lnTo>
                  <a:lnTo>
                    <a:pt x="710" y="2092"/>
                  </a:lnTo>
                  <a:lnTo>
                    <a:pt x="712" y="2092"/>
                  </a:lnTo>
                  <a:lnTo>
                    <a:pt x="714" y="2092"/>
                  </a:lnTo>
                  <a:lnTo>
                    <a:pt x="716" y="2092"/>
                  </a:lnTo>
                  <a:lnTo>
                    <a:pt x="718" y="2092"/>
                  </a:lnTo>
                  <a:lnTo>
                    <a:pt x="718" y="2094"/>
                  </a:lnTo>
                  <a:lnTo>
                    <a:pt x="720" y="2094"/>
                  </a:lnTo>
                  <a:lnTo>
                    <a:pt x="720" y="2096"/>
                  </a:lnTo>
                  <a:lnTo>
                    <a:pt x="722" y="2094"/>
                  </a:lnTo>
                  <a:lnTo>
                    <a:pt x="722" y="2096"/>
                  </a:lnTo>
                  <a:lnTo>
                    <a:pt x="722" y="2094"/>
                  </a:lnTo>
                  <a:lnTo>
                    <a:pt x="724" y="2096"/>
                  </a:lnTo>
                  <a:lnTo>
                    <a:pt x="726" y="2096"/>
                  </a:lnTo>
                  <a:lnTo>
                    <a:pt x="728" y="2096"/>
                  </a:lnTo>
                  <a:lnTo>
                    <a:pt x="728" y="2098"/>
                  </a:lnTo>
                  <a:lnTo>
                    <a:pt x="729" y="2098"/>
                  </a:lnTo>
                  <a:lnTo>
                    <a:pt x="731" y="2098"/>
                  </a:lnTo>
                  <a:lnTo>
                    <a:pt x="731" y="2100"/>
                  </a:lnTo>
                  <a:lnTo>
                    <a:pt x="729" y="2100"/>
                  </a:lnTo>
                  <a:lnTo>
                    <a:pt x="731" y="2100"/>
                  </a:lnTo>
                  <a:lnTo>
                    <a:pt x="733" y="2100"/>
                  </a:lnTo>
                  <a:lnTo>
                    <a:pt x="733" y="2102"/>
                  </a:lnTo>
                  <a:lnTo>
                    <a:pt x="735" y="2102"/>
                  </a:lnTo>
                  <a:lnTo>
                    <a:pt x="735" y="2104"/>
                  </a:lnTo>
                  <a:lnTo>
                    <a:pt x="735" y="2106"/>
                  </a:lnTo>
                  <a:lnTo>
                    <a:pt x="735" y="2104"/>
                  </a:lnTo>
                  <a:lnTo>
                    <a:pt x="737" y="2104"/>
                  </a:lnTo>
                  <a:lnTo>
                    <a:pt x="739" y="2104"/>
                  </a:lnTo>
                  <a:lnTo>
                    <a:pt x="739" y="2106"/>
                  </a:lnTo>
                  <a:lnTo>
                    <a:pt x="741" y="2106"/>
                  </a:lnTo>
                  <a:lnTo>
                    <a:pt x="739" y="2106"/>
                  </a:lnTo>
                  <a:lnTo>
                    <a:pt x="741" y="2106"/>
                  </a:lnTo>
                  <a:lnTo>
                    <a:pt x="743" y="2107"/>
                  </a:lnTo>
                  <a:lnTo>
                    <a:pt x="745" y="2107"/>
                  </a:lnTo>
                  <a:lnTo>
                    <a:pt x="745" y="2109"/>
                  </a:lnTo>
                  <a:lnTo>
                    <a:pt x="743" y="2109"/>
                  </a:lnTo>
                  <a:lnTo>
                    <a:pt x="741" y="2109"/>
                  </a:lnTo>
                  <a:lnTo>
                    <a:pt x="741" y="2107"/>
                  </a:lnTo>
                  <a:lnTo>
                    <a:pt x="739" y="2107"/>
                  </a:lnTo>
                  <a:lnTo>
                    <a:pt x="737" y="2107"/>
                  </a:lnTo>
                  <a:lnTo>
                    <a:pt x="739" y="2107"/>
                  </a:lnTo>
                  <a:lnTo>
                    <a:pt x="737" y="2107"/>
                  </a:lnTo>
                  <a:lnTo>
                    <a:pt x="737" y="2109"/>
                  </a:lnTo>
                  <a:lnTo>
                    <a:pt x="739" y="2109"/>
                  </a:lnTo>
                  <a:lnTo>
                    <a:pt x="737" y="2107"/>
                  </a:lnTo>
                  <a:lnTo>
                    <a:pt x="739" y="2107"/>
                  </a:lnTo>
                  <a:lnTo>
                    <a:pt x="741" y="2107"/>
                  </a:lnTo>
                  <a:lnTo>
                    <a:pt x="741" y="2109"/>
                  </a:lnTo>
                  <a:lnTo>
                    <a:pt x="743" y="2109"/>
                  </a:lnTo>
                  <a:lnTo>
                    <a:pt x="743" y="2111"/>
                  </a:lnTo>
                  <a:lnTo>
                    <a:pt x="745" y="2111"/>
                  </a:lnTo>
                  <a:lnTo>
                    <a:pt x="745" y="2113"/>
                  </a:lnTo>
                  <a:lnTo>
                    <a:pt x="745" y="2111"/>
                  </a:lnTo>
                  <a:lnTo>
                    <a:pt x="743" y="2111"/>
                  </a:lnTo>
                  <a:lnTo>
                    <a:pt x="743" y="2109"/>
                  </a:lnTo>
                  <a:lnTo>
                    <a:pt x="745" y="2109"/>
                  </a:lnTo>
                  <a:lnTo>
                    <a:pt x="745" y="2107"/>
                  </a:lnTo>
                  <a:lnTo>
                    <a:pt x="747" y="2109"/>
                  </a:lnTo>
                  <a:lnTo>
                    <a:pt x="749" y="2109"/>
                  </a:lnTo>
                  <a:lnTo>
                    <a:pt x="749" y="2111"/>
                  </a:lnTo>
                  <a:lnTo>
                    <a:pt x="751" y="2111"/>
                  </a:lnTo>
                  <a:lnTo>
                    <a:pt x="749" y="2113"/>
                  </a:lnTo>
                  <a:lnTo>
                    <a:pt x="751" y="2113"/>
                  </a:lnTo>
                  <a:lnTo>
                    <a:pt x="751" y="2115"/>
                  </a:lnTo>
                  <a:lnTo>
                    <a:pt x="751" y="2113"/>
                  </a:lnTo>
                  <a:lnTo>
                    <a:pt x="751" y="2111"/>
                  </a:lnTo>
                  <a:lnTo>
                    <a:pt x="753" y="2111"/>
                  </a:lnTo>
                  <a:lnTo>
                    <a:pt x="753" y="2113"/>
                  </a:lnTo>
                  <a:lnTo>
                    <a:pt x="754" y="2113"/>
                  </a:lnTo>
                  <a:lnTo>
                    <a:pt x="754" y="2115"/>
                  </a:lnTo>
                  <a:lnTo>
                    <a:pt x="754" y="2117"/>
                  </a:lnTo>
                  <a:lnTo>
                    <a:pt x="754" y="2119"/>
                  </a:lnTo>
                  <a:lnTo>
                    <a:pt x="756" y="2119"/>
                  </a:lnTo>
                  <a:lnTo>
                    <a:pt x="758" y="2119"/>
                  </a:lnTo>
                  <a:lnTo>
                    <a:pt x="756" y="2119"/>
                  </a:lnTo>
                  <a:lnTo>
                    <a:pt x="754" y="2117"/>
                  </a:lnTo>
                  <a:lnTo>
                    <a:pt x="754" y="2115"/>
                  </a:lnTo>
                  <a:lnTo>
                    <a:pt x="756" y="2115"/>
                  </a:lnTo>
                  <a:lnTo>
                    <a:pt x="756" y="2117"/>
                  </a:lnTo>
                  <a:lnTo>
                    <a:pt x="758" y="2117"/>
                  </a:lnTo>
                  <a:lnTo>
                    <a:pt x="760" y="2117"/>
                  </a:lnTo>
                  <a:lnTo>
                    <a:pt x="758" y="2117"/>
                  </a:lnTo>
                  <a:lnTo>
                    <a:pt x="760" y="2117"/>
                  </a:lnTo>
                  <a:lnTo>
                    <a:pt x="760" y="2119"/>
                  </a:lnTo>
                  <a:lnTo>
                    <a:pt x="762" y="2119"/>
                  </a:lnTo>
                  <a:lnTo>
                    <a:pt x="760" y="2121"/>
                  </a:lnTo>
                  <a:lnTo>
                    <a:pt x="762" y="2121"/>
                  </a:lnTo>
                  <a:lnTo>
                    <a:pt x="760" y="2121"/>
                  </a:lnTo>
                  <a:lnTo>
                    <a:pt x="760" y="2123"/>
                  </a:lnTo>
                  <a:lnTo>
                    <a:pt x="762" y="2121"/>
                  </a:lnTo>
                  <a:lnTo>
                    <a:pt x="762" y="2123"/>
                  </a:lnTo>
                  <a:lnTo>
                    <a:pt x="764" y="2123"/>
                  </a:lnTo>
                  <a:lnTo>
                    <a:pt x="762" y="2123"/>
                  </a:lnTo>
                  <a:lnTo>
                    <a:pt x="762" y="2121"/>
                  </a:lnTo>
                  <a:lnTo>
                    <a:pt x="762" y="2119"/>
                  </a:lnTo>
                  <a:lnTo>
                    <a:pt x="762" y="2121"/>
                  </a:lnTo>
                  <a:lnTo>
                    <a:pt x="764" y="2121"/>
                  </a:lnTo>
                  <a:lnTo>
                    <a:pt x="764" y="2119"/>
                  </a:lnTo>
                  <a:lnTo>
                    <a:pt x="766" y="2117"/>
                  </a:lnTo>
                  <a:lnTo>
                    <a:pt x="766" y="2115"/>
                  </a:lnTo>
                  <a:lnTo>
                    <a:pt x="764" y="2115"/>
                  </a:lnTo>
                  <a:lnTo>
                    <a:pt x="764" y="2113"/>
                  </a:lnTo>
                  <a:lnTo>
                    <a:pt x="764" y="2111"/>
                  </a:lnTo>
                  <a:lnTo>
                    <a:pt x="764" y="2109"/>
                  </a:lnTo>
                  <a:lnTo>
                    <a:pt x="762" y="2107"/>
                  </a:lnTo>
                  <a:lnTo>
                    <a:pt x="762" y="2106"/>
                  </a:lnTo>
                  <a:lnTo>
                    <a:pt x="760" y="2106"/>
                  </a:lnTo>
                  <a:lnTo>
                    <a:pt x="758" y="2104"/>
                  </a:lnTo>
                  <a:lnTo>
                    <a:pt x="756" y="2102"/>
                  </a:lnTo>
                  <a:lnTo>
                    <a:pt x="753" y="2100"/>
                  </a:lnTo>
                  <a:lnTo>
                    <a:pt x="751" y="2102"/>
                  </a:lnTo>
                  <a:lnTo>
                    <a:pt x="751" y="2104"/>
                  </a:lnTo>
                  <a:lnTo>
                    <a:pt x="749" y="2104"/>
                  </a:lnTo>
                  <a:lnTo>
                    <a:pt x="747" y="2102"/>
                  </a:lnTo>
                  <a:lnTo>
                    <a:pt x="735" y="2092"/>
                  </a:lnTo>
                  <a:lnTo>
                    <a:pt x="735" y="2090"/>
                  </a:lnTo>
                  <a:lnTo>
                    <a:pt x="737" y="2086"/>
                  </a:lnTo>
                  <a:lnTo>
                    <a:pt x="737" y="2084"/>
                  </a:lnTo>
                  <a:lnTo>
                    <a:pt x="737" y="2086"/>
                  </a:lnTo>
                  <a:lnTo>
                    <a:pt x="737" y="2084"/>
                  </a:lnTo>
                  <a:lnTo>
                    <a:pt x="735" y="2084"/>
                  </a:lnTo>
                  <a:lnTo>
                    <a:pt x="735" y="2086"/>
                  </a:lnTo>
                  <a:lnTo>
                    <a:pt x="731" y="2090"/>
                  </a:lnTo>
                  <a:lnTo>
                    <a:pt x="720" y="2086"/>
                  </a:lnTo>
                  <a:lnTo>
                    <a:pt x="720" y="2084"/>
                  </a:lnTo>
                  <a:lnTo>
                    <a:pt x="720" y="2083"/>
                  </a:lnTo>
                  <a:lnTo>
                    <a:pt x="720" y="2084"/>
                  </a:lnTo>
                  <a:lnTo>
                    <a:pt x="728" y="2084"/>
                  </a:lnTo>
                  <a:lnTo>
                    <a:pt x="729" y="2084"/>
                  </a:lnTo>
                  <a:lnTo>
                    <a:pt x="733" y="2084"/>
                  </a:lnTo>
                  <a:lnTo>
                    <a:pt x="737" y="2083"/>
                  </a:lnTo>
                  <a:lnTo>
                    <a:pt x="741" y="2083"/>
                  </a:lnTo>
                  <a:lnTo>
                    <a:pt x="739" y="2083"/>
                  </a:lnTo>
                  <a:lnTo>
                    <a:pt x="737" y="2083"/>
                  </a:lnTo>
                  <a:lnTo>
                    <a:pt x="739" y="2083"/>
                  </a:lnTo>
                  <a:lnTo>
                    <a:pt x="739" y="2084"/>
                  </a:lnTo>
                  <a:lnTo>
                    <a:pt x="741" y="2084"/>
                  </a:lnTo>
                  <a:lnTo>
                    <a:pt x="741" y="2083"/>
                  </a:lnTo>
                  <a:lnTo>
                    <a:pt x="741" y="2084"/>
                  </a:lnTo>
                  <a:lnTo>
                    <a:pt x="749" y="2084"/>
                  </a:lnTo>
                  <a:lnTo>
                    <a:pt x="751" y="2084"/>
                  </a:lnTo>
                  <a:lnTo>
                    <a:pt x="756" y="2084"/>
                  </a:lnTo>
                  <a:lnTo>
                    <a:pt x="758" y="2084"/>
                  </a:lnTo>
                  <a:lnTo>
                    <a:pt x="758" y="2086"/>
                  </a:lnTo>
                  <a:lnTo>
                    <a:pt x="758" y="2088"/>
                  </a:lnTo>
                  <a:lnTo>
                    <a:pt x="758" y="2086"/>
                  </a:lnTo>
                  <a:lnTo>
                    <a:pt x="758" y="2084"/>
                  </a:lnTo>
                  <a:lnTo>
                    <a:pt x="756" y="2084"/>
                  </a:lnTo>
                  <a:lnTo>
                    <a:pt x="756" y="2086"/>
                  </a:lnTo>
                  <a:lnTo>
                    <a:pt x="754" y="2086"/>
                  </a:lnTo>
                  <a:lnTo>
                    <a:pt x="754" y="2084"/>
                  </a:lnTo>
                  <a:lnTo>
                    <a:pt x="753" y="2086"/>
                  </a:lnTo>
                  <a:lnTo>
                    <a:pt x="753" y="2084"/>
                  </a:lnTo>
                  <a:lnTo>
                    <a:pt x="753" y="2086"/>
                  </a:lnTo>
                  <a:lnTo>
                    <a:pt x="754" y="2086"/>
                  </a:lnTo>
                  <a:lnTo>
                    <a:pt x="751" y="2086"/>
                  </a:lnTo>
                  <a:lnTo>
                    <a:pt x="749" y="2086"/>
                  </a:lnTo>
                  <a:lnTo>
                    <a:pt x="749" y="2084"/>
                  </a:lnTo>
                  <a:lnTo>
                    <a:pt x="747" y="2084"/>
                  </a:lnTo>
                  <a:lnTo>
                    <a:pt x="749" y="2084"/>
                  </a:lnTo>
                  <a:lnTo>
                    <a:pt x="751" y="2084"/>
                  </a:lnTo>
                  <a:lnTo>
                    <a:pt x="751" y="2086"/>
                  </a:lnTo>
                  <a:lnTo>
                    <a:pt x="751" y="2084"/>
                  </a:lnTo>
                  <a:lnTo>
                    <a:pt x="749" y="2084"/>
                  </a:lnTo>
                  <a:lnTo>
                    <a:pt x="747" y="2084"/>
                  </a:lnTo>
                  <a:lnTo>
                    <a:pt x="745" y="2086"/>
                  </a:lnTo>
                  <a:lnTo>
                    <a:pt x="743" y="2086"/>
                  </a:lnTo>
                  <a:lnTo>
                    <a:pt x="745" y="2088"/>
                  </a:lnTo>
                  <a:lnTo>
                    <a:pt x="743" y="2088"/>
                  </a:lnTo>
                  <a:lnTo>
                    <a:pt x="745" y="2090"/>
                  </a:lnTo>
                  <a:lnTo>
                    <a:pt x="745" y="2092"/>
                  </a:lnTo>
                  <a:lnTo>
                    <a:pt x="747" y="2092"/>
                  </a:lnTo>
                  <a:lnTo>
                    <a:pt x="749" y="2092"/>
                  </a:lnTo>
                  <a:lnTo>
                    <a:pt x="749" y="2094"/>
                  </a:lnTo>
                  <a:lnTo>
                    <a:pt x="751" y="2094"/>
                  </a:lnTo>
                  <a:lnTo>
                    <a:pt x="753" y="2094"/>
                  </a:lnTo>
                  <a:lnTo>
                    <a:pt x="754" y="2094"/>
                  </a:lnTo>
                  <a:lnTo>
                    <a:pt x="756" y="2094"/>
                  </a:lnTo>
                  <a:lnTo>
                    <a:pt x="758" y="2094"/>
                  </a:lnTo>
                  <a:lnTo>
                    <a:pt x="756" y="2096"/>
                  </a:lnTo>
                  <a:lnTo>
                    <a:pt x="756" y="2098"/>
                  </a:lnTo>
                  <a:lnTo>
                    <a:pt x="756" y="2100"/>
                  </a:lnTo>
                  <a:lnTo>
                    <a:pt x="754" y="2098"/>
                  </a:lnTo>
                  <a:lnTo>
                    <a:pt x="754" y="2100"/>
                  </a:lnTo>
                  <a:lnTo>
                    <a:pt x="756" y="2100"/>
                  </a:lnTo>
                  <a:lnTo>
                    <a:pt x="758" y="2102"/>
                  </a:lnTo>
                  <a:lnTo>
                    <a:pt x="760" y="2104"/>
                  </a:lnTo>
                  <a:lnTo>
                    <a:pt x="762" y="2106"/>
                  </a:lnTo>
                  <a:lnTo>
                    <a:pt x="764" y="2107"/>
                  </a:lnTo>
                  <a:lnTo>
                    <a:pt x="766" y="2111"/>
                  </a:lnTo>
                  <a:lnTo>
                    <a:pt x="766" y="2113"/>
                  </a:lnTo>
                  <a:lnTo>
                    <a:pt x="766" y="2115"/>
                  </a:lnTo>
                  <a:lnTo>
                    <a:pt x="766" y="2117"/>
                  </a:lnTo>
                  <a:lnTo>
                    <a:pt x="766" y="2119"/>
                  </a:lnTo>
                  <a:lnTo>
                    <a:pt x="766" y="2121"/>
                  </a:lnTo>
                  <a:lnTo>
                    <a:pt x="766" y="2123"/>
                  </a:lnTo>
                  <a:lnTo>
                    <a:pt x="766" y="2121"/>
                  </a:lnTo>
                  <a:lnTo>
                    <a:pt x="766" y="2123"/>
                  </a:lnTo>
                  <a:lnTo>
                    <a:pt x="768" y="2123"/>
                  </a:lnTo>
                  <a:lnTo>
                    <a:pt x="766" y="2123"/>
                  </a:lnTo>
                  <a:lnTo>
                    <a:pt x="768" y="2123"/>
                  </a:lnTo>
                  <a:lnTo>
                    <a:pt x="768" y="2125"/>
                  </a:lnTo>
                  <a:lnTo>
                    <a:pt x="768" y="2127"/>
                  </a:lnTo>
                  <a:lnTo>
                    <a:pt x="766" y="2127"/>
                  </a:lnTo>
                  <a:lnTo>
                    <a:pt x="764" y="2129"/>
                  </a:lnTo>
                  <a:lnTo>
                    <a:pt x="766" y="2129"/>
                  </a:lnTo>
                  <a:lnTo>
                    <a:pt x="764" y="2129"/>
                  </a:lnTo>
                  <a:lnTo>
                    <a:pt x="764" y="2131"/>
                  </a:lnTo>
                  <a:lnTo>
                    <a:pt x="764" y="2132"/>
                  </a:lnTo>
                  <a:lnTo>
                    <a:pt x="764" y="2134"/>
                  </a:lnTo>
                  <a:lnTo>
                    <a:pt x="762" y="2134"/>
                  </a:lnTo>
                  <a:lnTo>
                    <a:pt x="762" y="2136"/>
                  </a:lnTo>
                  <a:lnTo>
                    <a:pt x="762" y="2138"/>
                  </a:lnTo>
                  <a:lnTo>
                    <a:pt x="762" y="2136"/>
                  </a:lnTo>
                  <a:lnTo>
                    <a:pt x="762" y="2134"/>
                  </a:lnTo>
                  <a:lnTo>
                    <a:pt x="764" y="2134"/>
                  </a:lnTo>
                  <a:lnTo>
                    <a:pt x="764" y="2132"/>
                  </a:lnTo>
                  <a:lnTo>
                    <a:pt x="764" y="2129"/>
                  </a:lnTo>
                  <a:lnTo>
                    <a:pt x="766" y="2127"/>
                  </a:lnTo>
                  <a:lnTo>
                    <a:pt x="766" y="2129"/>
                  </a:lnTo>
                  <a:lnTo>
                    <a:pt x="768" y="2127"/>
                  </a:lnTo>
                  <a:lnTo>
                    <a:pt x="768" y="2125"/>
                  </a:lnTo>
                  <a:lnTo>
                    <a:pt x="768" y="2123"/>
                  </a:lnTo>
                  <a:lnTo>
                    <a:pt x="768" y="2121"/>
                  </a:lnTo>
                  <a:lnTo>
                    <a:pt x="768" y="2123"/>
                  </a:lnTo>
                  <a:lnTo>
                    <a:pt x="770" y="2123"/>
                  </a:lnTo>
                  <a:lnTo>
                    <a:pt x="770" y="2125"/>
                  </a:lnTo>
                  <a:lnTo>
                    <a:pt x="770" y="2127"/>
                  </a:lnTo>
                  <a:lnTo>
                    <a:pt x="768" y="2129"/>
                  </a:lnTo>
                  <a:lnTo>
                    <a:pt x="768" y="2131"/>
                  </a:lnTo>
                  <a:lnTo>
                    <a:pt x="768" y="2132"/>
                  </a:lnTo>
                  <a:lnTo>
                    <a:pt x="766" y="2134"/>
                  </a:lnTo>
                  <a:lnTo>
                    <a:pt x="766" y="2136"/>
                  </a:lnTo>
                  <a:lnTo>
                    <a:pt x="768" y="2138"/>
                  </a:lnTo>
                  <a:lnTo>
                    <a:pt x="768" y="2136"/>
                  </a:lnTo>
                  <a:lnTo>
                    <a:pt x="768" y="2138"/>
                  </a:lnTo>
                  <a:lnTo>
                    <a:pt x="768" y="2136"/>
                  </a:lnTo>
                  <a:lnTo>
                    <a:pt x="766" y="2136"/>
                  </a:lnTo>
                  <a:lnTo>
                    <a:pt x="766" y="2134"/>
                  </a:lnTo>
                  <a:lnTo>
                    <a:pt x="768" y="2134"/>
                  </a:lnTo>
                  <a:lnTo>
                    <a:pt x="768" y="2132"/>
                  </a:lnTo>
                  <a:lnTo>
                    <a:pt x="768" y="2131"/>
                  </a:lnTo>
                  <a:lnTo>
                    <a:pt x="770" y="2132"/>
                  </a:lnTo>
                  <a:lnTo>
                    <a:pt x="768" y="2131"/>
                  </a:lnTo>
                  <a:lnTo>
                    <a:pt x="770" y="2131"/>
                  </a:lnTo>
                  <a:lnTo>
                    <a:pt x="770" y="2129"/>
                  </a:lnTo>
                  <a:lnTo>
                    <a:pt x="770" y="2127"/>
                  </a:lnTo>
                  <a:lnTo>
                    <a:pt x="770" y="2129"/>
                  </a:lnTo>
                  <a:lnTo>
                    <a:pt x="770" y="2131"/>
                  </a:lnTo>
                  <a:lnTo>
                    <a:pt x="772" y="2131"/>
                  </a:lnTo>
                  <a:lnTo>
                    <a:pt x="774" y="2131"/>
                  </a:lnTo>
                  <a:lnTo>
                    <a:pt x="774" y="2132"/>
                  </a:lnTo>
                  <a:lnTo>
                    <a:pt x="776" y="2132"/>
                  </a:lnTo>
                  <a:lnTo>
                    <a:pt x="774" y="2132"/>
                  </a:lnTo>
                  <a:lnTo>
                    <a:pt x="776" y="2132"/>
                  </a:lnTo>
                  <a:lnTo>
                    <a:pt x="777" y="2132"/>
                  </a:lnTo>
                  <a:lnTo>
                    <a:pt x="776" y="2132"/>
                  </a:lnTo>
                  <a:lnTo>
                    <a:pt x="774" y="2131"/>
                  </a:lnTo>
                  <a:lnTo>
                    <a:pt x="772" y="2131"/>
                  </a:lnTo>
                  <a:lnTo>
                    <a:pt x="770" y="2131"/>
                  </a:lnTo>
                  <a:lnTo>
                    <a:pt x="770" y="2129"/>
                  </a:lnTo>
                  <a:lnTo>
                    <a:pt x="772" y="2129"/>
                  </a:lnTo>
                  <a:lnTo>
                    <a:pt x="774" y="2129"/>
                  </a:lnTo>
                  <a:lnTo>
                    <a:pt x="772" y="2129"/>
                  </a:lnTo>
                  <a:lnTo>
                    <a:pt x="772" y="2127"/>
                  </a:lnTo>
                  <a:lnTo>
                    <a:pt x="772" y="2125"/>
                  </a:lnTo>
                  <a:lnTo>
                    <a:pt x="774" y="2127"/>
                  </a:lnTo>
                  <a:lnTo>
                    <a:pt x="774" y="2125"/>
                  </a:lnTo>
                  <a:lnTo>
                    <a:pt x="776" y="2127"/>
                  </a:lnTo>
                  <a:lnTo>
                    <a:pt x="776" y="2125"/>
                  </a:lnTo>
                  <a:lnTo>
                    <a:pt x="777" y="2125"/>
                  </a:lnTo>
                  <a:lnTo>
                    <a:pt x="777" y="2127"/>
                  </a:lnTo>
                  <a:lnTo>
                    <a:pt x="777" y="2129"/>
                  </a:lnTo>
                  <a:lnTo>
                    <a:pt x="779" y="2129"/>
                  </a:lnTo>
                  <a:lnTo>
                    <a:pt x="777" y="2127"/>
                  </a:lnTo>
                  <a:lnTo>
                    <a:pt x="779" y="2127"/>
                  </a:lnTo>
                  <a:lnTo>
                    <a:pt x="777" y="2127"/>
                  </a:lnTo>
                  <a:lnTo>
                    <a:pt x="779" y="2127"/>
                  </a:lnTo>
                  <a:lnTo>
                    <a:pt x="779" y="2129"/>
                  </a:lnTo>
                  <a:lnTo>
                    <a:pt x="781" y="2129"/>
                  </a:lnTo>
                  <a:lnTo>
                    <a:pt x="781" y="2131"/>
                  </a:lnTo>
                  <a:lnTo>
                    <a:pt x="781" y="2129"/>
                  </a:lnTo>
                  <a:lnTo>
                    <a:pt x="779" y="2129"/>
                  </a:lnTo>
                  <a:lnTo>
                    <a:pt x="779" y="2127"/>
                  </a:lnTo>
                  <a:lnTo>
                    <a:pt x="777" y="2127"/>
                  </a:lnTo>
                  <a:lnTo>
                    <a:pt x="779" y="2125"/>
                  </a:lnTo>
                  <a:lnTo>
                    <a:pt x="777" y="2125"/>
                  </a:lnTo>
                  <a:lnTo>
                    <a:pt x="776" y="2125"/>
                  </a:lnTo>
                  <a:lnTo>
                    <a:pt x="774" y="2125"/>
                  </a:lnTo>
                  <a:lnTo>
                    <a:pt x="772" y="2125"/>
                  </a:lnTo>
                  <a:lnTo>
                    <a:pt x="770" y="2125"/>
                  </a:lnTo>
                  <a:lnTo>
                    <a:pt x="770" y="2123"/>
                  </a:lnTo>
                  <a:lnTo>
                    <a:pt x="772" y="2123"/>
                  </a:lnTo>
                  <a:lnTo>
                    <a:pt x="774" y="2125"/>
                  </a:lnTo>
                  <a:lnTo>
                    <a:pt x="776" y="2125"/>
                  </a:lnTo>
                  <a:lnTo>
                    <a:pt x="777" y="2125"/>
                  </a:lnTo>
                  <a:lnTo>
                    <a:pt x="779" y="2123"/>
                  </a:lnTo>
                  <a:lnTo>
                    <a:pt x="779" y="2125"/>
                  </a:lnTo>
                  <a:lnTo>
                    <a:pt x="781" y="2125"/>
                  </a:lnTo>
                  <a:lnTo>
                    <a:pt x="779" y="2125"/>
                  </a:lnTo>
                  <a:lnTo>
                    <a:pt x="781" y="2125"/>
                  </a:lnTo>
                  <a:lnTo>
                    <a:pt x="783" y="2123"/>
                  </a:lnTo>
                  <a:lnTo>
                    <a:pt x="785" y="2123"/>
                  </a:lnTo>
                  <a:lnTo>
                    <a:pt x="785" y="2125"/>
                  </a:lnTo>
                  <a:lnTo>
                    <a:pt x="785" y="2123"/>
                  </a:lnTo>
                  <a:lnTo>
                    <a:pt x="787" y="2123"/>
                  </a:lnTo>
                  <a:lnTo>
                    <a:pt x="789" y="2123"/>
                  </a:lnTo>
                  <a:lnTo>
                    <a:pt x="791" y="2123"/>
                  </a:lnTo>
                  <a:lnTo>
                    <a:pt x="793" y="2125"/>
                  </a:lnTo>
                  <a:lnTo>
                    <a:pt x="795" y="2125"/>
                  </a:lnTo>
                  <a:lnTo>
                    <a:pt x="797" y="2125"/>
                  </a:lnTo>
                  <a:lnTo>
                    <a:pt x="799" y="2125"/>
                  </a:lnTo>
                  <a:lnTo>
                    <a:pt x="800" y="2125"/>
                  </a:lnTo>
                  <a:lnTo>
                    <a:pt x="802" y="2127"/>
                  </a:lnTo>
                  <a:lnTo>
                    <a:pt x="799" y="2127"/>
                  </a:lnTo>
                  <a:lnTo>
                    <a:pt x="795" y="2129"/>
                  </a:lnTo>
                  <a:lnTo>
                    <a:pt x="791" y="2131"/>
                  </a:lnTo>
                  <a:lnTo>
                    <a:pt x="785" y="2132"/>
                  </a:lnTo>
                  <a:lnTo>
                    <a:pt x="781" y="2132"/>
                  </a:lnTo>
                  <a:lnTo>
                    <a:pt x="779" y="2134"/>
                  </a:lnTo>
                  <a:lnTo>
                    <a:pt x="777" y="2134"/>
                  </a:lnTo>
                  <a:lnTo>
                    <a:pt x="776" y="2136"/>
                  </a:lnTo>
                  <a:lnTo>
                    <a:pt x="774" y="2138"/>
                  </a:lnTo>
                  <a:lnTo>
                    <a:pt x="772" y="2138"/>
                  </a:lnTo>
                  <a:lnTo>
                    <a:pt x="770" y="2142"/>
                  </a:lnTo>
                  <a:lnTo>
                    <a:pt x="768" y="2144"/>
                  </a:lnTo>
                  <a:lnTo>
                    <a:pt x="766" y="2146"/>
                  </a:lnTo>
                  <a:lnTo>
                    <a:pt x="766" y="2148"/>
                  </a:lnTo>
                  <a:lnTo>
                    <a:pt x="764" y="2150"/>
                  </a:lnTo>
                  <a:lnTo>
                    <a:pt x="762" y="2152"/>
                  </a:lnTo>
                  <a:lnTo>
                    <a:pt x="762" y="2154"/>
                  </a:lnTo>
                  <a:lnTo>
                    <a:pt x="760" y="2157"/>
                  </a:lnTo>
                  <a:lnTo>
                    <a:pt x="760" y="2159"/>
                  </a:lnTo>
                  <a:lnTo>
                    <a:pt x="758" y="2161"/>
                  </a:lnTo>
                  <a:lnTo>
                    <a:pt x="758" y="2163"/>
                  </a:lnTo>
                  <a:lnTo>
                    <a:pt x="758" y="2167"/>
                  </a:lnTo>
                  <a:lnTo>
                    <a:pt x="758" y="2169"/>
                  </a:lnTo>
                  <a:lnTo>
                    <a:pt x="758" y="2171"/>
                  </a:lnTo>
                  <a:lnTo>
                    <a:pt x="758" y="2173"/>
                  </a:lnTo>
                  <a:lnTo>
                    <a:pt x="758" y="2177"/>
                  </a:lnTo>
                  <a:lnTo>
                    <a:pt x="758" y="2179"/>
                  </a:lnTo>
                  <a:lnTo>
                    <a:pt x="760" y="2180"/>
                  </a:lnTo>
                  <a:lnTo>
                    <a:pt x="760" y="2184"/>
                  </a:lnTo>
                  <a:lnTo>
                    <a:pt x="762" y="2186"/>
                  </a:lnTo>
                  <a:lnTo>
                    <a:pt x="762" y="2188"/>
                  </a:lnTo>
                  <a:lnTo>
                    <a:pt x="764" y="2190"/>
                  </a:lnTo>
                  <a:lnTo>
                    <a:pt x="768" y="2198"/>
                  </a:lnTo>
                  <a:lnTo>
                    <a:pt x="770" y="2198"/>
                  </a:lnTo>
                  <a:lnTo>
                    <a:pt x="772" y="2202"/>
                  </a:lnTo>
                  <a:lnTo>
                    <a:pt x="776" y="2205"/>
                  </a:lnTo>
                  <a:lnTo>
                    <a:pt x="777" y="2209"/>
                  </a:lnTo>
                  <a:lnTo>
                    <a:pt x="785" y="2223"/>
                  </a:lnTo>
                  <a:lnTo>
                    <a:pt x="787" y="2223"/>
                  </a:lnTo>
                  <a:lnTo>
                    <a:pt x="789" y="2225"/>
                  </a:lnTo>
                  <a:lnTo>
                    <a:pt x="789" y="2228"/>
                  </a:lnTo>
                  <a:lnTo>
                    <a:pt x="791" y="2230"/>
                  </a:lnTo>
                  <a:lnTo>
                    <a:pt x="791" y="2232"/>
                  </a:lnTo>
                  <a:lnTo>
                    <a:pt x="791" y="2236"/>
                  </a:lnTo>
                  <a:lnTo>
                    <a:pt x="793" y="2238"/>
                  </a:lnTo>
                  <a:lnTo>
                    <a:pt x="793" y="2240"/>
                  </a:lnTo>
                  <a:lnTo>
                    <a:pt x="793" y="2242"/>
                  </a:lnTo>
                  <a:lnTo>
                    <a:pt x="793" y="2246"/>
                  </a:lnTo>
                  <a:lnTo>
                    <a:pt x="793" y="2248"/>
                  </a:lnTo>
                  <a:lnTo>
                    <a:pt x="791" y="2250"/>
                  </a:lnTo>
                  <a:lnTo>
                    <a:pt x="791" y="2252"/>
                  </a:lnTo>
                  <a:lnTo>
                    <a:pt x="791" y="2255"/>
                  </a:lnTo>
                  <a:lnTo>
                    <a:pt x="789" y="2257"/>
                  </a:lnTo>
                  <a:lnTo>
                    <a:pt x="789" y="2261"/>
                  </a:lnTo>
                  <a:lnTo>
                    <a:pt x="787" y="2263"/>
                  </a:lnTo>
                  <a:lnTo>
                    <a:pt x="783" y="2273"/>
                  </a:lnTo>
                  <a:lnTo>
                    <a:pt x="781" y="2277"/>
                  </a:lnTo>
                  <a:lnTo>
                    <a:pt x="779" y="2280"/>
                  </a:lnTo>
                  <a:lnTo>
                    <a:pt x="776" y="2290"/>
                  </a:lnTo>
                  <a:lnTo>
                    <a:pt x="774" y="2292"/>
                  </a:lnTo>
                  <a:lnTo>
                    <a:pt x="774" y="2294"/>
                  </a:lnTo>
                  <a:lnTo>
                    <a:pt x="774" y="2296"/>
                  </a:lnTo>
                  <a:lnTo>
                    <a:pt x="772" y="2300"/>
                  </a:lnTo>
                  <a:lnTo>
                    <a:pt x="772" y="2301"/>
                  </a:lnTo>
                  <a:lnTo>
                    <a:pt x="772" y="2305"/>
                  </a:lnTo>
                  <a:lnTo>
                    <a:pt x="774" y="2305"/>
                  </a:lnTo>
                  <a:lnTo>
                    <a:pt x="777" y="2317"/>
                  </a:lnTo>
                  <a:lnTo>
                    <a:pt x="781" y="2328"/>
                  </a:lnTo>
                  <a:lnTo>
                    <a:pt x="781" y="2332"/>
                  </a:lnTo>
                  <a:lnTo>
                    <a:pt x="799" y="2382"/>
                  </a:lnTo>
                  <a:lnTo>
                    <a:pt x="806" y="2399"/>
                  </a:lnTo>
                  <a:lnTo>
                    <a:pt x="810" y="2415"/>
                  </a:lnTo>
                  <a:lnTo>
                    <a:pt x="812" y="2421"/>
                  </a:lnTo>
                  <a:lnTo>
                    <a:pt x="804" y="2426"/>
                  </a:lnTo>
                  <a:lnTo>
                    <a:pt x="802" y="2428"/>
                  </a:lnTo>
                  <a:lnTo>
                    <a:pt x="800" y="2432"/>
                  </a:lnTo>
                  <a:lnTo>
                    <a:pt x="800" y="2434"/>
                  </a:lnTo>
                  <a:lnTo>
                    <a:pt x="802" y="2440"/>
                  </a:lnTo>
                  <a:lnTo>
                    <a:pt x="802" y="2444"/>
                  </a:lnTo>
                  <a:lnTo>
                    <a:pt x="802" y="2446"/>
                  </a:lnTo>
                  <a:lnTo>
                    <a:pt x="804" y="2453"/>
                  </a:lnTo>
                  <a:lnTo>
                    <a:pt x="804" y="2455"/>
                  </a:lnTo>
                  <a:lnTo>
                    <a:pt x="804" y="2461"/>
                  </a:lnTo>
                  <a:lnTo>
                    <a:pt x="802" y="2469"/>
                  </a:lnTo>
                  <a:lnTo>
                    <a:pt x="802" y="2471"/>
                  </a:lnTo>
                  <a:lnTo>
                    <a:pt x="800" y="2472"/>
                  </a:lnTo>
                  <a:lnTo>
                    <a:pt x="802" y="2478"/>
                  </a:lnTo>
                  <a:lnTo>
                    <a:pt x="806" y="2478"/>
                  </a:lnTo>
                  <a:lnTo>
                    <a:pt x="806" y="2480"/>
                  </a:lnTo>
                  <a:lnTo>
                    <a:pt x="808" y="2490"/>
                  </a:lnTo>
                  <a:lnTo>
                    <a:pt x="800" y="2488"/>
                  </a:lnTo>
                  <a:lnTo>
                    <a:pt x="791" y="2488"/>
                  </a:lnTo>
                  <a:lnTo>
                    <a:pt x="779" y="2488"/>
                  </a:lnTo>
                  <a:lnTo>
                    <a:pt x="779" y="2486"/>
                  </a:lnTo>
                  <a:lnTo>
                    <a:pt x="779" y="2484"/>
                  </a:lnTo>
                  <a:lnTo>
                    <a:pt x="779" y="2482"/>
                  </a:lnTo>
                  <a:lnTo>
                    <a:pt x="781" y="2482"/>
                  </a:lnTo>
                  <a:lnTo>
                    <a:pt x="779" y="2482"/>
                  </a:lnTo>
                  <a:lnTo>
                    <a:pt x="779" y="2480"/>
                  </a:lnTo>
                  <a:lnTo>
                    <a:pt x="779" y="2478"/>
                  </a:lnTo>
                  <a:lnTo>
                    <a:pt x="781" y="2478"/>
                  </a:lnTo>
                  <a:lnTo>
                    <a:pt x="781" y="2476"/>
                  </a:lnTo>
                  <a:lnTo>
                    <a:pt x="779" y="2476"/>
                  </a:lnTo>
                  <a:lnTo>
                    <a:pt x="779" y="2474"/>
                  </a:lnTo>
                  <a:lnTo>
                    <a:pt x="779" y="2472"/>
                  </a:lnTo>
                  <a:lnTo>
                    <a:pt x="777" y="2472"/>
                  </a:lnTo>
                  <a:lnTo>
                    <a:pt x="774" y="2463"/>
                  </a:lnTo>
                  <a:lnTo>
                    <a:pt x="772" y="2463"/>
                  </a:lnTo>
                  <a:lnTo>
                    <a:pt x="772" y="2465"/>
                  </a:lnTo>
                  <a:lnTo>
                    <a:pt x="772" y="2463"/>
                  </a:lnTo>
                  <a:lnTo>
                    <a:pt x="774" y="2463"/>
                  </a:lnTo>
                  <a:lnTo>
                    <a:pt x="772" y="2463"/>
                  </a:lnTo>
                  <a:lnTo>
                    <a:pt x="772" y="2461"/>
                  </a:lnTo>
                  <a:lnTo>
                    <a:pt x="772" y="2463"/>
                  </a:lnTo>
                  <a:lnTo>
                    <a:pt x="772" y="2461"/>
                  </a:lnTo>
                  <a:lnTo>
                    <a:pt x="772" y="2459"/>
                  </a:lnTo>
                  <a:lnTo>
                    <a:pt x="770" y="2459"/>
                  </a:lnTo>
                  <a:lnTo>
                    <a:pt x="768" y="2457"/>
                  </a:lnTo>
                  <a:lnTo>
                    <a:pt x="762" y="2453"/>
                  </a:lnTo>
                  <a:lnTo>
                    <a:pt x="760" y="2453"/>
                  </a:lnTo>
                  <a:lnTo>
                    <a:pt x="758" y="2453"/>
                  </a:lnTo>
                  <a:lnTo>
                    <a:pt x="758" y="2451"/>
                  </a:lnTo>
                  <a:lnTo>
                    <a:pt x="754" y="2449"/>
                  </a:lnTo>
                  <a:lnTo>
                    <a:pt x="754" y="2451"/>
                  </a:lnTo>
                  <a:lnTo>
                    <a:pt x="754" y="2449"/>
                  </a:lnTo>
                  <a:lnTo>
                    <a:pt x="753" y="2449"/>
                  </a:lnTo>
                  <a:lnTo>
                    <a:pt x="751" y="2451"/>
                  </a:lnTo>
                  <a:lnTo>
                    <a:pt x="749" y="2451"/>
                  </a:lnTo>
                  <a:lnTo>
                    <a:pt x="749" y="2449"/>
                  </a:lnTo>
                  <a:lnTo>
                    <a:pt x="749" y="2451"/>
                  </a:lnTo>
                  <a:lnTo>
                    <a:pt x="749" y="2447"/>
                  </a:lnTo>
                  <a:lnTo>
                    <a:pt x="749" y="2446"/>
                  </a:lnTo>
                  <a:lnTo>
                    <a:pt x="747" y="2446"/>
                  </a:lnTo>
                  <a:lnTo>
                    <a:pt x="749" y="2446"/>
                  </a:lnTo>
                  <a:lnTo>
                    <a:pt x="747" y="2444"/>
                  </a:lnTo>
                  <a:lnTo>
                    <a:pt x="747" y="2442"/>
                  </a:lnTo>
                  <a:lnTo>
                    <a:pt x="745" y="2442"/>
                  </a:lnTo>
                  <a:lnTo>
                    <a:pt x="743" y="2440"/>
                  </a:lnTo>
                  <a:lnTo>
                    <a:pt x="741" y="2442"/>
                  </a:lnTo>
                  <a:lnTo>
                    <a:pt x="739" y="2442"/>
                  </a:lnTo>
                  <a:lnTo>
                    <a:pt x="737" y="2442"/>
                  </a:lnTo>
                  <a:lnTo>
                    <a:pt x="735" y="2442"/>
                  </a:lnTo>
                  <a:lnTo>
                    <a:pt x="735" y="2444"/>
                  </a:lnTo>
                  <a:lnTo>
                    <a:pt x="733" y="2444"/>
                  </a:lnTo>
                  <a:lnTo>
                    <a:pt x="731" y="2444"/>
                  </a:lnTo>
                  <a:lnTo>
                    <a:pt x="729" y="2444"/>
                  </a:lnTo>
                  <a:lnTo>
                    <a:pt x="731" y="2449"/>
                  </a:lnTo>
                  <a:lnTo>
                    <a:pt x="729" y="2444"/>
                  </a:lnTo>
                  <a:lnTo>
                    <a:pt x="729" y="2446"/>
                  </a:lnTo>
                  <a:lnTo>
                    <a:pt x="729" y="2444"/>
                  </a:lnTo>
                  <a:lnTo>
                    <a:pt x="728" y="2444"/>
                  </a:lnTo>
                  <a:lnTo>
                    <a:pt x="728" y="2446"/>
                  </a:lnTo>
                  <a:lnTo>
                    <a:pt x="726" y="2446"/>
                  </a:lnTo>
                  <a:lnTo>
                    <a:pt x="724" y="2446"/>
                  </a:lnTo>
                  <a:lnTo>
                    <a:pt x="722" y="2446"/>
                  </a:lnTo>
                  <a:lnTo>
                    <a:pt x="720" y="2446"/>
                  </a:lnTo>
                  <a:lnTo>
                    <a:pt x="722" y="2446"/>
                  </a:lnTo>
                  <a:lnTo>
                    <a:pt x="720" y="2446"/>
                  </a:lnTo>
                  <a:lnTo>
                    <a:pt x="720" y="2447"/>
                  </a:lnTo>
                  <a:lnTo>
                    <a:pt x="720" y="2446"/>
                  </a:lnTo>
                  <a:lnTo>
                    <a:pt x="720" y="2447"/>
                  </a:lnTo>
                  <a:lnTo>
                    <a:pt x="718" y="2447"/>
                  </a:lnTo>
                  <a:lnTo>
                    <a:pt x="716" y="2447"/>
                  </a:lnTo>
                  <a:lnTo>
                    <a:pt x="716" y="2449"/>
                  </a:lnTo>
                  <a:lnTo>
                    <a:pt x="714" y="2449"/>
                  </a:lnTo>
                  <a:lnTo>
                    <a:pt x="712" y="2449"/>
                  </a:lnTo>
                  <a:lnTo>
                    <a:pt x="712" y="2451"/>
                  </a:lnTo>
                  <a:lnTo>
                    <a:pt x="710" y="2451"/>
                  </a:lnTo>
                  <a:lnTo>
                    <a:pt x="708" y="2451"/>
                  </a:lnTo>
                  <a:lnTo>
                    <a:pt x="708" y="2453"/>
                  </a:lnTo>
                  <a:lnTo>
                    <a:pt x="708" y="2451"/>
                  </a:lnTo>
                  <a:lnTo>
                    <a:pt x="708" y="2453"/>
                  </a:lnTo>
                  <a:lnTo>
                    <a:pt x="706" y="2453"/>
                  </a:lnTo>
                  <a:lnTo>
                    <a:pt x="703" y="2455"/>
                  </a:lnTo>
                  <a:lnTo>
                    <a:pt x="703" y="2453"/>
                  </a:lnTo>
                  <a:lnTo>
                    <a:pt x="703" y="2455"/>
                  </a:lnTo>
                  <a:lnTo>
                    <a:pt x="703" y="2453"/>
                  </a:lnTo>
                  <a:lnTo>
                    <a:pt x="695" y="2451"/>
                  </a:lnTo>
                  <a:lnTo>
                    <a:pt x="691" y="2451"/>
                  </a:lnTo>
                  <a:lnTo>
                    <a:pt x="689" y="2449"/>
                  </a:lnTo>
                  <a:lnTo>
                    <a:pt x="687" y="2447"/>
                  </a:lnTo>
                  <a:lnTo>
                    <a:pt x="678" y="2444"/>
                  </a:lnTo>
                  <a:lnTo>
                    <a:pt x="676" y="2444"/>
                  </a:lnTo>
                  <a:lnTo>
                    <a:pt x="674" y="2444"/>
                  </a:lnTo>
                  <a:lnTo>
                    <a:pt x="672" y="2442"/>
                  </a:lnTo>
                  <a:lnTo>
                    <a:pt x="670" y="2442"/>
                  </a:lnTo>
                  <a:lnTo>
                    <a:pt x="668" y="2442"/>
                  </a:lnTo>
                  <a:lnTo>
                    <a:pt x="668" y="2440"/>
                  </a:lnTo>
                  <a:lnTo>
                    <a:pt x="668" y="2442"/>
                  </a:lnTo>
                  <a:lnTo>
                    <a:pt x="666" y="2440"/>
                  </a:lnTo>
                  <a:lnTo>
                    <a:pt x="664" y="2440"/>
                  </a:lnTo>
                  <a:lnTo>
                    <a:pt x="660" y="2446"/>
                  </a:lnTo>
                  <a:lnTo>
                    <a:pt x="660" y="2447"/>
                  </a:lnTo>
                  <a:lnTo>
                    <a:pt x="660" y="2446"/>
                  </a:lnTo>
                  <a:lnTo>
                    <a:pt x="664" y="2440"/>
                  </a:lnTo>
                  <a:lnTo>
                    <a:pt x="662" y="2440"/>
                  </a:lnTo>
                  <a:lnTo>
                    <a:pt x="660" y="2440"/>
                  </a:lnTo>
                  <a:lnTo>
                    <a:pt x="660" y="2438"/>
                  </a:lnTo>
                  <a:lnTo>
                    <a:pt x="660" y="2440"/>
                  </a:lnTo>
                  <a:lnTo>
                    <a:pt x="660" y="2438"/>
                  </a:lnTo>
                  <a:lnTo>
                    <a:pt x="658" y="2438"/>
                  </a:lnTo>
                  <a:lnTo>
                    <a:pt x="660" y="2438"/>
                  </a:lnTo>
                  <a:lnTo>
                    <a:pt x="658" y="2438"/>
                  </a:lnTo>
                  <a:lnTo>
                    <a:pt x="657" y="2436"/>
                  </a:lnTo>
                  <a:lnTo>
                    <a:pt x="655" y="2436"/>
                  </a:lnTo>
                  <a:lnTo>
                    <a:pt x="653" y="2434"/>
                  </a:lnTo>
                  <a:lnTo>
                    <a:pt x="651" y="2434"/>
                  </a:lnTo>
                  <a:lnTo>
                    <a:pt x="651" y="2436"/>
                  </a:lnTo>
                  <a:lnTo>
                    <a:pt x="649" y="2440"/>
                  </a:lnTo>
                  <a:lnTo>
                    <a:pt x="651" y="2434"/>
                  </a:lnTo>
                  <a:lnTo>
                    <a:pt x="649" y="2434"/>
                  </a:lnTo>
                  <a:lnTo>
                    <a:pt x="649" y="2432"/>
                  </a:lnTo>
                  <a:lnTo>
                    <a:pt x="651" y="2432"/>
                  </a:lnTo>
                  <a:lnTo>
                    <a:pt x="653" y="2434"/>
                  </a:lnTo>
                  <a:lnTo>
                    <a:pt x="655" y="2434"/>
                  </a:lnTo>
                  <a:lnTo>
                    <a:pt x="657" y="2434"/>
                  </a:lnTo>
                  <a:lnTo>
                    <a:pt x="658" y="2434"/>
                  </a:lnTo>
                  <a:lnTo>
                    <a:pt x="657" y="2434"/>
                  </a:lnTo>
                  <a:lnTo>
                    <a:pt x="655" y="2434"/>
                  </a:lnTo>
                  <a:lnTo>
                    <a:pt x="653" y="2434"/>
                  </a:lnTo>
                  <a:lnTo>
                    <a:pt x="651" y="2432"/>
                  </a:lnTo>
                  <a:lnTo>
                    <a:pt x="649" y="2432"/>
                  </a:lnTo>
                  <a:lnTo>
                    <a:pt x="649" y="2430"/>
                  </a:lnTo>
                  <a:lnTo>
                    <a:pt x="649" y="2432"/>
                  </a:lnTo>
                  <a:lnTo>
                    <a:pt x="647" y="2432"/>
                  </a:lnTo>
                  <a:lnTo>
                    <a:pt x="645" y="2432"/>
                  </a:lnTo>
                  <a:lnTo>
                    <a:pt x="643" y="2432"/>
                  </a:lnTo>
                  <a:lnTo>
                    <a:pt x="643" y="2430"/>
                  </a:lnTo>
                  <a:lnTo>
                    <a:pt x="643" y="2432"/>
                  </a:lnTo>
                  <a:lnTo>
                    <a:pt x="643" y="2430"/>
                  </a:lnTo>
                  <a:lnTo>
                    <a:pt x="641" y="2430"/>
                  </a:lnTo>
                  <a:lnTo>
                    <a:pt x="639" y="2430"/>
                  </a:lnTo>
                  <a:lnTo>
                    <a:pt x="639" y="2432"/>
                  </a:lnTo>
                  <a:lnTo>
                    <a:pt x="639" y="2430"/>
                  </a:lnTo>
                  <a:lnTo>
                    <a:pt x="637" y="2428"/>
                  </a:lnTo>
                  <a:lnTo>
                    <a:pt x="635" y="2426"/>
                  </a:lnTo>
                  <a:lnTo>
                    <a:pt x="635" y="2424"/>
                  </a:lnTo>
                  <a:lnTo>
                    <a:pt x="632" y="2423"/>
                  </a:lnTo>
                  <a:lnTo>
                    <a:pt x="632" y="2424"/>
                  </a:lnTo>
                  <a:lnTo>
                    <a:pt x="632" y="2423"/>
                  </a:lnTo>
                  <a:lnTo>
                    <a:pt x="630" y="2423"/>
                  </a:lnTo>
                  <a:lnTo>
                    <a:pt x="632" y="2423"/>
                  </a:lnTo>
                  <a:lnTo>
                    <a:pt x="630" y="2424"/>
                  </a:lnTo>
                  <a:lnTo>
                    <a:pt x="630" y="2423"/>
                  </a:lnTo>
                  <a:lnTo>
                    <a:pt x="628" y="2421"/>
                  </a:lnTo>
                  <a:lnTo>
                    <a:pt x="626" y="2421"/>
                  </a:lnTo>
                  <a:lnTo>
                    <a:pt x="624" y="2421"/>
                  </a:lnTo>
                  <a:lnTo>
                    <a:pt x="624" y="2419"/>
                  </a:lnTo>
                  <a:lnTo>
                    <a:pt x="620" y="2415"/>
                  </a:lnTo>
                  <a:lnTo>
                    <a:pt x="618" y="2413"/>
                  </a:lnTo>
                  <a:lnTo>
                    <a:pt x="616" y="2411"/>
                  </a:lnTo>
                  <a:lnTo>
                    <a:pt x="618" y="2409"/>
                  </a:lnTo>
                  <a:lnTo>
                    <a:pt x="614" y="2403"/>
                  </a:lnTo>
                  <a:lnTo>
                    <a:pt x="614" y="2401"/>
                  </a:lnTo>
                  <a:lnTo>
                    <a:pt x="612" y="2401"/>
                  </a:lnTo>
                  <a:lnTo>
                    <a:pt x="614" y="2401"/>
                  </a:lnTo>
                  <a:lnTo>
                    <a:pt x="616" y="2399"/>
                  </a:lnTo>
                  <a:lnTo>
                    <a:pt x="618" y="2398"/>
                  </a:lnTo>
                  <a:lnTo>
                    <a:pt x="616" y="2398"/>
                  </a:lnTo>
                  <a:lnTo>
                    <a:pt x="612" y="2396"/>
                  </a:lnTo>
                  <a:lnTo>
                    <a:pt x="607" y="2394"/>
                  </a:lnTo>
                  <a:lnTo>
                    <a:pt x="605" y="2394"/>
                  </a:lnTo>
                  <a:lnTo>
                    <a:pt x="603" y="2392"/>
                  </a:lnTo>
                  <a:lnTo>
                    <a:pt x="603" y="2394"/>
                  </a:lnTo>
                  <a:lnTo>
                    <a:pt x="603" y="2392"/>
                  </a:lnTo>
                  <a:lnTo>
                    <a:pt x="603" y="2390"/>
                  </a:lnTo>
                  <a:lnTo>
                    <a:pt x="603" y="2388"/>
                  </a:lnTo>
                  <a:lnTo>
                    <a:pt x="603" y="2386"/>
                  </a:lnTo>
                  <a:lnTo>
                    <a:pt x="601" y="2386"/>
                  </a:lnTo>
                  <a:lnTo>
                    <a:pt x="601" y="2388"/>
                  </a:lnTo>
                  <a:lnTo>
                    <a:pt x="601" y="2390"/>
                  </a:lnTo>
                  <a:lnTo>
                    <a:pt x="601" y="2392"/>
                  </a:lnTo>
                  <a:lnTo>
                    <a:pt x="599" y="2392"/>
                  </a:lnTo>
                  <a:lnTo>
                    <a:pt x="599" y="2390"/>
                  </a:lnTo>
                  <a:lnTo>
                    <a:pt x="599" y="2388"/>
                  </a:lnTo>
                  <a:lnTo>
                    <a:pt x="597" y="2386"/>
                  </a:lnTo>
                  <a:lnTo>
                    <a:pt x="595" y="2384"/>
                  </a:lnTo>
                  <a:lnTo>
                    <a:pt x="595" y="2386"/>
                  </a:lnTo>
                  <a:lnTo>
                    <a:pt x="595" y="2384"/>
                  </a:lnTo>
                  <a:lnTo>
                    <a:pt x="593" y="2384"/>
                  </a:lnTo>
                  <a:lnTo>
                    <a:pt x="593" y="2382"/>
                  </a:lnTo>
                  <a:lnTo>
                    <a:pt x="589" y="2382"/>
                  </a:lnTo>
                  <a:lnTo>
                    <a:pt x="587" y="2380"/>
                  </a:lnTo>
                  <a:lnTo>
                    <a:pt x="587" y="2382"/>
                  </a:lnTo>
                  <a:lnTo>
                    <a:pt x="586" y="2382"/>
                  </a:lnTo>
                  <a:lnTo>
                    <a:pt x="586" y="2380"/>
                  </a:lnTo>
                  <a:lnTo>
                    <a:pt x="587" y="2380"/>
                  </a:lnTo>
                  <a:lnTo>
                    <a:pt x="589" y="2378"/>
                  </a:lnTo>
                  <a:lnTo>
                    <a:pt x="589" y="2376"/>
                  </a:lnTo>
                  <a:lnTo>
                    <a:pt x="589" y="2374"/>
                  </a:lnTo>
                  <a:lnTo>
                    <a:pt x="589" y="2369"/>
                  </a:lnTo>
                  <a:lnTo>
                    <a:pt x="587" y="2367"/>
                  </a:lnTo>
                  <a:lnTo>
                    <a:pt x="587" y="2365"/>
                  </a:lnTo>
                  <a:lnTo>
                    <a:pt x="587" y="2363"/>
                  </a:lnTo>
                  <a:lnTo>
                    <a:pt x="587" y="2361"/>
                  </a:lnTo>
                  <a:lnTo>
                    <a:pt x="586" y="2361"/>
                  </a:lnTo>
                  <a:lnTo>
                    <a:pt x="584" y="2361"/>
                  </a:lnTo>
                  <a:lnTo>
                    <a:pt x="584" y="2363"/>
                  </a:lnTo>
                  <a:lnTo>
                    <a:pt x="586" y="2367"/>
                  </a:lnTo>
                  <a:lnTo>
                    <a:pt x="586" y="2369"/>
                  </a:lnTo>
                  <a:lnTo>
                    <a:pt x="586" y="2373"/>
                  </a:lnTo>
                  <a:lnTo>
                    <a:pt x="586" y="2374"/>
                  </a:lnTo>
                  <a:lnTo>
                    <a:pt x="584" y="2376"/>
                  </a:lnTo>
                  <a:lnTo>
                    <a:pt x="584" y="2380"/>
                  </a:lnTo>
                  <a:lnTo>
                    <a:pt x="582" y="2380"/>
                  </a:lnTo>
                  <a:lnTo>
                    <a:pt x="580" y="2380"/>
                  </a:lnTo>
                  <a:lnTo>
                    <a:pt x="580" y="2378"/>
                  </a:lnTo>
                  <a:lnTo>
                    <a:pt x="582" y="2378"/>
                  </a:lnTo>
                  <a:lnTo>
                    <a:pt x="582" y="2376"/>
                  </a:lnTo>
                  <a:lnTo>
                    <a:pt x="580" y="2376"/>
                  </a:lnTo>
                  <a:lnTo>
                    <a:pt x="580" y="2374"/>
                  </a:lnTo>
                  <a:lnTo>
                    <a:pt x="578" y="2374"/>
                  </a:lnTo>
                  <a:lnTo>
                    <a:pt x="578" y="2376"/>
                  </a:lnTo>
                  <a:lnTo>
                    <a:pt x="578" y="2374"/>
                  </a:lnTo>
                  <a:lnTo>
                    <a:pt x="578" y="2376"/>
                  </a:lnTo>
                  <a:lnTo>
                    <a:pt x="578" y="2378"/>
                  </a:lnTo>
                  <a:lnTo>
                    <a:pt x="580" y="2378"/>
                  </a:lnTo>
                  <a:lnTo>
                    <a:pt x="578" y="2378"/>
                  </a:lnTo>
                  <a:lnTo>
                    <a:pt x="578" y="2376"/>
                  </a:lnTo>
                  <a:lnTo>
                    <a:pt x="578" y="2374"/>
                  </a:lnTo>
                  <a:lnTo>
                    <a:pt x="578" y="2373"/>
                  </a:lnTo>
                  <a:lnTo>
                    <a:pt x="576" y="2373"/>
                  </a:lnTo>
                  <a:lnTo>
                    <a:pt x="574" y="2371"/>
                  </a:lnTo>
                  <a:lnTo>
                    <a:pt x="574" y="2369"/>
                  </a:lnTo>
                  <a:lnTo>
                    <a:pt x="574" y="2367"/>
                  </a:lnTo>
                  <a:lnTo>
                    <a:pt x="572" y="2369"/>
                  </a:lnTo>
                  <a:lnTo>
                    <a:pt x="574" y="2367"/>
                  </a:lnTo>
                  <a:lnTo>
                    <a:pt x="572" y="2367"/>
                  </a:lnTo>
                  <a:lnTo>
                    <a:pt x="572" y="2369"/>
                  </a:lnTo>
                  <a:lnTo>
                    <a:pt x="572" y="2367"/>
                  </a:lnTo>
                  <a:lnTo>
                    <a:pt x="570" y="2363"/>
                  </a:lnTo>
                  <a:lnTo>
                    <a:pt x="568" y="2363"/>
                  </a:lnTo>
                  <a:lnTo>
                    <a:pt x="568" y="2361"/>
                  </a:lnTo>
                  <a:lnTo>
                    <a:pt x="566" y="2361"/>
                  </a:lnTo>
                  <a:lnTo>
                    <a:pt x="566" y="2359"/>
                  </a:lnTo>
                  <a:lnTo>
                    <a:pt x="564" y="2361"/>
                  </a:lnTo>
                  <a:lnTo>
                    <a:pt x="564" y="2359"/>
                  </a:lnTo>
                  <a:lnTo>
                    <a:pt x="562" y="2355"/>
                  </a:lnTo>
                  <a:lnTo>
                    <a:pt x="562" y="2353"/>
                  </a:lnTo>
                  <a:lnTo>
                    <a:pt x="561" y="2351"/>
                  </a:lnTo>
                  <a:lnTo>
                    <a:pt x="559" y="2350"/>
                  </a:lnTo>
                  <a:lnTo>
                    <a:pt x="557" y="2348"/>
                  </a:lnTo>
                  <a:lnTo>
                    <a:pt x="555" y="2348"/>
                  </a:lnTo>
                  <a:lnTo>
                    <a:pt x="553" y="2350"/>
                  </a:lnTo>
                  <a:lnTo>
                    <a:pt x="551" y="2350"/>
                  </a:lnTo>
                  <a:lnTo>
                    <a:pt x="543" y="2355"/>
                  </a:lnTo>
                  <a:lnTo>
                    <a:pt x="541" y="2355"/>
                  </a:lnTo>
                  <a:lnTo>
                    <a:pt x="534" y="2353"/>
                  </a:lnTo>
                  <a:lnTo>
                    <a:pt x="534" y="2355"/>
                  </a:lnTo>
                  <a:lnTo>
                    <a:pt x="534" y="2353"/>
                  </a:lnTo>
                  <a:lnTo>
                    <a:pt x="526" y="2359"/>
                  </a:lnTo>
                  <a:lnTo>
                    <a:pt x="518" y="2363"/>
                  </a:lnTo>
                  <a:lnTo>
                    <a:pt x="515" y="2361"/>
                  </a:lnTo>
                  <a:lnTo>
                    <a:pt x="511" y="2359"/>
                  </a:lnTo>
                  <a:lnTo>
                    <a:pt x="509" y="2359"/>
                  </a:lnTo>
                  <a:lnTo>
                    <a:pt x="509" y="2361"/>
                  </a:lnTo>
                  <a:lnTo>
                    <a:pt x="511" y="2361"/>
                  </a:lnTo>
                  <a:lnTo>
                    <a:pt x="511" y="2367"/>
                  </a:lnTo>
                  <a:lnTo>
                    <a:pt x="507" y="2367"/>
                  </a:lnTo>
                  <a:lnTo>
                    <a:pt x="507" y="2369"/>
                  </a:lnTo>
                  <a:lnTo>
                    <a:pt x="507" y="2371"/>
                  </a:lnTo>
                  <a:lnTo>
                    <a:pt x="507" y="2374"/>
                  </a:lnTo>
                  <a:lnTo>
                    <a:pt x="509" y="2374"/>
                  </a:lnTo>
                  <a:lnTo>
                    <a:pt x="511" y="2378"/>
                  </a:lnTo>
                  <a:lnTo>
                    <a:pt x="509" y="2376"/>
                  </a:lnTo>
                  <a:lnTo>
                    <a:pt x="509" y="2380"/>
                  </a:lnTo>
                  <a:lnTo>
                    <a:pt x="509" y="2382"/>
                  </a:lnTo>
                  <a:lnTo>
                    <a:pt x="505" y="2388"/>
                  </a:lnTo>
                  <a:lnTo>
                    <a:pt x="505" y="2390"/>
                  </a:lnTo>
                  <a:lnTo>
                    <a:pt x="503" y="2392"/>
                  </a:lnTo>
                  <a:lnTo>
                    <a:pt x="503" y="2394"/>
                  </a:lnTo>
                  <a:lnTo>
                    <a:pt x="501" y="2394"/>
                  </a:lnTo>
                  <a:lnTo>
                    <a:pt x="503" y="2394"/>
                  </a:lnTo>
                  <a:lnTo>
                    <a:pt x="501" y="2396"/>
                  </a:lnTo>
                  <a:lnTo>
                    <a:pt x="501" y="2398"/>
                  </a:lnTo>
                  <a:lnTo>
                    <a:pt x="501" y="2399"/>
                  </a:lnTo>
                  <a:lnTo>
                    <a:pt x="499" y="2401"/>
                  </a:lnTo>
                  <a:lnTo>
                    <a:pt x="499" y="2403"/>
                  </a:lnTo>
                  <a:lnTo>
                    <a:pt x="499" y="2399"/>
                  </a:lnTo>
                  <a:lnTo>
                    <a:pt x="499" y="2401"/>
                  </a:lnTo>
                  <a:lnTo>
                    <a:pt x="497" y="2401"/>
                  </a:lnTo>
                  <a:lnTo>
                    <a:pt x="497" y="2405"/>
                  </a:lnTo>
                  <a:lnTo>
                    <a:pt x="495" y="2407"/>
                  </a:lnTo>
                  <a:lnTo>
                    <a:pt x="495" y="2409"/>
                  </a:lnTo>
                  <a:lnTo>
                    <a:pt x="493" y="2411"/>
                  </a:lnTo>
                  <a:lnTo>
                    <a:pt x="491" y="2415"/>
                  </a:lnTo>
                  <a:lnTo>
                    <a:pt x="491" y="2417"/>
                  </a:lnTo>
                  <a:lnTo>
                    <a:pt x="490" y="2421"/>
                  </a:lnTo>
                  <a:lnTo>
                    <a:pt x="488" y="2423"/>
                  </a:lnTo>
                  <a:lnTo>
                    <a:pt x="488" y="2424"/>
                  </a:lnTo>
                  <a:lnTo>
                    <a:pt x="488" y="2426"/>
                  </a:lnTo>
                  <a:lnTo>
                    <a:pt x="486" y="2428"/>
                  </a:lnTo>
                  <a:lnTo>
                    <a:pt x="486" y="2430"/>
                  </a:lnTo>
                  <a:lnTo>
                    <a:pt x="484" y="2434"/>
                  </a:lnTo>
                  <a:lnTo>
                    <a:pt x="484" y="2436"/>
                  </a:lnTo>
                  <a:lnTo>
                    <a:pt x="482" y="2436"/>
                  </a:lnTo>
                  <a:lnTo>
                    <a:pt x="480" y="2436"/>
                  </a:lnTo>
                  <a:lnTo>
                    <a:pt x="478" y="2436"/>
                  </a:lnTo>
                  <a:lnTo>
                    <a:pt x="476" y="2436"/>
                  </a:lnTo>
                  <a:lnTo>
                    <a:pt x="472" y="2436"/>
                  </a:lnTo>
                  <a:lnTo>
                    <a:pt x="472" y="2434"/>
                  </a:lnTo>
                  <a:lnTo>
                    <a:pt x="468" y="2434"/>
                  </a:lnTo>
                  <a:lnTo>
                    <a:pt x="467" y="2432"/>
                  </a:lnTo>
                  <a:lnTo>
                    <a:pt x="465" y="2430"/>
                  </a:lnTo>
                  <a:lnTo>
                    <a:pt x="465" y="2432"/>
                  </a:lnTo>
                  <a:lnTo>
                    <a:pt x="463" y="2430"/>
                  </a:lnTo>
                  <a:lnTo>
                    <a:pt x="461" y="2430"/>
                  </a:lnTo>
                  <a:lnTo>
                    <a:pt x="461" y="2432"/>
                  </a:lnTo>
                  <a:lnTo>
                    <a:pt x="461" y="2430"/>
                  </a:lnTo>
                  <a:lnTo>
                    <a:pt x="459" y="2430"/>
                  </a:lnTo>
                  <a:lnTo>
                    <a:pt x="457" y="2430"/>
                  </a:lnTo>
                  <a:lnTo>
                    <a:pt x="455" y="2430"/>
                  </a:lnTo>
                  <a:lnTo>
                    <a:pt x="453" y="2430"/>
                  </a:lnTo>
                  <a:lnTo>
                    <a:pt x="451" y="2432"/>
                  </a:lnTo>
                  <a:lnTo>
                    <a:pt x="449" y="2434"/>
                  </a:lnTo>
                  <a:lnTo>
                    <a:pt x="447" y="2436"/>
                  </a:lnTo>
                  <a:lnTo>
                    <a:pt x="447" y="2438"/>
                  </a:lnTo>
                  <a:lnTo>
                    <a:pt x="445" y="2438"/>
                  </a:lnTo>
                  <a:lnTo>
                    <a:pt x="443" y="2438"/>
                  </a:lnTo>
                  <a:lnTo>
                    <a:pt x="442" y="2436"/>
                  </a:lnTo>
                  <a:lnTo>
                    <a:pt x="442" y="2438"/>
                  </a:lnTo>
                  <a:lnTo>
                    <a:pt x="440" y="2438"/>
                  </a:lnTo>
                  <a:lnTo>
                    <a:pt x="438" y="2438"/>
                  </a:lnTo>
                  <a:lnTo>
                    <a:pt x="436" y="2438"/>
                  </a:lnTo>
                  <a:lnTo>
                    <a:pt x="434" y="2438"/>
                  </a:lnTo>
                  <a:lnTo>
                    <a:pt x="432" y="2438"/>
                  </a:lnTo>
                  <a:lnTo>
                    <a:pt x="430" y="2438"/>
                  </a:lnTo>
                  <a:lnTo>
                    <a:pt x="430" y="2440"/>
                  </a:lnTo>
                  <a:lnTo>
                    <a:pt x="428" y="2440"/>
                  </a:lnTo>
                  <a:lnTo>
                    <a:pt x="426" y="2440"/>
                  </a:lnTo>
                  <a:lnTo>
                    <a:pt x="424" y="2440"/>
                  </a:lnTo>
                  <a:lnTo>
                    <a:pt x="422" y="2440"/>
                  </a:lnTo>
                  <a:lnTo>
                    <a:pt x="420" y="2440"/>
                  </a:lnTo>
                  <a:lnTo>
                    <a:pt x="419" y="2440"/>
                  </a:lnTo>
                  <a:lnTo>
                    <a:pt x="417" y="2442"/>
                  </a:lnTo>
                  <a:lnTo>
                    <a:pt x="417" y="2440"/>
                  </a:lnTo>
                  <a:lnTo>
                    <a:pt x="415" y="2442"/>
                  </a:lnTo>
                  <a:lnTo>
                    <a:pt x="415" y="2440"/>
                  </a:lnTo>
                  <a:lnTo>
                    <a:pt x="415" y="2442"/>
                  </a:lnTo>
                  <a:lnTo>
                    <a:pt x="413" y="2442"/>
                  </a:lnTo>
                  <a:lnTo>
                    <a:pt x="411" y="2442"/>
                  </a:lnTo>
                  <a:lnTo>
                    <a:pt x="409" y="2442"/>
                  </a:lnTo>
                  <a:lnTo>
                    <a:pt x="409" y="2444"/>
                  </a:lnTo>
                  <a:lnTo>
                    <a:pt x="409" y="2442"/>
                  </a:lnTo>
                  <a:lnTo>
                    <a:pt x="409" y="2444"/>
                  </a:lnTo>
                  <a:lnTo>
                    <a:pt x="409" y="2442"/>
                  </a:lnTo>
                  <a:lnTo>
                    <a:pt x="407" y="2442"/>
                  </a:lnTo>
                  <a:lnTo>
                    <a:pt x="405" y="2442"/>
                  </a:lnTo>
                  <a:lnTo>
                    <a:pt x="403" y="2438"/>
                  </a:lnTo>
                  <a:lnTo>
                    <a:pt x="401" y="2438"/>
                  </a:lnTo>
                  <a:lnTo>
                    <a:pt x="397" y="2430"/>
                  </a:lnTo>
                  <a:lnTo>
                    <a:pt x="396" y="2430"/>
                  </a:lnTo>
                  <a:lnTo>
                    <a:pt x="394" y="2428"/>
                  </a:lnTo>
                  <a:lnTo>
                    <a:pt x="390" y="2424"/>
                  </a:lnTo>
                  <a:lnTo>
                    <a:pt x="388" y="2423"/>
                  </a:lnTo>
                  <a:lnTo>
                    <a:pt x="388" y="2421"/>
                  </a:lnTo>
                  <a:lnTo>
                    <a:pt x="386" y="2421"/>
                  </a:lnTo>
                  <a:lnTo>
                    <a:pt x="382" y="2417"/>
                  </a:lnTo>
                  <a:lnTo>
                    <a:pt x="376" y="2413"/>
                  </a:lnTo>
                  <a:lnTo>
                    <a:pt x="374" y="2411"/>
                  </a:lnTo>
                  <a:lnTo>
                    <a:pt x="378" y="2407"/>
                  </a:lnTo>
                  <a:lnTo>
                    <a:pt x="378" y="2405"/>
                  </a:lnTo>
                  <a:lnTo>
                    <a:pt x="376" y="2405"/>
                  </a:lnTo>
                  <a:lnTo>
                    <a:pt x="374" y="2405"/>
                  </a:lnTo>
                  <a:lnTo>
                    <a:pt x="367" y="2403"/>
                  </a:lnTo>
                  <a:lnTo>
                    <a:pt x="367" y="2405"/>
                  </a:lnTo>
                  <a:lnTo>
                    <a:pt x="365" y="2405"/>
                  </a:lnTo>
                  <a:lnTo>
                    <a:pt x="367" y="2403"/>
                  </a:lnTo>
                  <a:lnTo>
                    <a:pt x="363" y="2399"/>
                  </a:lnTo>
                  <a:lnTo>
                    <a:pt x="361" y="2398"/>
                  </a:lnTo>
                  <a:lnTo>
                    <a:pt x="359" y="2398"/>
                  </a:lnTo>
                  <a:lnTo>
                    <a:pt x="357" y="2398"/>
                  </a:lnTo>
                  <a:lnTo>
                    <a:pt x="355" y="2398"/>
                  </a:lnTo>
                  <a:lnTo>
                    <a:pt x="353" y="2398"/>
                  </a:lnTo>
                  <a:lnTo>
                    <a:pt x="351" y="2399"/>
                  </a:lnTo>
                  <a:lnTo>
                    <a:pt x="351" y="2401"/>
                  </a:lnTo>
                  <a:lnTo>
                    <a:pt x="351" y="2399"/>
                  </a:lnTo>
                  <a:lnTo>
                    <a:pt x="349" y="2399"/>
                  </a:lnTo>
                  <a:lnTo>
                    <a:pt x="349" y="2401"/>
                  </a:lnTo>
                  <a:lnTo>
                    <a:pt x="349" y="2399"/>
                  </a:lnTo>
                  <a:lnTo>
                    <a:pt x="349" y="2401"/>
                  </a:lnTo>
                  <a:lnTo>
                    <a:pt x="348" y="2401"/>
                  </a:lnTo>
                  <a:lnTo>
                    <a:pt x="346" y="2401"/>
                  </a:lnTo>
                  <a:lnTo>
                    <a:pt x="344" y="2401"/>
                  </a:lnTo>
                  <a:lnTo>
                    <a:pt x="340" y="2399"/>
                  </a:lnTo>
                  <a:lnTo>
                    <a:pt x="338" y="2399"/>
                  </a:lnTo>
                  <a:lnTo>
                    <a:pt x="336" y="2398"/>
                  </a:lnTo>
                  <a:lnTo>
                    <a:pt x="334" y="2396"/>
                  </a:lnTo>
                  <a:lnTo>
                    <a:pt x="332" y="2394"/>
                  </a:lnTo>
                  <a:lnTo>
                    <a:pt x="332" y="2392"/>
                  </a:lnTo>
                  <a:lnTo>
                    <a:pt x="332" y="2390"/>
                  </a:lnTo>
                  <a:lnTo>
                    <a:pt x="332" y="2386"/>
                  </a:lnTo>
                  <a:lnTo>
                    <a:pt x="330" y="2388"/>
                  </a:lnTo>
                  <a:lnTo>
                    <a:pt x="332" y="2386"/>
                  </a:lnTo>
                  <a:lnTo>
                    <a:pt x="330" y="2388"/>
                  </a:lnTo>
                  <a:lnTo>
                    <a:pt x="328" y="2388"/>
                  </a:lnTo>
                  <a:lnTo>
                    <a:pt x="330" y="2386"/>
                  </a:lnTo>
                  <a:lnTo>
                    <a:pt x="332" y="2386"/>
                  </a:lnTo>
                  <a:lnTo>
                    <a:pt x="330" y="2386"/>
                  </a:lnTo>
                  <a:lnTo>
                    <a:pt x="332" y="2386"/>
                  </a:lnTo>
                  <a:lnTo>
                    <a:pt x="330" y="2384"/>
                  </a:lnTo>
                  <a:lnTo>
                    <a:pt x="330" y="2382"/>
                  </a:lnTo>
                  <a:lnTo>
                    <a:pt x="330" y="2380"/>
                  </a:lnTo>
                  <a:lnTo>
                    <a:pt x="330" y="2378"/>
                  </a:lnTo>
                  <a:lnTo>
                    <a:pt x="328" y="2378"/>
                  </a:lnTo>
                  <a:lnTo>
                    <a:pt x="326" y="2380"/>
                  </a:lnTo>
                  <a:lnTo>
                    <a:pt x="325" y="2382"/>
                  </a:lnTo>
                  <a:lnTo>
                    <a:pt x="326" y="2380"/>
                  </a:lnTo>
                  <a:lnTo>
                    <a:pt x="328" y="2378"/>
                  </a:lnTo>
                  <a:lnTo>
                    <a:pt x="328" y="2376"/>
                  </a:lnTo>
                  <a:lnTo>
                    <a:pt x="326" y="2376"/>
                  </a:lnTo>
                  <a:lnTo>
                    <a:pt x="326" y="2378"/>
                  </a:lnTo>
                  <a:lnTo>
                    <a:pt x="325" y="2380"/>
                  </a:lnTo>
                  <a:lnTo>
                    <a:pt x="325" y="2382"/>
                  </a:lnTo>
                  <a:lnTo>
                    <a:pt x="325" y="2380"/>
                  </a:lnTo>
                  <a:lnTo>
                    <a:pt x="326" y="2378"/>
                  </a:lnTo>
                  <a:lnTo>
                    <a:pt x="326" y="2376"/>
                  </a:lnTo>
                  <a:lnTo>
                    <a:pt x="326" y="2378"/>
                  </a:lnTo>
                  <a:lnTo>
                    <a:pt x="323" y="2380"/>
                  </a:lnTo>
                  <a:lnTo>
                    <a:pt x="323" y="2378"/>
                  </a:lnTo>
                  <a:lnTo>
                    <a:pt x="326" y="2376"/>
                  </a:lnTo>
                  <a:lnTo>
                    <a:pt x="325" y="2376"/>
                  </a:lnTo>
                  <a:lnTo>
                    <a:pt x="325" y="2374"/>
                  </a:lnTo>
                  <a:lnTo>
                    <a:pt x="325" y="2373"/>
                  </a:lnTo>
                  <a:lnTo>
                    <a:pt x="325" y="2371"/>
                  </a:lnTo>
                  <a:lnTo>
                    <a:pt x="323" y="2371"/>
                  </a:lnTo>
                  <a:lnTo>
                    <a:pt x="321" y="2371"/>
                  </a:lnTo>
                  <a:lnTo>
                    <a:pt x="323" y="2371"/>
                  </a:lnTo>
                  <a:lnTo>
                    <a:pt x="325" y="2371"/>
                  </a:lnTo>
                  <a:lnTo>
                    <a:pt x="323" y="2371"/>
                  </a:lnTo>
                  <a:lnTo>
                    <a:pt x="319" y="2371"/>
                  </a:lnTo>
                  <a:lnTo>
                    <a:pt x="323" y="2371"/>
                  </a:lnTo>
                  <a:lnTo>
                    <a:pt x="323" y="2369"/>
                  </a:lnTo>
                  <a:lnTo>
                    <a:pt x="321" y="2367"/>
                  </a:lnTo>
                  <a:lnTo>
                    <a:pt x="321" y="2365"/>
                  </a:lnTo>
                  <a:lnTo>
                    <a:pt x="319" y="2365"/>
                  </a:lnTo>
                  <a:lnTo>
                    <a:pt x="317" y="2361"/>
                  </a:lnTo>
                  <a:lnTo>
                    <a:pt x="315" y="2359"/>
                  </a:lnTo>
                  <a:lnTo>
                    <a:pt x="309" y="2353"/>
                  </a:lnTo>
                  <a:lnTo>
                    <a:pt x="307" y="2351"/>
                  </a:lnTo>
                  <a:lnTo>
                    <a:pt x="301" y="2346"/>
                  </a:lnTo>
                  <a:lnTo>
                    <a:pt x="300" y="2346"/>
                  </a:lnTo>
                  <a:lnTo>
                    <a:pt x="300" y="2348"/>
                  </a:lnTo>
                  <a:lnTo>
                    <a:pt x="300" y="2346"/>
                  </a:lnTo>
                  <a:lnTo>
                    <a:pt x="298" y="2346"/>
                  </a:lnTo>
                  <a:lnTo>
                    <a:pt x="298" y="2348"/>
                  </a:lnTo>
                  <a:lnTo>
                    <a:pt x="298" y="2346"/>
                  </a:lnTo>
                  <a:lnTo>
                    <a:pt x="300" y="2346"/>
                  </a:lnTo>
                  <a:lnTo>
                    <a:pt x="298" y="2344"/>
                  </a:lnTo>
                  <a:lnTo>
                    <a:pt x="296" y="2344"/>
                  </a:lnTo>
                  <a:lnTo>
                    <a:pt x="294" y="2346"/>
                  </a:lnTo>
                  <a:lnTo>
                    <a:pt x="292" y="2346"/>
                  </a:lnTo>
                  <a:lnTo>
                    <a:pt x="294" y="2346"/>
                  </a:lnTo>
                  <a:lnTo>
                    <a:pt x="296" y="2344"/>
                  </a:lnTo>
                  <a:lnTo>
                    <a:pt x="296" y="2342"/>
                  </a:lnTo>
                  <a:lnTo>
                    <a:pt x="296" y="2340"/>
                  </a:lnTo>
                  <a:lnTo>
                    <a:pt x="298" y="2338"/>
                  </a:lnTo>
                  <a:lnTo>
                    <a:pt x="300" y="2338"/>
                  </a:lnTo>
                  <a:lnTo>
                    <a:pt x="301" y="2334"/>
                  </a:lnTo>
                  <a:lnTo>
                    <a:pt x="300" y="2334"/>
                  </a:lnTo>
                  <a:lnTo>
                    <a:pt x="301" y="2334"/>
                  </a:lnTo>
                  <a:lnTo>
                    <a:pt x="303" y="2332"/>
                  </a:lnTo>
                  <a:lnTo>
                    <a:pt x="301" y="2334"/>
                  </a:lnTo>
                  <a:lnTo>
                    <a:pt x="303" y="2332"/>
                  </a:lnTo>
                  <a:lnTo>
                    <a:pt x="305" y="2332"/>
                  </a:lnTo>
                  <a:lnTo>
                    <a:pt x="307" y="2334"/>
                  </a:lnTo>
                  <a:lnTo>
                    <a:pt x="317" y="2340"/>
                  </a:lnTo>
                  <a:lnTo>
                    <a:pt x="317" y="2342"/>
                  </a:lnTo>
                  <a:lnTo>
                    <a:pt x="319" y="2342"/>
                  </a:lnTo>
                  <a:lnTo>
                    <a:pt x="319" y="2344"/>
                  </a:lnTo>
                  <a:lnTo>
                    <a:pt x="321" y="2346"/>
                  </a:lnTo>
                  <a:lnTo>
                    <a:pt x="321" y="2348"/>
                  </a:lnTo>
                  <a:lnTo>
                    <a:pt x="315" y="2353"/>
                  </a:lnTo>
                  <a:lnTo>
                    <a:pt x="317" y="2355"/>
                  </a:lnTo>
                  <a:lnTo>
                    <a:pt x="319" y="2353"/>
                  </a:lnTo>
                  <a:lnTo>
                    <a:pt x="321" y="2351"/>
                  </a:lnTo>
                  <a:lnTo>
                    <a:pt x="323" y="2350"/>
                  </a:lnTo>
                  <a:lnTo>
                    <a:pt x="325" y="2350"/>
                  </a:lnTo>
                  <a:lnTo>
                    <a:pt x="326" y="2351"/>
                  </a:lnTo>
                  <a:lnTo>
                    <a:pt x="328" y="2353"/>
                  </a:lnTo>
                  <a:lnTo>
                    <a:pt x="330" y="2355"/>
                  </a:lnTo>
                  <a:lnTo>
                    <a:pt x="332" y="2353"/>
                  </a:lnTo>
                  <a:lnTo>
                    <a:pt x="330" y="2353"/>
                  </a:lnTo>
                  <a:lnTo>
                    <a:pt x="332" y="2353"/>
                  </a:lnTo>
                  <a:lnTo>
                    <a:pt x="330" y="2353"/>
                  </a:lnTo>
                  <a:lnTo>
                    <a:pt x="332" y="2353"/>
                  </a:lnTo>
                  <a:lnTo>
                    <a:pt x="332" y="2351"/>
                  </a:lnTo>
                  <a:lnTo>
                    <a:pt x="332" y="2353"/>
                  </a:lnTo>
                  <a:lnTo>
                    <a:pt x="334" y="2353"/>
                  </a:lnTo>
                  <a:lnTo>
                    <a:pt x="334" y="2351"/>
                  </a:lnTo>
                  <a:lnTo>
                    <a:pt x="332" y="2351"/>
                  </a:lnTo>
                  <a:lnTo>
                    <a:pt x="330" y="2350"/>
                  </a:lnTo>
                  <a:lnTo>
                    <a:pt x="326" y="2344"/>
                  </a:lnTo>
                  <a:lnTo>
                    <a:pt x="338" y="2338"/>
                  </a:lnTo>
                  <a:lnTo>
                    <a:pt x="340" y="2336"/>
                  </a:lnTo>
                  <a:lnTo>
                    <a:pt x="338" y="2334"/>
                  </a:lnTo>
                  <a:lnTo>
                    <a:pt x="332" y="2336"/>
                  </a:lnTo>
                  <a:lnTo>
                    <a:pt x="328" y="2338"/>
                  </a:lnTo>
                  <a:lnTo>
                    <a:pt x="326" y="2338"/>
                  </a:lnTo>
                  <a:lnTo>
                    <a:pt x="326" y="2340"/>
                  </a:lnTo>
                  <a:lnTo>
                    <a:pt x="326" y="2338"/>
                  </a:lnTo>
                  <a:lnTo>
                    <a:pt x="325" y="2340"/>
                  </a:lnTo>
                  <a:lnTo>
                    <a:pt x="323" y="2340"/>
                  </a:lnTo>
                  <a:lnTo>
                    <a:pt x="325" y="2340"/>
                  </a:lnTo>
                  <a:lnTo>
                    <a:pt x="325" y="2338"/>
                  </a:lnTo>
                  <a:lnTo>
                    <a:pt x="321" y="2340"/>
                  </a:lnTo>
                  <a:lnTo>
                    <a:pt x="315" y="2336"/>
                  </a:lnTo>
                  <a:lnTo>
                    <a:pt x="313" y="2334"/>
                  </a:lnTo>
                  <a:lnTo>
                    <a:pt x="311" y="2332"/>
                  </a:lnTo>
                  <a:lnTo>
                    <a:pt x="309" y="2330"/>
                  </a:lnTo>
                  <a:lnTo>
                    <a:pt x="311" y="2330"/>
                  </a:lnTo>
                  <a:lnTo>
                    <a:pt x="311" y="2328"/>
                  </a:lnTo>
                  <a:lnTo>
                    <a:pt x="313" y="2328"/>
                  </a:lnTo>
                  <a:lnTo>
                    <a:pt x="319" y="2326"/>
                  </a:lnTo>
                  <a:lnTo>
                    <a:pt x="319" y="2325"/>
                  </a:lnTo>
                  <a:lnTo>
                    <a:pt x="321" y="2325"/>
                  </a:lnTo>
                  <a:lnTo>
                    <a:pt x="325" y="2323"/>
                  </a:lnTo>
                  <a:lnTo>
                    <a:pt x="326" y="2323"/>
                  </a:lnTo>
                  <a:lnTo>
                    <a:pt x="326" y="2325"/>
                  </a:lnTo>
                  <a:lnTo>
                    <a:pt x="326" y="2323"/>
                  </a:lnTo>
                  <a:lnTo>
                    <a:pt x="328" y="2323"/>
                  </a:lnTo>
                  <a:lnTo>
                    <a:pt x="326" y="2325"/>
                  </a:lnTo>
                  <a:lnTo>
                    <a:pt x="328" y="2326"/>
                  </a:lnTo>
                  <a:lnTo>
                    <a:pt x="330" y="2326"/>
                  </a:lnTo>
                  <a:lnTo>
                    <a:pt x="330" y="2325"/>
                  </a:lnTo>
                  <a:lnTo>
                    <a:pt x="332" y="2325"/>
                  </a:lnTo>
                  <a:lnTo>
                    <a:pt x="330" y="2323"/>
                  </a:lnTo>
                  <a:lnTo>
                    <a:pt x="330" y="2321"/>
                  </a:lnTo>
                  <a:lnTo>
                    <a:pt x="332" y="2319"/>
                  </a:lnTo>
                  <a:lnTo>
                    <a:pt x="332" y="2317"/>
                  </a:lnTo>
                  <a:lnTo>
                    <a:pt x="334" y="2315"/>
                  </a:lnTo>
                  <a:lnTo>
                    <a:pt x="336" y="2313"/>
                  </a:lnTo>
                  <a:lnTo>
                    <a:pt x="336" y="2311"/>
                  </a:lnTo>
                  <a:lnTo>
                    <a:pt x="334" y="2309"/>
                  </a:lnTo>
                  <a:lnTo>
                    <a:pt x="334" y="2311"/>
                  </a:lnTo>
                  <a:lnTo>
                    <a:pt x="332" y="2313"/>
                  </a:lnTo>
                  <a:lnTo>
                    <a:pt x="330" y="2315"/>
                  </a:lnTo>
                  <a:lnTo>
                    <a:pt x="328" y="2315"/>
                  </a:lnTo>
                  <a:lnTo>
                    <a:pt x="328" y="2313"/>
                  </a:lnTo>
                  <a:lnTo>
                    <a:pt x="326" y="2313"/>
                  </a:lnTo>
                  <a:lnTo>
                    <a:pt x="325" y="2309"/>
                  </a:lnTo>
                  <a:lnTo>
                    <a:pt x="323" y="2305"/>
                  </a:lnTo>
                  <a:lnTo>
                    <a:pt x="321" y="2305"/>
                  </a:lnTo>
                  <a:lnTo>
                    <a:pt x="319" y="2305"/>
                  </a:lnTo>
                  <a:lnTo>
                    <a:pt x="321" y="2309"/>
                  </a:lnTo>
                  <a:lnTo>
                    <a:pt x="323" y="2315"/>
                  </a:lnTo>
                  <a:lnTo>
                    <a:pt x="323" y="2317"/>
                  </a:lnTo>
                  <a:lnTo>
                    <a:pt x="321" y="2319"/>
                  </a:lnTo>
                  <a:lnTo>
                    <a:pt x="321" y="2317"/>
                  </a:lnTo>
                  <a:lnTo>
                    <a:pt x="321" y="2319"/>
                  </a:lnTo>
                  <a:lnTo>
                    <a:pt x="317" y="2321"/>
                  </a:lnTo>
                  <a:lnTo>
                    <a:pt x="317" y="2323"/>
                  </a:lnTo>
                  <a:lnTo>
                    <a:pt x="317" y="2321"/>
                  </a:lnTo>
                  <a:lnTo>
                    <a:pt x="317" y="2323"/>
                  </a:lnTo>
                  <a:lnTo>
                    <a:pt x="317" y="2321"/>
                  </a:lnTo>
                  <a:lnTo>
                    <a:pt x="315" y="2323"/>
                  </a:lnTo>
                  <a:lnTo>
                    <a:pt x="315" y="2321"/>
                  </a:lnTo>
                  <a:lnTo>
                    <a:pt x="315" y="2323"/>
                  </a:lnTo>
                  <a:lnTo>
                    <a:pt x="303" y="2326"/>
                  </a:lnTo>
                  <a:lnTo>
                    <a:pt x="303" y="2325"/>
                  </a:lnTo>
                  <a:lnTo>
                    <a:pt x="301" y="2325"/>
                  </a:lnTo>
                  <a:lnTo>
                    <a:pt x="300" y="2325"/>
                  </a:lnTo>
                  <a:lnTo>
                    <a:pt x="301" y="2325"/>
                  </a:lnTo>
                  <a:lnTo>
                    <a:pt x="300" y="2325"/>
                  </a:lnTo>
                  <a:lnTo>
                    <a:pt x="300" y="2326"/>
                  </a:lnTo>
                  <a:lnTo>
                    <a:pt x="298" y="2326"/>
                  </a:lnTo>
                  <a:lnTo>
                    <a:pt x="298" y="2328"/>
                  </a:lnTo>
                  <a:lnTo>
                    <a:pt x="296" y="2325"/>
                  </a:lnTo>
                  <a:lnTo>
                    <a:pt x="294" y="2325"/>
                  </a:lnTo>
                  <a:lnTo>
                    <a:pt x="296" y="2328"/>
                  </a:lnTo>
                  <a:lnTo>
                    <a:pt x="294" y="2326"/>
                  </a:lnTo>
                  <a:lnTo>
                    <a:pt x="294" y="2325"/>
                  </a:lnTo>
                  <a:lnTo>
                    <a:pt x="292" y="2326"/>
                  </a:lnTo>
                  <a:lnTo>
                    <a:pt x="294" y="2330"/>
                  </a:lnTo>
                  <a:lnTo>
                    <a:pt x="294" y="2328"/>
                  </a:lnTo>
                  <a:lnTo>
                    <a:pt x="294" y="2330"/>
                  </a:lnTo>
                  <a:lnTo>
                    <a:pt x="294" y="2332"/>
                  </a:lnTo>
                  <a:lnTo>
                    <a:pt x="294" y="2328"/>
                  </a:lnTo>
                  <a:lnTo>
                    <a:pt x="292" y="2328"/>
                  </a:lnTo>
                  <a:lnTo>
                    <a:pt x="294" y="2330"/>
                  </a:lnTo>
                  <a:lnTo>
                    <a:pt x="292" y="2332"/>
                  </a:lnTo>
                  <a:lnTo>
                    <a:pt x="292" y="2328"/>
                  </a:lnTo>
                  <a:lnTo>
                    <a:pt x="290" y="2328"/>
                  </a:lnTo>
                  <a:lnTo>
                    <a:pt x="284" y="2330"/>
                  </a:lnTo>
                  <a:lnTo>
                    <a:pt x="286" y="2332"/>
                  </a:lnTo>
                  <a:lnTo>
                    <a:pt x="284" y="2332"/>
                  </a:lnTo>
                  <a:lnTo>
                    <a:pt x="284" y="2328"/>
                  </a:lnTo>
                  <a:lnTo>
                    <a:pt x="282" y="2328"/>
                  </a:lnTo>
                  <a:lnTo>
                    <a:pt x="280" y="2328"/>
                  </a:lnTo>
                  <a:lnTo>
                    <a:pt x="280" y="2330"/>
                  </a:lnTo>
                  <a:lnTo>
                    <a:pt x="278" y="2330"/>
                  </a:lnTo>
                  <a:lnTo>
                    <a:pt x="278" y="2332"/>
                  </a:lnTo>
                  <a:lnTo>
                    <a:pt x="277" y="2332"/>
                  </a:lnTo>
                  <a:lnTo>
                    <a:pt x="277" y="2334"/>
                  </a:lnTo>
                  <a:lnTo>
                    <a:pt x="278" y="2336"/>
                  </a:lnTo>
                  <a:lnTo>
                    <a:pt x="280" y="2336"/>
                  </a:lnTo>
                  <a:lnTo>
                    <a:pt x="282" y="2338"/>
                  </a:lnTo>
                  <a:lnTo>
                    <a:pt x="284" y="2338"/>
                  </a:lnTo>
                  <a:lnTo>
                    <a:pt x="284" y="2340"/>
                  </a:lnTo>
                  <a:lnTo>
                    <a:pt x="286" y="2340"/>
                  </a:lnTo>
                  <a:lnTo>
                    <a:pt x="286" y="2342"/>
                  </a:lnTo>
                  <a:lnTo>
                    <a:pt x="288" y="2344"/>
                  </a:lnTo>
                  <a:lnTo>
                    <a:pt x="286" y="2344"/>
                  </a:lnTo>
                  <a:lnTo>
                    <a:pt x="286" y="2342"/>
                  </a:lnTo>
                  <a:lnTo>
                    <a:pt x="284" y="2340"/>
                  </a:lnTo>
                  <a:lnTo>
                    <a:pt x="282" y="2340"/>
                  </a:lnTo>
                  <a:lnTo>
                    <a:pt x="280" y="2338"/>
                  </a:lnTo>
                  <a:lnTo>
                    <a:pt x="278" y="2338"/>
                  </a:lnTo>
                  <a:lnTo>
                    <a:pt x="277" y="2338"/>
                  </a:lnTo>
                  <a:lnTo>
                    <a:pt x="273" y="2340"/>
                  </a:lnTo>
                  <a:lnTo>
                    <a:pt x="271" y="2340"/>
                  </a:lnTo>
                  <a:lnTo>
                    <a:pt x="269" y="2340"/>
                  </a:lnTo>
                  <a:lnTo>
                    <a:pt x="267" y="2340"/>
                  </a:lnTo>
                  <a:lnTo>
                    <a:pt x="265" y="2342"/>
                  </a:lnTo>
                  <a:lnTo>
                    <a:pt x="263" y="2342"/>
                  </a:lnTo>
                  <a:lnTo>
                    <a:pt x="263" y="2346"/>
                  </a:lnTo>
                  <a:lnTo>
                    <a:pt x="263" y="2348"/>
                  </a:lnTo>
                  <a:lnTo>
                    <a:pt x="261" y="2348"/>
                  </a:lnTo>
                  <a:lnTo>
                    <a:pt x="255" y="2350"/>
                  </a:lnTo>
                  <a:lnTo>
                    <a:pt x="253" y="2350"/>
                  </a:lnTo>
                  <a:lnTo>
                    <a:pt x="252" y="2350"/>
                  </a:lnTo>
                  <a:lnTo>
                    <a:pt x="250" y="2350"/>
                  </a:lnTo>
                  <a:lnTo>
                    <a:pt x="252" y="2350"/>
                  </a:lnTo>
                  <a:lnTo>
                    <a:pt x="250" y="2350"/>
                  </a:lnTo>
                  <a:lnTo>
                    <a:pt x="248" y="2350"/>
                  </a:lnTo>
                  <a:lnTo>
                    <a:pt x="246" y="2350"/>
                  </a:lnTo>
                  <a:lnTo>
                    <a:pt x="244" y="2350"/>
                  </a:lnTo>
                  <a:lnTo>
                    <a:pt x="242" y="2350"/>
                  </a:lnTo>
                  <a:lnTo>
                    <a:pt x="240" y="2350"/>
                  </a:lnTo>
                  <a:lnTo>
                    <a:pt x="234" y="2350"/>
                  </a:lnTo>
                  <a:lnTo>
                    <a:pt x="230" y="2348"/>
                  </a:lnTo>
                  <a:lnTo>
                    <a:pt x="230" y="2346"/>
                  </a:lnTo>
                  <a:lnTo>
                    <a:pt x="229" y="2346"/>
                  </a:lnTo>
                  <a:lnTo>
                    <a:pt x="229" y="2342"/>
                  </a:lnTo>
                  <a:lnTo>
                    <a:pt x="229" y="2336"/>
                  </a:lnTo>
                  <a:lnTo>
                    <a:pt x="229" y="2334"/>
                  </a:lnTo>
                  <a:lnTo>
                    <a:pt x="227" y="2334"/>
                  </a:lnTo>
                  <a:lnTo>
                    <a:pt x="229" y="2334"/>
                  </a:lnTo>
                  <a:lnTo>
                    <a:pt x="227" y="2334"/>
                  </a:lnTo>
                  <a:lnTo>
                    <a:pt x="227" y="2332"/>
                  </a:lnTo>
                  <a:lnTo>
                    <a:pt x="225" y="2334"/>
                  </a:lnTo>
                  <a:lnTo>
                    <a:pt x="225" y="2336"/>
                  </a:lnTo>
                  <a:lnTo>
                    <a:pt x="225" y="2338"/>
                  </a:lnTo>
                  <a:lnTo>
                    <a:pt x="225" y="2342"/>
                  </a:lnTo>
                  <a:lnTo>
                    <a:pt x="225" y="2344"/>
                  </a:lnTo>
                  <a:lnTo>
                    <a:pt x="227" y="2346"/>
                  </a:lnTo>
                  <a:lnTo>
                    <a:pt x="225" y="2344"/>
                  </a:lnTo>
                  <a:lnTo>
                    <a:pt x="225" y="2346"/>
                  </a:lnTo>
                  <a:lnTo>
                    <a:pt x="223" y="2346"/>
                  </a:lnTo>
                  <a:lnTo>
                    <a:pt x="225" y="2346"/>
                  </a:lnTo>
                  <a:lnTo>
                    <a:pt x="225" y="2348"/>
                  </a:lnTo>
                  <a:lnTo>
                    <a:pt x="227" y="2348"/>
                  </a:lnTo>
                  <a:lnTo>
                    <a:pt x="227" y="2350"/>
                  </a:lnTo>
                  <a:lnTo>
                    <a:pt x="229" y="2350"/>
                  </a:lnTo>
                  <a:lnTo>
                    <a:pt x="227" y="2350"/>
                  </a:lnTo>
                  <a:lnTo>
                    <a:pt x="225" y="2350"/>
                  </a:lnTo>
                  <a:lnTo>
                    <a:pt x="225" y="2348"/>
                  </a:lnTo>
                  <a:lnTo>
                    <a:pt x="223" y="2348"/>
                  </a:lnTo>
                  <a:lnTo>
                    <a:pt x="223" y="2350"/>
                  </a:lnTo>
                  <a:lnTo>
                    <a:pt x="221" y="2350"/>
                  </a:lnTo>
                  <a:lnTo>
                    <a:pt x="221" y="2348"/>
                  </a:lnTo>
                  <a:lnTo>
                    <a:pt x="219" y="2348"/>
                  </a:lnTo>
                  <a:lnTo>
                    <a:pt x="217" y="2348"/>
                  </a:lnTo>
                  <a:lnTo>
                    <a:pt x="213" y="2348"/>
                  </a:lnTo>
                  <a:lnTo>
                    <a:pt x="213" y="2350"/>
                  </a:lnTo>
                  <a:lnTo>
                    <a:pt x="213" y="2348"/>
                  </a:lnTo>
                  <a:lnTo>
                    <a:pt x="211" y="2348"/>
                  </a:lnTo>
                  <a:lnTo>
                    <a:pt x="211" y="2350"/>
                  </a:lnTo>
                  <a:lnTo>
                    <a:pt x="209" y="2348"/>
                  </a:lnTo>
                  <a:lnTo>
                    <a:pt x="211" y="2348"/>
                  </a:lnTo>
                  <a:lnTo>
                    <a:pt x="209" y="2348"/>
                  </a:lnTo>
                  <a:lnTo>
                    <a:pt x="207" y="2348"/>
                  </a:lnTo>
                  <a:lnTo>
                    <a:pt x="206" y="2348"/>
                  </a:lnTo>
                  <a:lnTo>
                    <a:pt x="207" y="2350"/>
                  </a:lnTo>
                  <a:lnTo>
                    <a:pt x="207" y="2348"/>
                  </a:lnTo>
                  <a:lnTo>
                    <a:pt x="206" y="2348"/>
                  </a:lnTo>
                  <a:lnTo>
                    <a:pt x="207" y="2346"/>
                  </a:lnTo>
                  <a:lnTo>
                    <a:pt x="206" y="2346"/>
                  </a:lnTo>
                  <a:lnTo>
                    <a:pt x="206" y="2348"/>
                  </a:lnTo>
                  <a:lnTo>
                    <a:pt x="206" y="2346"/>
                  </a:lnTo>
                  <a:lnTo>
                    <a:pt x="206" y="2348"/>
                  </a:lnTo>
                  <a:lnTo>
                    <a:pt x="206" y="2350"/>
                  </a:lnTo>
                  <a:lnTo>
                    <a:pt x="204" y="2348"/>
                  </a:lnTo>
                  <a:lnTo>
                    <a:pt x="202" y="2348"/>
                  </a:lnTo>
                  <a:lnTo>
                    <a:pt x="200" y="2348"/>
                  </a:lnTo>
                  <a:lnTo>
                    <a:pt x="200" y="2346"/>
                  </a:lnTo>
                  <a:lnTo>
                    <a:pt x="200" y="2344"/>
                  </a:lnTo>
                  <a:lnTo>
                    <a:pt x="200" y="2342"/>
                  </a:lnTo>
                  <a:lnTo>
                    <a:pt x="196" y="2338"/>
                  </a:lnTo>
                  <a:lnTo>
                    <a:pt x="196" y="2340"/>
                  </a:lnTo>
                  <a:lnTo>
                    <a:pt x="196" y="2338"/>
                  </a:lnTo>
                  <a:lnTo>
                    <a:pt x="194" y="2338"/>
                  </a:lnTo>
                  <a:lnTo>
                    <a:pt x="194" y="2336"/>
                  </a:lnTo>
                  <a:lnTo>
                    <a:pt x="194" y="2338"/>
                  </a:lnTo>
                  <a:lnTo>
                    <a:pt x="194" y="2336"/>
                  </a:lnTo>
                  <a:lnTo>
                    <a:pt x="194" y="2334"/>
                  </a:lnTo>
                  <a:lnTo>
                    <a:pt x="192" y="2336"/>
                  </a:lnTo>
                  <a:lnTo>
                    <a:pt x="194" y="2334"/>
                  </a:lnTo>
                  <a:lnTo>
                    <a:pt x="192" y="2334"/>
                  </a:lnTo>
                  <a:lnTo>
                    <a:pt x="190" y="2334"/>
                  </a:lnTo>
                  <a:lnTo>
                    <a:pt x="192" y="2334"/>
                  </a:lnTo>
                  <a:lnTo>
                    <a:pt x="190" y="2332"/>
                  </a:lnTo>
                  <a:lnTo>
                    <a:pt x="190" y="2334"/>
                  </a:lnTo>
                  <a:lnTo>
                    <a:pt x="190" y="2332"/>
                  </a:lnTo>
                  <a:lnTo>
                    <a:pt x="188" y="2332"/>
                  </a:lnTo>
                  <a:lnTo>
                    <a:pt x="186" y="2334"/>
                  </a:lnTo>
                  <a:lnTo>
                    <a:pt x="188" y="2334"/>
                  </a:lnTo>
                  <a:lnTo>
                    <a:pt x="186" y="2334"/>
                  </a:lnTo>
                  <a:lnTo>
                    <a:pt x="186" y="2332"/>
                  </a:lnTo>
                  <a:lnTo>
                    <a:pt x="184" y="2332"/>
                  </a:lnTo>
                  <a:lnTo>
                    <a:pt x="186" y="2332"/>
                  </a:lnTo>
                  <a:lnTo>
                    <a:pt x="184" y="2330"/>
                  </a:lnTo>
                  <a:lnTo>
                    <a:pt x="184" y="2328"/>
                  </a:lnTo>
                  <a:lnTo>
                    <a:pt x="182" y="2328"/>
                  </a:lnTo>
                  <a:lnTo>
                    <a:pt x="182" y="2330"/>
                  </a:lnTo>
                  <a:lnTo>
                    <a:pt x="182" y="2328"/>
                  </a:lnTo>
                  <a:lnTo>
                    <a:pt x="181" y="2328"/>
                  </a:lnTo>
                  <a:lnTo>
                    <a:pt x="181" y="2326"/>
                  </a:lnTo>
                  <a:lnTo>
                    <a:pt x="181" y="2325"/>
                  </a:lnTo>
                  <a:lnTo>
                    <a:pt x="179" y="2325"/>
                  </a:lnTo>
                  <a:lnTo>
                    <a:pt x="177" y="2323"/>
                  </a:lnTo>
                  <a:lnTo>
                    <a:pt x="175" y="2323"/>
                  </a:lnTo>
                  <a:lnTo>
                    <a:pt x="175" y="2321"/>
                  </a:lnTo>
                  <a:lnTo>
                    <a:pt x="173" y="2319"/>
                  </a:lnTo>
                  <a:lnTo>
                    <a:pt x="171" y="2319"/>
                  </a:lnTo>
                  <a:lnTo>
                    <a:pt x="171" y="2317"/>
                  </a:lnTo>
                  <a:lnTo>
                    <a:pt x="169" y="2317"/>
                  </a:lnTo>
                  <a:lnTo>
                    <a:pt x="169" y="2315"/>
                  </a:lnTo>
                  <a:lnTo>
                    <a:pt x="167" y="2313"/>
                  </a:lnTo>
                  <a:lnTo>
                    <a:pt x="165" y="2311"/>
                  </a:lnTo>
                  <a:lnTo>
                    <a:pt x="165" y="2309"/>
                  </a:lnTo>
                  <a:lnTo>
                    <a:pt x="163" y="2309"/>
                  </a:lnTo>
                  <a:lnTo>
                    <a:pt x="163" y="2307"/>
                  </a:lnTo>
                  <a:lnTo>
                    <a:pt x="163" y="2305"/>
                  </a:lnTo>
                  <a:lnTo>
                    <a:pt x="161" y="2303"/>
                  </a:lnTo>
                  <a:lnTo>
                    <a:pt x="161" y="2301"/>
                  </a:lnTo>
                  <a:lnTo>
                    <a:pt x="159" y="2300"/>
                  </a:lnTo>
                  <a:lnTo>
                    <a:pt x="159" y="2298"/>
                  </a:lnTo>
                  <a:lnTo>
                    <a:pt x="158" y="2298"/>
                  </a:lnTo>
                  <a:lnTo>
                    <a:pt x="158" y="2296"/>
                  </a:lnTo>
                  <a:lnTo>
                    <a:pt x="156" y="2292"/>
                  </a:lnTo>
                  <a:lnTo>
                    <a:pt x="156" y="2288"/>
                  </a:lnTo>
                  <a:lnTo>
                    <a:pt x="154" y="2284"/>
                  </a:lnTo>
                  <a:lnTo>
                    <a:pt x="152" y="2282"/>
                  </a:lnTo>
                  <a:lnTo>
                    <a:pt x="152" y="2280"/>
                  </a:lnTo>
                  <a:lnTo>
                    <a:pt x="148" y="2275"/>
                  </a:lnTo>
                  <a:lnTo>
                    <a:pt x="148" y="2273"/>
                  </a:lnTo>
                  <a:lnTo>
                    <a:pt x="146" y="2271"/>
                  </a:lnTo>
                  <a:lnTo>
                    <a:pt x="144" y="2269"/>
                  </a:lnTo>
                  <a:lnTo>
                    <a:pt x="144" y="2267"/>
                  </a:lnTo>
                  <a:lnTo>
                    <a:pt x="144" y="2265"/>
                  </a:lnTo>
                  <a:lnTo>
                    <a:pt x="142" y="2265"/>
                  </a:lnTo>
                  <a:lnTo>
                    <a:pt x="142" y="2263"/>
                  </a:lnTo>
                  <a:lnTo>
                    <a:pt x="142" y="2265"/>
                  </a:lnTo>
                  <a:lnTo>
                    <a:pt x="140" y="2263"/>
                  </a:lnTo>
                  <a:lnTo>
                    <a:pt x="138" y="2261"/>
                  </a:lnTo>
                  <a:lnTo>
                    <a:pt x="136" y="2259"/>
                  </a:lnTo>
                  <a:lnTo>
                    <a:pt x="134" y="2259"/>
                  </a:lnTo>
                  <a:lnTo>
                    <a:pt x="133" y="2257"/>
                  </a:lnTo>
                  <a:lnTo>
                    <a:pt x="131" y="2255"/>
                  </a:lnTo>
                  <a:lnTo>
                    <a:pt x="129" y="2253"/>
                  </a:lnTo>
                  <a:lnTo>
                    <a:pt x="127" y="2253"/>
                  </a:lnTo>
                  <a:lnTo>
                    <a:pt x="127" y="2252"/>
                  </a:lnTo>
                  <a:lnTo>
                    <a:pt x="125" y="2252"/>
                  </a:lnTo>
                  <a:lnTo>
                    <a:pt x="125" y="2250"/>
                  </a:lnTo>
                  <a:lnTo>
                    <a:pt x="123" y="2250"/>
                  </a:lnTo>
                  <a:lnTo>
                    <a:pt x="121" y="2248"/>
                  </a:lnTo>
                  <a:lnTo>
                    <a:pt x="119" y="2248"/>
                  </a:lnTo>
                  <a:lnTo>
                    <a:pt x="119" y="2246"/>
                  </a:lnTo>
                  <a:lnTo>
                    <a:pt x="117" y="2246"/>
                  </a:lnTo>
                  <a:lnTo>
                    <a:pt x="117" y="2244"/>
                  </a:lnTo>
                  <a:lnTo>
                    <a:pt x="115" y="2244"/>
                  </a:lnTo>
                  <a:lnTo>
                    <a:pt x="115" y="2242"/>
                  </a:lnTo>
                  <a:lnTo>
                    <a:pt x="113" y="2242"/>
                  </a:lnTo>
                  <a:lnTo>
                    <a:pt x="113" y="2240"/>
                  </a:lnTo>
                  <a:lnTo>
                    <a:pt x="111" y="2240"/>
                  </a:lnTo>
                  <a:lnTo>
                    <a:pt x="111" y="2238"/>
                  </a:lnTo>
                  <a:lnTo>
                    <a:pt x="110" y="2238"/>
                  </a:lnTo>
                  <a:lnTo>
                    <a:pt x="110" y="2236"/>
                  </a:lnTo>
                  <a:lnTo>
                    <a:pt x="108" y="2236"/>
                  </a:lnTo>
                  <a:lnTo>
                    <a:pt x="108" y="2234"/>
                  </a:lnTo>
                  <a:lnTo>
                    <a:pt x="106" y="2232"/>
                  </a:lnTo>
                  <a:lnTo>
                    <a:pt x="106" y="2230"/>
                  </a:lnTo>
                  <a:lnTo>
                    <a:pt x="104" y="2228"/>
                  </a:lnTo>
                  <a:lnTo>
                    <a:pt x="104" y="2227"/>
                  </a:lnTo>
                  <a:lnTo>
                    <a:pt x="102" y="2227"/>
                  </a:lnTo>
                  <a:lnTo>
                    <a:pt x="102" y="2225"/>
                  </a:lnTo>
                  <a:lnTo>
                    <a:pt x="100" y="2225"/>
                  </a:lnTo>
                  <a:lnTo>
                    <a:pt x="100" y="2223"/>
                  </a:lnTo>
                  <a:lnTo>
                    <a:pt x="98" y="2223"/>
                  </a:lnTo>
                  <a:lnTo>
                    <a:pt x="98" y="2221"/>
                  </a:lnTo>
                  <a:lnTo>
                    <a:pt x="96" y="2219"/>
                  </a:lnTo>
                  <a:lnTo>
                    <a:pt x="96" y="2217"/>
                  </a:lnTo>
                  <a:lnTo>
                    <a:pt x="94" y="2217"/>
                  </a:lnTo>
                  <a:lnTo>
                    <a:pt x="96" y="2217"/>
                  </a:lnTo>
                  <a:lnTo>
                    <a:pt x="94" y="2217"/>
                  </a:lnTo>
                  <a:lnTo>
                    <a:pt x="92" y="2215"/>
                  </a:lnTo>
                  <a:lnTo>
                    <a:pt x="92" y="2213"/>
                  </a:lnTo>
                  <a:lnTo>
                    <a:pt x="94" y="2211"/>
                  </a:lnTo>
                  <a:lnTo>
                    <a:pt x="94" y="2209"/>
                  </a:lnTo>
                  <a:lnTo>
                    <a:pt x="94" y="2205"/>
                  </a:lnTo>
                  <a:lnTo>
                    <a:pt x="96" y="2204"/>
                  </a:lnTo>
                  <a:lnTo>
                    <a:pt x="96" y="2198"/>
                  </a:lnTo>
                  <a:lnTo>
                    <a:pt x="98" y="2196"/>
                  </a:lnTo>
                  <a:lnTo>
                    <a:pt x="100" y="2194"/>
                  </a:lnTo>
                  <a:lnTo>
                    <a:pt x="102" y="2192"/>
                  </a:lnTo>
                  <a:lnTo>
                    <a:pt x="106" y="2190"/>
                  </a:lnTo>
                  <a:lnTo>
                    <a:pt x="110" y="2188"/>
                  </a:lnTo>
                  <a:lnTo>
                    <a:pt x="113" y="2186"/>
                  </a:lnTo>
                  <a:lnTo>
                    <a:pt x="119" y="2184"/>
                  </a:lnTo>
                  <a:lnTo>
                    <a:pt x="121" y="2184"/>
                  </a:lnTo>
                  <a:lnTo>
                    <a:pt x="121" y="2182"/>
                  </a:lnTo>
                  <a:lnTo>
                    <a:pt x="123" y="2182"/>
                  </a:lnTo>
                  <a:lnTo>
                    <a:pt x="127" y="2180"/>
                  </a:lnTo>
                  <a:lnTo>
                    <a:pt x="129" y="2179"/>
                  </a:lnTo>
                  <a:lnTo>
                    <a:pt x="131" y="2179"/>
                  </a:lnTo>
                  <a:lnTo>
                    <a:pt x="133" y="2177"/>
                  </a:lnTo>
                  <a:lnTo>
                    <a:pt x="136" y="2175"/>
                  </a:lnTo>
                  <a:lnTo>
                    <a:pt x="138" y="2173"/>
                  </a:lnTo>
                  <a:lnTo>
                    <a:pt x="140" y="2173"/>
                  </a:lnTo>
                  <a:lnTo>
                    <a:pt x="142" y="2171"/>
                  </a:lnTo>
                  <a:lnTo>
                    <a:pt x="144" y="2169"/>
                  </a:lnTo>
                  <a:lnTo>
                    <a:pt x="146" y="2169"/>
                  </a:lnTo>
                  <a:lnTo>
                    <a:pt x="148" y="2169"/>
                  </a:lnTo>
                  <a:lnTo>
                    <a:pt x="148" y="2167"/>
                  </a:lnTo>
                  <a:lnTo>
                    <a:pt x="150" y="2167"/>
                  </a:lnTo>
                  <a:lnTo>
                    <a:pt x="150" y="2165"/>
                  </a:lnTo>
                  <a:lnTo>
                    <a:pt x="152" y="2165"/>
                  </a:lnTo>
                  <a:lnTo>
                    <a:pt x="154" y="2163"/>
                  </a:lnTo>
                  <a:lnTo>
                    <a:pt x="156" y="2163"/>
                  </a:lnTo>
                  <a:lnTo>
                    <a:pt x="158" y="2163"/>
                  </a:lnTo>
                  <a:lnTo>
                    <a:pt x="159" y="2161"/>
                  </a:lnTo>
                  <a:lnTo>
                    <a:pt x="163" y="2161"/>
                  </a:lnTo>
                  <a:lnTo>
                    <a:pt x="167" y="2157"/>
                  </a:lnTo>
                  <a:lnTo>
                    <a:pt x="169" y="2157"/>
                  </a:lnTo>
                  <a:lnTo>
                    <a:pt x="171" y="2156"/>
                  </a:lnTo>
                  <a:lnTo>
                    <a:pt x="173" y="2156"/>
                  </a:lnTo>
                  <a:lnTo>
                    <a:pt x="175" y="2156"/>
                  </a:lnTo>
                  <a:lnTo>
                    <a:pt x="175" y="2154"/>
                  </a:lnTo>
                  <a:lnTo>
                    <a:pt x="177" y="2154"/>
                  </a:lnTo>
                  <a:lnTo>
                    <a:pt x="179" y="2154"/>
                  </a:lnTo>
                  <a:lnTo>
                    <a:pt x="179" y="2152"/>
                  </a:lnTo>
                  <a:lnTo>
                    <a:pt x="181" y="2152"/>
                  </a:lnTo>
                  <a:lnTo>
                    <a:pt x="182" y="2152"/>
                  </a:lnTo>
                  <a:lnTo>
                    <a:pt x="188" y="2148"/>
                  </a:lnTo>
                  <a:lnTo>
                    <a:pt x="190" y="2148"/>
                  </a:lnTo>
                  <a:lnTo>
                    <a:pt x="192" y="2146"/>
                  </a:lnTo>
                  <a:lnTo>
                    <a:pt x="194" y="2144"/>
                  </a:lnTo>
                  <a:lnTo>
                    <a:pt x="198" y="2142"/>
                  </a:lnTo>
                  <a:lnTo>
                    <a:pt x="200" y="2140"/>
                  </a:lnTo>
                  <a:lnTo>
                    <a:pt x="202" y="2140"/>
                  </a:lnTo>
                  <a:lnTo>
                    <a:pt x="204" y="2138"/>
                  </a:lnTo>
                  <a:lnTo>
                    <a:pt x="206" y="2138"/>
                  </a:lnTo>
                  <a:lnTo>
                    <a:pt x="207" y="2138"/>
                  </a:lnTo>
                  <a:lnTo>
                    <a:pt x="211" y="2136"/>
                  </a:lnTo>
                  <a:lnTo>
                    <a:pt x="215" y="2136"/>
                  </a:lnTo>
                  <a:lnTo>
                    <a:pt x="225" y="2134"/>
                  </a:lnTo>
                  <a:lnTo>
                    <a:pt x="227" y="2132"/>
                  </a:lnTo>
                  <a:lnTo>
                    <a:pt x="230" y="2132"/>
                  </a:lnTo>
                  <a:lnTo>
                    <a:pt x="232" y="2132"/>
                  </a:lnTo>
                  <a:lnTo>
                    <a:pt x="236" y="2134"/>
                  </a:lnTo>
                  <a:lnTo>
                    <a:pt x="240" y="2134"/>
                  </a:lnTo>
                  <a:lnTo>
                    <a:pt x="242" y="2134"/>
                  </a:lnTo>
                  <a:lnTo>
                    <a:pt x="248" y="2136"/>
                  </a:lnTo>
                  <a:lnTo>
                    <a:pt x="250" y="2136"/>
                  </a:lnTo>
                  <a:lnTo>
                    <a:pt x="252" y="2136"/>
                  </a:lnTo>
                  <a:lnTo>
                    <a:pt x="253" y="2136"/>
                  </a:lnTo>
                  <a:lnTo>
                    <a:pt x="255" y="2138"/>
                  </a:lnTo>
                  <a:lnTo>
                    <a:pt x="257" y="2138"/>
                  </a:lnTo>
                  <a:lnTo>
                    <a:pt x="259" y="2140"/>
                  </a:lnTo>
                  <a:lnTo>
                    <a:pt x="261" y="2142"/>
                  </a:lnTo>
                  <a:lnTo>
                    <a:pt x="263" y="2142"/>
                  </a:lnTo>
                  <a:lnTo>
                    <a:pt x="265" y="2144"/>
                  </a:lnTo>
                  <a:lnTo>
                    <a:pt x="269" y="2144"/>
                  </a:lnTo>
                  <a:lnTo>
                    <a:pt x="271" y="2144"/>
                  </a:lnTo>
                  <a:lnTo>
                    <a:pt x="275" y="2144"/>
                  </a:lnTo>
                  <a:lnTo>
                    <a:pt x="278" y="2144"/>
                  </a:lnTo>
                  <a:lnTo>
                    <a:pt x="286" y="2142"/>
                  </a:lnTo>
                  <a:lnTo>
                    <a:pt x="288" y="2142"/>
                  </a:lnTo>
                  <a:lnTo>
                    <a:pt x="292" y="2140"/>
                  </a:lnTo>
                  <a:lnTo>
                    <a:pt x="303" y="2138"/>
                  </a:lnTo>
                  <a:lnTo>
                    <a:pt x="305" y="2138"/>
                  </a:lnTo>
                  <a:lnTo>
                    <a:pt x="307" y="2138"/>
                  </a:lnTo>
                  <a:lnTo>
                    <a:pt x="307" y="2136"/>
                  </a:lnTo>
                  <a:lnTo>
                    <a:pt x="309" y="2136"/>
                  </a:lnTo>
                  <a:lnTo>
                    <a:pt x="311" y="2134"/>
                  </a:lnTo>
                  <a:lnTo>
                    <a:pt x="313" y="2134"/>
                  </a:lnTo>
                  <a:lnTo>
                    <a:pt x="315" y="2134"/>
                  </a:lnTo>
                  <a:lnTo>
                    <a:pt x="317" y="2132"/>
                  </a:lnTo>
                  <a:lnTo>
                    <a:pt x="317" y="2131"/>
                  </a:lnTo>
                  <a:lnTo>
                    <a:pt x="319" y="2131"/>
                  </a:lnTo>
                  <a:lnTo>
                    <a:pt x="321" y="2113"/>
                  </a:lnTo>
                  <a:lnTo>
                    <a:pt x="321" y="2111"/>
                  </a:lnTo>
                  <a:lnTo>
                    <a:pt x="321" y="2109"/>
                  </a:lnTo>
                  <a:lnTo>
                    <a:pt x="319" y="2109"/>
                  </a:lnTo>
                  <a:lnTo>
                    <a:pt x="315" y="2107"/>
                  </a:lnTo>
                  <a:lnTo>
                    <a:pt x="315" y="2106"/>
                  </a:lnTo>
                  <a:lnTo>
                    <a:pt x="313" y="2104"/>
                  </a:lnTo>
                  <a:lnTo>
                    <a:pt x="315" y="2104"/>
                  </a:lnTo>
                  <a:lnTo>
                    <a:pt x="315" y="2106"/>
                  </a:lnTo>
                  <a:lnTo>
                    <a:pt x="317" y="2106"/>
                  </a:lnTo>
                  <a:lnTo>
                    <a:pt x="319" y="2109"/>
                  </a:lnTo>
                  <a:lnTo>
                    <a:pt x="321" y="2107"/>
                  </a:lnTo>
                  <a:lnTo>
                    <a:pt x="323" y="2107"/>
                  </a:lnTo>
                  <a:lnTo>
                    <a:pt x="321" y="2107"/>
                  </a:lnTo>
                  <a:lnTo>
                    <a:pt x="321" y="2106"/>
                  </a:lnTo>
                  <a:lnTo>
                    <a:pt x="321" y="2104"/>
                  </a:lnTo>
                  <a:lnTo>
                    <a:pt x="319" y="2104"/>
                  </a:lnTo>
                  <a:lnTo>
                    <a:pt x="319" y="2106"/>
                  </a:lnTo>
                  <a:lnTo>
                    <a:pt x="317" y="2106"/>
                  </a:lnTo>
                  <a:lnTo>
                    <a:pt x="317" y="2104"/>
                  </a:lnTo>
                  <a:lnTo>
                    <a:pt x="317" y="2102"/>
                  </a:lnTo>
                  <a:lnTo>
                    <a:pt x="313" y="2100"/>
                  </a:lnTo>
                  <a:lnTo>
                    <a:pt x="311" y="2102"/>
                  </a:lnTo>
                  <a:lnTo>
                    <a:pt x="309" y="2102"/>
                  </a:lnTo>
                  <a:lnTo>
                    <a:pt x="307" y="2102"/>
                  </a:lnTo>
                  <a:lnTo>
                    <a:pt x="309" y="2102"/>
                  </a:lnTo>
                  <a:lnTo>
                    <a:pt x="311" y="2100"/>
                  </a:lnTo>
                  <a:lnTo>
                    <a:pt x="313" y="2100"/>
                  </a:lnTo>
                  <a:lnTo>
                    <a:pt x="317" y="2100"/>
                  </a:lnTo>
                  <a:lnTo>
                    <a:pt x="321" y="2100"/>
                  </a:lnTo>
                  <a:lnTo>
                    <a:pt x="323" y="2098"/>
                  </a:lnTo>
                  <a:lnTo>
                    <a:pt x="323" y="2096"/>
                  </a:lnTo>
                  <a:lnTo>
                    <a:pt x="325" y="2096"/>
                  </a:lnTo>
                  <a:lnTo>
                    <a:pt x="325" y="2094"/>
                  </a:lnTo>
                  <a:lnTo>
                    <a:pt x="326" y="2092"/>
                  </a:lnTo>
                  <a:lnTo>
                    <a:pt x="328" y="2088"/>
                  </a:lnTo>
                  <a:lnTo>
                    <a:pt x="332" y="2084"/>
                  </a:lnTo>
                  <a:lnTo>
                    <a:pt x="336" y="2083"/>
                  </a:lnTo>
                  <a:lnTo>
                    <a:pt x="336" y="2081"/>
                  </a:lnTo>
                  <a:lnTo>
                    <a:pt x="336" y="2079"/>
                  </a:lnTo>
                  <a:lnTo>
                    <a:pt x="336" y="2077"/>
                  </a:lnTo>
                  <a:lnTo>
                    <a:pt x="336" y="2075"/>
                  </a:lnTo>
                  <a:lnTo>
                    <a:pt x="338" y="2075"/>
                  </a:lnTo>
                  <a:lnTo>
                    <a:pt x="338" y="2073"/>
                  </a:lnTo>
                  <a:lnTo>
                    <a:pt x="340" y="2073"/>
                  </a:lnTo>
                  <a:lnTo>
                    <a:pt x="342" y="2073"/>
                  </a:lnTo>
                  <a:lnTo>
                    <a:pt x="342" y="2075"/>
                  </a:lnTo>
                  <a:lnTo>
                    <a:pt x="340" y="2075"/>
                  </a:lnTo>
                  <a:lnTo>
                    <a:pt x="338" y="2075"/>
                  </a:lnTo>
                  <a:lnTo>
                    <a:pt x="338" y="2077"/>
                  </a:lnTo>
                  <a:lnTo>
                    <a:pt x="336" y="2077"/>
                  </a:lnTo>
                  <a:lnTo>
                    <a:pt x="336" y="2079"/>
                  </a:lnTo>
                  <a:lnTo>
                    <a:pt x="338" y="2079"/>
                  </a:lnTo>
                  <a:lnTo>
                    <a:pt x="340" y="2083"/>
                  </a:lnTo>
                  <a:lnTo>
                    <a:pt x="342" y="2081"/>
                  </a:lnTo>
                  <a:lnTo>
                    <a:pt x="344" y="2081"/>
                  </a:lnTo>
                  <a:lnTo>
                    <a:pt x="344" y="2079"/>
                  </a:lnTo>
                  <a:lnTo>
                    <a:pt x="344" y="2077"/>
                  </a:lnTo>
                  <a:lnTo>
                    <a:pt x="342" y="2077"/>
                  </a:lnTo>
                  <a:lnTo>
                    <a:pt x="344" y="2077"/>
                  </a:lnTo>
                  <a:lnTo>
                    <a:pt x="344" y="2075"/>
                  </a:lnTo>
                  <a:lnTo>
                    <a:pt x="346" y="2075"/>
                  </a:lnTo>
                  <a:lnTo>
                    <a:pt x="348" y="2075"/>
                  </a:lnTo>
                  <a:lnTo>
                    <a:pt x="349" y="2075"/>
                  </a:lnTo>
                  <a:lnTo>
                    <a:pt x="349" y="2077"/>
                  </a:lnTo>
                  <a:lnTo>
                    <a:pt x="351" y="2077"/>
                  </a:lnTo>
                  <a:lnTo>
                    <a:pt x="351" y="2075"/>
                  </a:lnTo>
                  <a:lnTo>
                    <a:pt x="355" y="2067"/>
                  </a:lnTo>
                  <a:lnTo>
                    <a:pt x="355" y="2065"/>
                  </a:lnTo>
                  <a:lnTo>
                    <a:pt x="357" y="2065"/>
                  </a:lnTo>
                  <a:lnTo>
                    <a:pt x="355" y="2065"/>
                  </a:lnTo>
                  <a:lnTo>
                    <a:pt x="355" y="2063"/>
                  </a:lnTo>
                  <a:lnTo>
                    <a:pt x="353" y="2061"/>
                  </a:lnTo>
                  <a:lnTo>
                    <a:pt x="353" y="2059"/>
                  </a:lnTo>
                  <a:lnTo>
                    <a:pt x="355" y="2058"/>
                  </a:lnTo>
                  <a:lnTo>
                    <a:pt x="359" y="2059"/>
                  </a:lnTo>
                  <a:lnTo>
                    <a:pt x="359" y="2058"/>
                  </a:lnTo>
                  <a:lnTo>
                    <a:pt x="361" y="2048"/>
                  </a:lnTo>
                  <a:lnTo>
                    <a:pt x="359" y="2048"/>
                  </a:lnTo>
                  <a:lnTo>
                    <a:pt x="359" y="2046"/>
                  </a:lnTo>
                  <a:lnTo>
                    <a:pt x="357" y="2044"/>
                  </a:lnTo>
                  <a:lnTo>
                    <a:pt x="355" y="2042"/>
                  </a:lnTo>
                  <a:lnTo>
                    <a:pt x="353" y="2042"/>
                  </a:lnTo>
                  <a:lnTo>
                    <a:pt x="351" y="2042"/>
                  </a:lnTo>
                  <a:lnTo>
                    <a:pt x="349" y="2042"/>
                  </a:lnTo>
                  <a:lnTo>
                    <a:pt x="349" y="2040"/>
                  </a:lnTo>
                  <a:lnTo>
                    <a:pt x="349" y="2042"/>
                  </a:lnTo>
                  <a:lnTo>
                    <a:pt x="348" y="2042"/>
                  </a:lnTo>
                  <a:lnTo>
                    <a:pt x="349" y="2040"/>
                  </a:lnTo>
                  <a:lnTo>
                    <a:pt x="348" y="2040"/>
                  </a:lnTo>
                  <a:lnTo>
                    <a:pt x="348" y="2038"/>
                  </a:lnTo>
                  <a:lnTo>
                    <a:pt x="346" y="2040"/>
                  </a:lnTo>
                  <a:lnTo>
                    <a:pt x="348" y="2038"/>
                  </a:lnTo>
                  <a:lnTo>
                    <a:pt x="346" y="2038"/>
                  </a:lnTo>
                  <a:lnTo>
                    <a:pt x="344" y="2038"/>
                  </a:lnTo>
                  <a:lnTo>
                    <a:pt x="346" y="2038"/>
                  </a:lnTo>
                  <a:lnTo>
                    <a:pt x="344" y="2036"/>
                  </a:lnTo>
                  <a:lnTo>
                    <a:pt x="342" y="2036"/>
                  </a:lnTo>
                  <a:lnTo>
                    <a:pt x="344" y="2036"/>
                  </a:lnTo>
                  <a:lnTo>
                    <a:pt x="342" y="2034"/>
                  </a:lnTo>
                  <a:lnTo>
                    <a:pt x="340" y="2033"/>
                  </a:lnTo>
                  <a:lnTo>
                    <a:pt x="338" y="2029"/>
                  </a:lnTo>
                  <a:lnTo>
                    <a:pt x="336" y="2029"/>
                  </a:lnTo>
                  <a:lnTo>
                    <a:pt x="334" y="2025"/>
                  </a:lnTo>
                  <a:lnTo>
                    <a:pt x="332" y="2025"/>
                  </a:lnTo>
                  <a:lnTo>
                    <a:pt x="334" y="2025"/>
                  </a:lnTo>
                  <a:lnTo>
                    <a:pt x="332" y="2021"/>
                  </a:lnTo>
                  <a:lnTo>
                    <a:pt x="332" y="2019"/>
                  </a:lnTo>
                  <a:lnTo>
                    <a:pt x="330" y="2021"/>
                  </a:lnTo>
                  <a:lnTo>
                    <a:pt x="332" y="2019"/>
                  </a:lnTo>
                  <a:lnTo>
                    <a:pt x="330" y="2015"/>
                  </a:lnTo>
                  <a:lnTo>
                    <a:pt x="328" y="2015"/>
                  </a:lnTo>
                  <a:lnTo>
                    <a:pt x="330" y="2015"/>
                  </a:lnTo>
                  <a:lnTo>
                    <a:pt x="330" y="2013"/>
                  </a:lnTo>
                  <a:lnTo>
                    <a:pt x="328" y="2010"/>
                  </a:lnTo>
                  <a:lnTo>
                    <a:pt x="326" y="2011"/>
                  </a:lnTo>
                  <a:lnTo>
                    <a:pt x="328" y="2010"/>
                  </a:lnTo>
                  <a:lnTo>
                    <a:pt x="328" y="2008"/>
                  </a:lnTo>
                  <a:lnTo>
                    <a:pt x="328" y="2006"/>
                  </a:lnTo>
                  <a:lnTo>
                    <a:pt x="326" y="2000"/>
                  </a:lnTo>
                  <a:lnTo>
                    <a:pt x="326" y="1998"/>
                  </a:lnTo>
                  <a:lnTo>
                    <a:pt x="326" y="1994"/>
                  </a:lnTo>
                  <a:lnTo>
                    <a:pt x="328" y="1988"/>
                  </a:lnTo>
                  <a:lnTo>
                    <a:pt x="328" y="1985"/>
                  </a:lnTo>
                  <a:lnTo>
                    <a:pt x="328" y="1983"/>
                  </a:lnTo>
                  <a:lnTo>
                    <a:pt x="328" y="1981"/>
                  </a:lnTo>
                  <a:lnTo>
                    <a:pt x="330" y="1981"/>
                  </a:lnTo>
                  <a:lnTo>
                    <a:pt x="332" y="1977"/>
                  </a:lnTo>
                  <a:lnTo>
                    <a:pt x="334" y="1973"/>
                  </a:lnTo>
                  <a:lnTo>
                    <a:pt x="332" y="1971"/>
                  </a:lnTo>
                  <a:lnTo>
                    <a:pt x="334" y="1971"/>
                  </a:lnTo>
                  <a:lnTo>
                    <a:pt x="336" y="1967"/>
                  </a:lnTo>
                  <a:lnTo>
                    <a:pt x="338" y="1967"/>
                  </a:lnTo>
                  <a:lnTo>
                    <a:pt x="338" y="1965"/>
                  </a:lnTo>
                  <a:lnTo>
                    <a:pt x="340" y="1963"/>
                  </a:lnTo>
                  <a:lnTo>
                    <a:pt x="342" y="1963"/>
                  </a:lnTo>
                  <a:lnTo>
                    <a:pt x="344" y="1962"/>
                  </a:lnTo>
                  <a:lnTo>
                    <a:pt x="344" y="1960"/>
                  </a:lnTo>
                  <a:lnTo>
                    <a:pt x="346" y="1960"/>
                  </a:lnTo>
                  <a:lnTo>
                    <a:pt x="348" y="1958"/>
                  </a:lnTo>
                  <a:lnTo>
                    <a:pt x="349" y="1956"/>
                  </a:lnTo>
                  <a:lnTo>
                    <a:pt x="351" y="1954"/>
                  </a:lnTo>
                  <a:lnTo>
                    <a:pt x="353" y="1954"/>
                  </a:lnTo>
                  <a:lnTo>
                    <a:pt x="355" y="1952"/>
                  </a:lnTo>
                  <a:lnTo>
                    <a:pt x="357" y="1950"/>
                  </a:lnTo>
                  <a:lnTo>
                    <a:pt x="361" y="1948"/>
                  </a:lnTo>
                  <a:lnTo>
                    <a:pt x="363" y="1946"/>
                  </a:lnTo>
                  <a:lnTo>
                    <a:pt x="365" y="1946"/>
                  </a:lnTo>
                  <a:lnTo>
                    <a:pt x="367" y="1944"/>
                  </a:lnTo>
                  <a:lnTo>
                    <a:pt x="369" y="1944"/>
                  </a:lnTo>
                  <a:lnTo>
                    <a:pt x="371" y="1944"/>
                  </a:lnTo>
                  <a:lnTo>
                    <a:pt x="374" y="1944"/>
                  </a:lnTo>
                  <a:lnTo>
                    <a:pt x="378" y="1944"/>
                  </a:lnTo>
                  <a:lnTo>
                    <a:pt x="382" y="1944"/>
                  </a:lnTo>
                  <a:lnTo>
                    <a:pt x="384" y="1944"/>
                  </a:lnTo>
                  <a:lnTo>
                    <a:pt x="384" y="1946"/>
                  </a:lnTo>
                  <a:lnTo>
                    <a:pt x="386" y="1946"/>
                  </a:lnTo>
                  <a:lnTo>
                    <a:pt x="388" y="1946"/>
                  </a:lnTo>
                  <a:lnTo>
                    <a:pt x="388" y="1944"/>
                  </a:lnTo>
                  <a:lnTo>
                    <a:pt x="392" y="1944"/>
                  </a:lnTo>
                  <a:lnTo>
                    <a:pt x="394" y="1944"/>
                  </a:lnTo>
                  <a:lnTo>
                    <a:pt x="394" y="1942"/>
                  </a:lnTo>
                  <a:lnTo>
                    <a:pt x="396" y="1942"/>
                  </a:lnTo>
                  <a:lnTo>
                    <a:pt x="397" y="1942"/>
                  </a:lnTo>
                  <a:lnTo>
                    <a:pt x="399" y="1942"/>
                  </a:lnTo>
                  <a:lnTo>
                    <a:pt x="401" y="1942"/>
                  </a:lnTo>
                  <a:lnTo>
                    <a:pt x="403" y="1940"/>
                  </a:lnTo>
                  <a:lnTo>
                    <a:pt x="405" y="1940"/>
                  </a:lnTo>
                  <a:lnTo>
                    <a:pt x="409" y="1940"/>
                  </a:lnTo>
                  <a:lnTo>
                    <a:pt x="411" y="1940"/>
                  </a:lnTo>
                  <a:lnTo>
                    <a:pt x="413" y="1938"/>
                  </a:lnTo>
                  <a:lnTo>
                    <a:pt x="413" y="1940"/>
                  </a:lnTo>
                  <a:lnTo>
                    <a:pt x="415" y="1940"/>
                  </a:lnTo>
                  <a:lnTo>
                    <a:pt x="417" y="1940"/>
                  </a:lnTo>
                  <a:lnTo>
                    <a:pt x="419" y="1940"/>
                  </a:lnTo>
                  <a:lnTo>
                    <a:pt x="422" y="1940"/>
                  </a:lnTo>
                  <a:lnTo>
                    <a:pt x="426" y="1940"/>
                  </a:lnTo>
                  <a:lnTo>
                    <a:pt x="428" y="1940"/>
                  </a:lnTo>
                  <a:lnTo>
                    <a:pt x="430" y="1940"/>
                  </a:lnTo>
                  <a:lnTo>
                    <a:pt x="432" y="1940"/>
                  </a:lnTo>
                  <a:lnTo>
                    <a:pt x="436" y="1940"/>
                  </a:lnTo>
                  <a:lnTo>
                    <a:pt x="438" y="1940"/>
                  </a:lnTo>
                  <a:lnTo>
                    <a:pt x="438" y="1942"/>
                  </a:lnTo>
                  <a:lnTo>
                    <a:pt x="440" y="1942"/>
                  </a:lnTo>
                  <a:lnTo>
                    <a:pt x="442" y="1942"/>
                  </a:lnTo>
                  <a:lnTo>
                    <a:pt x="443" y="1944"/>
                  </a:lnTo>
                  <a:lnTo>
                    <a:pt x="445" y="1944"/>
                  </a:lnTo>
                  <a:lnTo>
                    <a:pt x="447" y="1944"/>
                  </a:lnTo>
                  <a:lnTo>
                    <a:pt x="451" y="1946"/>
                  </a:lnTo>
                  <a:lnTo>
                    <a:pt x="453" y="1946"/>
                  </a:lnTo>
                  <a:lnTo>
                    <a:pt x="455" y="1946"/>
                  </a:lnTo>
                  <a:lnTo>
                    <a:pt x="457" y="1942"/>
                  </a:lnTo>
                  <a:lnTo>
                    <a:pt x="459" y="1940"/>
                  </a:lnTo>
                  <a:lnTo>
                    <a:pt x="459" y="1938"/>
                  </a:lnTo>
                  <a:lnTo>
                    <a:pt x="457" y="1938"/>
                  </a:lnTo>
                  <a:lnTo>
                    <a:pt x="457" y="1937"/>
                  </a:lnTo>
                  <a:lnTo>
                    <a:pt x="459" y="1937"/>
                  </a:lnTo>
                  <a:lnTo>
                    <a:pt x="459" y="1935"/>
                  </a:lnTo>
                  <a:lnTo>
                    <a:pt x="457" y="1935"/>
                  </a:lnTo>
                  <a:lnTo>
                    <a:pt x="459" y="1933"/>
                  </a:lnTo>
                  <a:lnTo>
                    <a:pt x="461" y="1933"/>
                  </a:lnTo>
                  <a:lnTo>
                    <a:pt x="463" y="1931"/>
                  </a:lnTo>
                  <a:lnTo>
                    <a:pt x="463" y="1929"/>
                  </a:lnTo>
                  <a:lnTo>
                    <a:pt x="465" y="1929"/>
                  </a:lnTo>
                  <a:lnTo>
                    <a:pt x="465" y="1927"/>
                  </a:lnTo>
                  <a:lnTo>
                    <a:pt x="467" y="1927"/>
                  </a:lnTo>
                  <a:lnTo>
                    <a:pt x="468" y="1925"/>
                  </a:lnTo>
                  <a:lnTo>
                    <a:pt x="470" y="1925"/>
                  </a:lnTo>
                  <a:lnTo>
                    <a:pt x="472" y="1923"/>
                  </a:lnTo>
                  <a:lnTo>
                    <a:pt x="474" y="1923"/>
                  </a:lnTo>
                  <a:lnTo>
                    <a:pt x="474" y="1921"/>
                  </a:lnTo>
                  <a:lnTo>
                    <a:pt x="476" y="1921"/>
                  </a:lnTo>
                  <a:lnTo>
                    <a:pt x="478" y="1919"/>
                  </a:lnTo>
                  <a:lnTo>
                    <a:pt x="478" y="1917"/>
                  </a:lnTo>
                  <a:lnTo>
                    <a:pt x="480" y="1917"/>
                  </a:lnTo>
                  <a:lnTo>
                    <a:pt x="480" y="1915"/>
                  </a:lnTo>
                  <a:lnTo>
                    <a:pt x="480" y="1917"/>
                  </a:lnTo>
                  <a:lnTo>
                    <a:pt x="478" y="1919"/>
                  </a:lnTo>
                  <a:lnTo>
                    <a:pt x="476" y="1921"/>
                  </a:lnTo>
                  <a:lnTo>
                    <a:pt x="480" y="1919"/>
                  </a:lnTo>
                  <a:lnTo>
                    <a:pt x="482" y="1919"/>
                  </a:lnTo>
                  <a:lnTo>
                    <a:pt x="482" y="1917"/>
                  </a:lnTo>
                  <a:lnTo>
                    <a:pt x="484" y="1917"/>
                  </a:lnTo>
                  <a:lnTo>
                    <a:pt x="486" y="1917"/>
                  </a:lnTo>
                  <a:lnTo>
                    <a:pt x="486" y="1915"/>
                  </a:lnTo>
                  <a:lnTo>
                    <a:pt x="488" y="1915"/>
                  </a:lnTo>
                  <a:lnTo>
                    <a:pt x="488" y="1913"/>
                  </a:lnTo>
                  <a:lnTo>
                    <a:pt x="491" y="1910"/>
                  </a:lnTo>
                  <a:lnTo>
                    <a:pt x="491" y="1908"/>
                  </a:lnTo>
                  <a:lnTo>
                    <a:pt x="493" y="1904"/>
                  </a:lnTo>
                  <a:lnTo>
                    <a:pt x="495" y="1902"/>
                  </a:lnTo>
                  <a:lnTo>
                    <a:pt x="495" y="1900"/>
                  </a:lnTo>
                  <a:lnTo>
                    <a:pt x="495" y="1902"/>
                  </a:lnTo>
                  <a:lnTo>
                    <a:pt x="495" y="1900"/>
                  </a:lnTo>
                  <a:lnTo>
                    <a:pt x="497" y="1898"/>
                  </a:lnTo>
                  <a:lnTo>
                    <a:pt x="497" y="1896"/>
                  </a:lnTo>
                  <a:lnTo>
                    <a:pt x="495" y="1894"/>
                  </a:lnTo>
                  <a:lnTo>
                    <a:pt x="493" y="1896"/>
                  </a:lnTo>
                  <a:lnTo>
                    <a:pt x="493" y="1898"/>
                  </a:lnTo>
                  <a:lnTo>
                    <a:pt x="493" y="1896"/>
                  </a:lnTo>
                  <a:lnTo>
                    <a:pt x="495" y="1894"/>
                  </a:lnTo>
                  <a:lnTo>
                    <a:pt x="497" y="1894"/>
                  </a:lnTo>
                  <a:lnTo>
                    <a:pt x="499" y="1890"/>
                  </a:lnTo>
                  <a:lnTo>
                    <a:pt x="499" y="1889"/>
                  </a:lnTo>
                  <a:lnTo>
                    <a:pt x="499" y="1887"/>
                  </a:lnTo>
                  <a:lnTo>
                    <a:pt x="499" y="1885"/>
                  </a:lnTo>
                  <a:lnTo>
                    <a:pt x="497" y="1879"/>
                  </a:lnTo>
                  <a:lnTo>
                    <a:pt x="495" y="1875"/>
                  </a:lnTo>
                  <a:lnTo>
                    <a:pt x="495" y="1873"/>
                  </a:lnTo>
                  <a:lnTo>
                    <a:pt x="491" y="1864"/>
                  </a:lnTo>
                  <a:lnTo>
                    <a:pt x="491" y="1862"/>
                  </a:lnTo>
                  <a:lnTo>
                    <a:pt x="491" y="1860"/>
                  </a:lnTo>
                  <a:lnTo>
                    <a:pt x="491" y="1858"/>
                  </a:lnTo>
                  <a:lnTo>
                    <a:pt x="493" y="1856"/>
                  </a:lnTo>
                  <a:lnTo>
                    <a:pt x="493" y="1854"/>
                  </a:lnTo>
                  <a:lnTo>
                    <a:pt x="493" y="1852"/>
                  </a:lnTo>
                  <a:lnTo>
                    <a:pt x="495" y="1850"/>
                  </a:lnTo>
                  <a:lnTo>
                    <a:pt x="499" y="1846"/>
                  </a:lnTo>
                  <a:lnTo>
                    <a:pt x="501" y="1844"/>
                  </a:lnTo>
                  <a:lnTo>
                    <a:pt x="501" y="1842"/>
                  </a:lnTo>
                  <a:lnTo>
                    <a:pt x="503" y="1842"/>
                  </a:lnTo>
                  <a:lnTo>
                    <a:pt x="505" y="1840"/>
                  </a:lnTo>
                  <a:lnTo>
                    <a:pt x="507" y="1840"/>
                  </a:lnTo>
                  <a:lnTo>
                    <a:pt x="509" y="1840"/>
                  </a:lnTo>
                  <a:lnTo>
                    <a:pt x="513" y="1839"/>
                  </a:lnTo>
                  <a:lnTo>
                    <a:pt x="515" y="1839"/>
                  </a:lnTo>
                  <a:lnTo>
                    <a:pt x="516" y="1839"/>
                  </a:lnTo>
                  <a:lnTo>
                    <a:pt x="518" y="1837"/>
                  </a:lnTo>
                  <a:lnTo>
                    <a:pt x="522" y="1837"/>
                  </a:lnTo>
                  <a:lnTo>
                    <a:pt x="524" y="1837"/>
                  </a:lnTo>
                  <a:lnTo>
                    <a:pt x="524" y="1835"/>
                  </a:lnTo>
                  <a:lnTo>
                    <a:pt x="526" y="1835"/>
                  </a:lnTo>
                  <a:lnTo>
                    <a:pt x="526" y="1833"/>
                  </a:lnTo>
                  <a:lnTo>
                    <a:pt x="526" y="1835"/>
                  </a:lnTo>
                  <a:lnTo>
                    <a:pt x="528" y="1835"/>
                  </a:lnTo>
                  <a:lnTo>
                    <a:pt x="528" y="1833"/>
                  </a:lnTo>
                  <a:lnTo>
                    <a:pt x="528" y="1835"/>
                  </a:lnTo>
                  <a:lnTo>
                    <a:pt x="530" y="1835"/>
                  </a:lnTo>
                  <a:lnTo>
                    <a:pt x="530" y="1833"/>
                  </a:lnTo>
                  <a:lnTo>
                    <a:pt x="530" y="1835"/>
                  </a:lnTo>
                  <a:lnTo>
                    <a:pt x="532" y="1835"/>
                  </a:lnTo>
                  <a:lnTo>
                    <a:pt x="532" y="1833"/>
                  </a:lnTo>
                  <a:lnTo>
                    <a:pt x="532" y="1835"/>
                  </a:lnTo>
                  <a:lnTo>
                    <a:pt x="534" y="1833"/>
                  </a:lnTo>
                  <a:lnTo>
                    <a:pt x="534" y="1835"/>
                  </a:lnTo>
                  <a:lnTo>
                    <a:pt x="536" y="1835"/>
                  </a:lnTo>
                  <a:lnTo>
                    <a:pt x="534" y="1833"/>
                  </a:lnTo>
                  <a:lnTo>
                    <a:pt x="534" y="1831"/>
                  </a:lnTo>
                  <a:lnTo>
                    <a:pt x="536" y="1831"/>
                  </a:lnTo>
                  <a:lnTo>
                    <a:pt x="536" y="1833"/>
                  </a:lnTo>
                  <a:lnTo>
                    <a:pt x="538" y="1835"/>
                  </a:lnTo>
                  <a:lnTo>
                    <a:pt x="539" y="1833"/>
                  </a:lnTo>
                  <a:lnTo>
                    <a:pt x="541" y="1833"/>
                  </a:lnTo>
                  <a:lnTo>
                    <a:pt x="549" y="1831"/>
                  </a:lnTo>
                  <a:lnTo>
                    <a:pt x="551" y="1829"/>
                  </a:lnTo>
                  <a:lnTo>
                    <a:pt x="553" y="1829"/>
                  </a:lnTo>
                  <a:lnTo>
                    <a:pt x="557" y="1827"/>
                  </a:lnTo>
                  <a:lnTo>
                    <a:pt x="559" y="1825"/>
                  </a:lnTo>
                  <a:lnTo>
                    <a:pt x="562" y="1823"/>
                  </a:lnTo>
                  <a:lnTo>
                    <a:pt x="564" y="1823"/>
                  </a:lnTo>
                  <a:lnTo>
                    <a:pt x="566" y="1823"/>
                  </a:lnTo>
                  <a:lnTo>
                    <a:pt x="566" y="1821"/>
                  </a:lnTo>
                  <a:lnTo>
                    <a:pt x="570" y="1821"/>
                  </a:lnTo>
                  <a:lnTo>
                    <a:pt x="574" y="1819"/>
                  </a:lnTo>
                  <a:lnTo>
                    <a:pt x="576" y="1817"/>
                  </a:lnTo>
                  <a:lnTo>
                    <a:pt x="578" y="1817"/>
                  </a:lnTo>
                  <a:lnTo>
                    <a:pt x="582" y="1816"/>
                  </a:lnTo>
                  <a:lnTo>
                    <a:pt x="586" y="1814"/>
                  </a:lnTo>
                  <a:lnTo>
                    <a:pt x="587" y="1814"/>
                  </a:lnTo>
                  <a:lnTo>
                    <a:pt x="589" y="1814"/>
                  </a:lnTo>
                  <a:lnTo>
                    <a:pt x="591" y="1814"/>
                  </a:lnTo>
                  <a:lnTo>
                    <a:pt x="593" y="1814"/>
                  </a:lnTo>
                  <a:lnTo>
                    <a:pt x="595" y="1814"/>
                  </a:lnTo>
                  <a:lnTo>
                    <a:pt x="597" y="1814"/>
                  </a:lnTo>
                  <a:lnTo>
                    <a:pt x="599" y="1814"/>
                  </a:lnTo>
                  <a:lnTo>
                    <a:pt x="603" y="1814"/>
                  </a:lnTo>
                  <a:lnTo>
                    <a:pt x="605" y="1814"/>
                  </a:lnTo>
                  <a:lnTo>
                    <a:pt x="607" y="1814"/>
                  </a:lnTo>
                  <a:lnTo>
                    <a:pt x="607" y="1812"/>
                  </a:lnTo>
                  <a:lnTo>
                    <a:pt x="609" y="1812"/>
                  </a:lnTo>
                  <a:lnTo>
                    <a:pt x="614" y="1810"/>
                  </a:lnTo>
                  <a:lnTo>
                    <a:pt x="618" y="1808"/>
                  </a:lnTo>
                  <a:lnTo>
                    <a:pt x="620" y="1808"/>
                  </a:lnTo>
                  <a:lnTo>
                    <a:pt x="624" y="1806"/>
                  </a:lnTo>
                  <a:lnTo>
                    <a:pt x="622" y="1806"/>
                  </a:lnTo>
                  <a:lnTo>
                    <a:pt x="620" y="1808"/>
                  </a:lnTo>
                  <a:lnTo>
                    <a:pt x="616" y="1810"/>
                  </a:lnTo>
                  <a:lnTo>
                    <a:pt x="612" y="1812"/>
                  </a:lnTo>
                  <a:lnTo>
                    <a:pt x="609" y="1814"/>
                  </a:lnTo>
                  <a:lnTo>
                    <a:pt x="607" y="1814"/>
                  </a:lnTo>
                  <a:lnTo>
                    <a:pt x="605" y="1814"/>
                  </a:lnTo>
                  <a:lnTo>
                    <a:pt x="601" y="1814"/>
                  </a:lnTo>
                  <a:lnTo>
                    <a:pt x="603" y="1814"/>
                  </a:lnTo>
                  <a:lnTo>
                    <a:pt x="605" y="1814"/>
                  </a:lnTo>
                  <a:lnTo>
                    <a:pt x="607" y="1814"/>
                  </a:lnTo>
                  <a:lnTo>
                    <a:pt x="609" y="1814"/>
                  </a:lnTo>
                  <a:lnTo>
                    <a:pt x="610" y="1812"/>
                  </a:lnTo>
                  <a:lnTo>
                    <a:pt x="614" y="1812"/>
                  </a:lnTo>
                  <a:lnTo>
                    <a:pt x="618" y="1810"/>
                  </a:lnTo>
                  <a:lnTo>
                    <a:pt x="620" y="1808"/>
                  </a:lnTo>
                  <a:lnTo>
                    <a:pt x="622" y="1806"/>
                  </a:lnTo>
                  <a:lnTo>
                    <a:pt x="624" y="1806"/>
                  </a:lnTo>
                  <a:lnTo>
                    <a:pt x="628" y="1806"/>
                  </a:lnTo>
                  <a:lnTo>
                    <a:pt x="628" y="1808"/>
                  </a:lnTo>
                  <a:lnTo>
                    <a:pt x="630" y="1806"/>
                  </a:lnTo>
                  <a:lnTo>
                    <a:pt x="632" y="1808"/>
                  </a:lnTo>
                  <a:lnTo>
                    <a:pt x="634" y="1808"/>
                  </a:lnTo>
                  <a:lnTo>
                    <a:pt x="635" y="1808"/>
                  </a:lnTo>
                  <a:lnTo>
                    <a:pt x="637" y="1810"/>
                  </a:lnTo>
                  <a:lnTo>
                    <a:pt x="637" y="1812"/>
                  </a:lnTo>
                  <a:lnTo>
                    <a:pt x="639" y="1812"/>
                  </a:lnTo>
                  <a:lnTo>
                    <a:pt x="639" y="1814"/>
                  </a:lnTo>
                  <a:lnTo>
                    <a:pt x="637" y="1814"/>
                  </a:lnTo>
                  <a:lnTo>
                    <a:pt x="637" y="1812"/>
                  </a:lnTo>
                  <a:lnTo>
                    <a:pt x="635" y="1812"/>
                  </a:lnTo>
                  <a:lnTo>
                    <a:pt x="634" y="1812"/>
                  </a:lnTo>
                  <a:lnTo>
                    <a:pt x="632" y="1812"/>
                  </a:lnTo>
                  <a:lnTo>
                    <a:pt x="630" y="1814"/>
                  </a:lnTo>
                  <a:lnTo>
                    <a:pt x="628" y="1816"/>
                  </a:lnTo>
                  <a:lnTo>
                    <a:pt x="624" y="1816"/>
                  </a:lnTo>
                  <a:lnTo>
                    <a:pt x="622" y="1816"/>
                  </a:lnTo>
                  <a:lnTo>
                    <a:pt x="620" y="1816"/>
                  </a:lnTo>
                  <a:lnTo>
                    <a:pt x="616" y="1816"/>
                  </a:lnTo>
                  <a:lnTo>
                    <a:pt x="614" y="1816"/>
                  </a:lnTo>
                  <a:lnTo>
                    <a:pt x="612" y="1816"/>
                  </a:lnTo>
                  <a:lnTo>
                    <a:pt x="612" y="1817"/>
                  </a:lnTo>
                  <a:lnTo>
                    <a:pt x="607" y="1817"/>
                  </a:lnTo>
                  <a:lnTo>
                    <a:pt x="605" y="1817"/>
                  </a:lnTo>
                  <a:lnTo>
                    <a:pt x="603" y="1817"/>
                  </a:lnTo>
                  <a:lnTo>
                    <a:pt x="601" y="1819"/>
                  </a:lnTo>
                  <a:lnTo>
                    <a:pt x="599" y="1819"/>
                  </a:lnTo>
                  <a:lnTo>
                    <a:pt x="597" y="1819"/>
                  </a:lnTo>
                  <a:lnTo>
                    <a:pt x="595" y="1819"/>
                  </a:lnTo>
                  <a:lnTo>
                    <a:pt x="595" y="1821"/>
                  </a:lnTo>
                  <a:lnTo>
                    <a:pt x="597" y="1821"/>
                  </a:lnTo>
                  <a:lnTo>
                    <a:pt x="599" y="1821"/>
                  </a:lnTo>
                  <a:lnTo>
                    <a:pt x="601" y="1819"/>
                  </a:lnTo>
                  <a:lnTo>
                    <a:pt x="603" y="1819"/>
                  </a:lnTo>
                  <a:lnTo>
                    <a:pt x="607" y="1817"/>
                  </a:lnTo>
                  <a:lnTo>
                    <a:pt x="609" y="1817"/>
                  </a:lnTo>
                  <a:lnTo>
                    <a:pt x="610" y="1817"/>
                  </a:lnTo>
                  <a:lnTo>
                    <a:pt x="612" y="1817"/>
                  </a:lnTo>
                  <a:lnTo>
                    <a:pt x="614" y="1817"/>
                  </a:lnTo>
                  <a:lnTo>
                    <a:pt x="614" y="1819"/>
                  </a:lnTo>
                  <a:lnTo>
                    <a:pt x="614" y="1821"/>
                  </a:lnTo>
                  <a:lnTo>
                    <a:pt x="612" y="1821"/>
                  </a:lnTo>
                  <a:lnTo>
                    <a:pt x="614" y="1821"/>
                  </a:lnTo>
                  <a:lnTo>
                    <a:pt x="614" y="1819"/>
                  </a:lnTo>
                  <a:lnTo>
                    <a:pt x="616" y="1819"/>
                  </a:lnTo>
                  <a:lnTo>
                    <a:pt x="616" y="1821"/>
                  </a:lnTo>
                  <a:lnTo>
                    <a:pt x="616" y="1823"/>
                  </a:lnTo>
                  <a:lnTo>
                    <a:pt x="616" y="1821"/>
                  </a:lnTo>
                  <a:lnTo>
                    <a:pt x="618" y="1821"/>
                  </a:lnTo>
                  <a:lnTo>
                    <a:pt x="618" y="1819"/>
                  </a:lnTo>
                  <a:lnTo>
                    <a:pt x="616" y="1817"/>
                  </a:lnTo>
                  <a:lnTo>
                    <a:pt x="618" y="1817"/>
                  </a:lnTo>
                  <a:lnTo>
                    <a:pt x="620" y="1817"/>
                  </a:lnTo>
                  <a:lnTo>
                    <a:pt x="620" y="1819"/>
                  </a:lnTo>
                  <a:lnTo>
                    <a:pt x="622" y="1819"/>
                  </a:lnTo>
                  <a:lnTo>
                    <a:pt x="620" y="1819"/>
                  </a:lnTo>
                  <a:lnTo>
                    <a:pt x="622" y="1817"/>
                  </a:lnTo>
                  <a:lnTo>
                    <a:pt x="624" y="1817"/>
                  </a:lnTo>
                  <a:lnTo>
                    <a:pt x="626" y="1817"/>
                  </a:lnTo>
                  <a:lnTo>
                    <a:pt x="628" y="1817"/>
                  </a:lnTo>
                  <a:lnTo>
                    <a:pt x="630" y="1817"/>
                  </a:lnTo>
                  <a:lnTo>
                    <a:pt x="630" y="1819"/>
                  </a:lnTo>
                  <a:lnTo>
                    <a:pt x="634" y="1821"/>
                  </a:lnTo>
                  <a:lnTo>
                    <a:pt x="634" y="1823"/>
                  </a:lnTo>
                  <a:lnTo>
                    <a:pt x="632" y="1823"/>
                  </a:lnTo>
                  <a:lnTo>
                    <a:pt x="632" y="1825"/>
                  </a:lnTo>
                  <a:lnTo>
                    <a:pt x="632" y="1823"/>
                  </a:lnTo>
                  <a:lnTo>
                    <a:pt x="630" y="1823"/>
                  </a:lnTo>
                  <a:lnTo>
                    <a:pt x="630" y="1821"/>
                  </a:lnTo>
                  <a:lnTo>
                    <a:pt x="628" y="1821"/>
                  </a:lnTo>
                  <a:lnTo>
                    <a:pt x="630" y="1821"/>
                  </a:lnTo>
                  <a:lnTo>
                    <a:pt x="630" y="1823"/>
                  </a:lnTo>
                  <a:lnTo>
                    <a:pt x="632" y="1825"/>
                  </a:lnTo>
                  <a:lnTo>
                    <a:pt x="630" y="1825"/>
                  </a:lnTo>
                  <a:lnTo>
                    <a:pt x="632" y="1825"/>
                  </a:lnTo>
                  <a:lnTo>
                    <a:pt x="632" y="1827"/>
                  </a:lnTo>
                  <a:lnTo>
                    <a:pt x="632" y="1829"/>
                  </a:lnTo>
                  <a:lnTo>
                    <a:pt x="630" y="1829"/>
                  </a:lnTo>
                  <a:lnTo>
                    <a:pt x="630" y="1827"/>
                  </a:lnTo>
                  <a:lnTo>
                    <a:pt x="628" y="1827"/>
                  </a:lnTo>
                  <a:lnTo>
                    <a:pt x="630" y="1827"/>
                  </a:lnTo>
                  <a:lnTo>
                    <a:pt x="630" y="1829"/>
                  </a:lnTo>
                  <a:lnTo>
                    <a:pt x="628" y="1831"/>
                  </a:lnTo>
                  <a:lnTo>
                    <a:pt x="628" y="1829"/>
                  </a:lnTo>
                  <a:lnTo>
                    <a:pt x="626" y="1829"/>
                  </a:lnTo>
                  <a:lnTo>
                    <a:pt x="624" y="1827"/>
                  </a:lnTo>
                  <a:lnTo>
                    <a:pt x="622" y="1825"/>
                  </a:lnTo>
                  <a:lnTo>
                    <a:pt x="620" y="1825"/>
                  </a:lnTo>
                  <a:lnTo>
                    <a:pt x="624" y="1827"/>
                  </a:lnTo>
                  <a:lnTo>
                    <a:pt x="626" y="1829"/>
                  </a:lnTo>
                  <a:lnTo>
                    <a:pt x="628" y="1829"/>
                  </a:lnTo>
                  <a:lnTo>
                    <a:pt x="628" y="1831"/>
                  </a:lnTo>
                  <a:lnTo>
                    <a:pt x="630" y="1831"/>
                  </a:lnTo>
                  <a:lnTo>
                    <a:pt x="630" y="1829"/>
                  </a:lnTo>
                  <a:lnTo>
                    <a:pt x="632" y="1829"/>
                  </a:lnTo>
                  <a:lnTo>
                    <a:pt x="632" y="1827"/>
                  </a:lnTo>
                  <a:lnTo>
                    <a:pt x="634" y="1827"/>
                  </a:lnTo>
                  <a:lnTo>
                    <a:pt x="634" y="1829"/>
                  </a:lnTo>
                  <a:lnTo>
                    <a:pt x="634" y="1831"/>
                  </a:lnTo>
                  <a:lnTo>
                    <a:pt x="635" y="1831"/>
                  </a:lnTo>
                  <a:lnTo>
                    <a:pt x="635" y="1833"/>
                  </a:lnTo>
                  <a:lnTo>
                    <a:pt x="637" y="1833"/>
                  </a:lnTo>
                  <a:lnTo>
                    <a:pt x="637" y="1835"/>
                  </a:lnTo>
                  <a:lnTo>
                    <a:pt x="639" y="1835"/>
                  </a:lnTo>
                  <a:lnTo>
                    <a:pt x="641" y="1837"/>
                  </a:lnTo>
                  <a:lnTo>
                    <a:pt x="643" y="1839"/>
                  </a:lnTo>
                  <a:lnTo>
                    <a:pt x="645" y="1839"/>
                  </a:lnTo>
                  <a:lnTo>
                    <a:pt x="647" y="1837"/>
                  </a:lnTo>
                  <a:lnTo>
                    <a:pt x="649" y="1835"/>
                  </a:lnTo>
                  <a:lnTo>
                    <a:pt x="649" y="1837"/>
                  </a:lnTo>
                  <a:lnTo>
                    <a:pt x="647" y="1839"/>
                  </a:lnTo>
                  <a:lnTo>
                    <a:pt x="645" y="1840"/>
                  </a:lnTo>
                  <a:lnTo>
                    <a:pt x="645" y="1842"/>
                  </a:lnTo>
                  <a:lnTo>
                    <a:pt x="651" y="1846"/>
                  </a:lnTo>
                  <a:lnTo>
                    <a:pt x="653" y="1846"/>
                  </a:lnTo>
                  <a:lnTo>
                    <a:pt x="653" y="1844"/>
                  </a:lnTo>
                  <a:lnTo>
                    <a:pt x="649" y="1840"/>
                  </a:lnTo>
                  <a:lnTo>
                    <a:pt x="649" y="1839"/>
                  </a:lnTo>
                  <a:lnTo>
                    <a:pt x="653" y="1840"/>
                  </a:lnTo>
                  <a:lnTo>
                    <a:pt x="655" y="1840"/>
                  </a:lnTo>
                  <a:lnTo>
                    <a:pt x="657" y="1840"/>
                  </a:lnTo>
                  <a:lnTo>
                    <a:pt x="658" y="1839"/>
                  </a:lnTo>
                  <a:lnTo>
                    <a:pt x="658" y="1840"/>
                  </a:lnTo>
                  <a:lnTo>
                    <a:pt x="658" y="1842"/>
                  </a:lnTo>
                  <a:lnTo>
                    <a:pt x="658" y="1846"/>
                  </a:lnTo>
                  <a:lnTo>
                    <a:pt x="658" y="1848"/>
                  </a:lnTo>
                  <a:lnTo>
                    <a:pt x="658" y="1850"/>
                  </a:lnTo>
                  <a:lnTo>
                    <a:pt x="657" y="1850"/>
                  </a:lnTo>
                  <a:lnTo>
                    <a:pt x="657" y="1848"/>
                  </a:lnTo>
                  <a:lnTo>
                    <a:pt x="655" y="1848"/>
                  </a:lnTo>
                  <a:lnTo>
                    <a:pt x="653" y="1850"/>
                  </a:lnTo>
                  <a:lnTo>
                    <a:pt x="655" y="1854"/>
                  </a:lnTo>
                  <a:lnTo>
                    <a:pt x="657" y="1854"/>
                  </a:lnTo>
                  <a:lnTo>
                    <a:pt x="655" y="1856"/>
                  </a:lnTo>
                  <a:lnTo>
                    <a:pt x="657" y="1856"/>
                  </a:lnTo>
                  <a:lnTo>
                    <a:pt x="660" y="1852"/>
                  </a:lnTo>
                  <a:lnTo>
                    <a:pt x="660" y="1850"/>
                  </a:lnTo>
                  <a:lnTo>
                    <a:pt x="662" y="1852"/>
                  </a:lnTo>
                  <a:lnTo>
                    <a:pt x="660" y="1852"/>
                  </a:lnTo>
                  <a:lnTo>
                    <a:pt x="662" y="1852"/>
                  </a:lnTo>
                  <a:lnTo>
                    <a:pt x="664" y="1854"/>
                  </a:lnTo>
                  <a:lnTo>
                    <a:pt x="666" y="1852"/>
                  </a:lnTo>
                  <a:lnTo>
                    <a:pt x="662" y="1850"/>
                  </a:lnTo>
                  <a:lnTo>
                    <a:pt x="666" y="1852"/>
                  </a:lnTo>
                  <a:lnTo>
                    <a:pt x="666" y="1854"/>
                  </a:lnTo>
                  <a:lnTo>
                    <a:pt x="668" y="1856"/>
                  </a:lnTo>
                  <a:lnTo>
                    <a:pt x="670" y="1856"/>
                  </a:lnTo>
                  <a:lnTo>
                    <a:pt x="672" y="1858"/>
                  </a:lnTo>
                  <a:lnTo>
                    <a:pt x="674" y="1860"/>
                  </a:lnTo>
                  <a:lnTo>
                    <a:pt x="672" y="1858"/>
                  </a:lnTo>
                  <a:lnTo>
                    <a:pt x="668" y="1856"/>
                  </a:lnTo>
                  <a:lnTo>
                    <a:pt x="666" y="1854"/>
                  </a:lnTo>
                  <a:lnTo>
                    <a:pt x="666" y="1856"/>
                  </a:lnTo>
                  <a:lnTo>
                    <a:pt x="668" y="1856"/>
                  </a:lnTo>
                  <a:lnTo>
                    <a:pt x="672" y="1862"/>
                  </a:lnTo>
                  <a:lnTo>
                    <a:pt x="672" y="1864"/>
                  </a:lnTo>
                  <a:lnTo>
                    <a:pt x="674" y="1864"/>
                  </a:lnTo>
                  <a:lnTo>
                    <a:pt x="678" y="1865"/>
                  </a:lnTo>
                  <a:lnTo>
                    <a:pt x="681" y="1867"/>
                  </a:lnTo>
                  <a:lnTo>
                    <a:pt x="681" y="1869"/>
                  </a:lnTo>
                  <a:lnTo>
                    <a:pt x="683" y="1869"/>
                  </a:lnTo>
                  <a:lnTo>
                    <a:pt x="685" y="1869"/>
                  </a:lnTo>
                  <a:lnTo>
                    <a:pt x="685" y="1871"/>
                  </a:lnTo>
                  <a:lnTo>
                    <a:pt x="687" y="1871"/>
                  </a:lnTo>
                  <a:lnTo>
                    <a:pt x="689" y="1873"/>
                  </a:lnTo>
                  <a:lnTo>
                    <a:pt x="691" y="1873"/>
                  </a:lnTo>
                  <a:lnTo>
                    <a:pt x="691" y="1875"/>
                  </a:lnTo>
                  <a:lnTo>
                    <a:pt x="693" y="1875"/>
                  </a:lnTo>
                  <a:lnTo>
                    <a:pt x="695" y="1877"/>
                  </a:lnTo>
                  <a:lnTo>
                    <a:pt x="695" y="1875"/>
                  </a:lnTo>
                  <a:lnTo>
                    <a:pt x="695" y="1877"/>
                  </a:lnTo>
                  <a:lnTo>
                    <a:pt x="697" y="1877"/>
                  </a:lnTo>
                  <a:lnTo>
                    <a:pt x="701" y="1881"/>
                  </a:lnTo>
                  <a:lnTo>
                    <a:pt x="703" y="1881"/>
                  </a:lnTo>
                  <a:lnTo>
                    <a:pt x="703" y="1883"/>
                  </a:lnTo>
                  <a:lnTo>
                    <a:pt x="705" y="1883"/>
                  </a:lnTo>
                  <a:lnTo>
                    <a:pt x="706" y="1883"/>
                  </a:lnTo>
                  <a:lnTo>
                    <a:pt x="706" y="1885"/>
                  </a:lnTo>
                  <a:lnTo>
                    <a:pt x="708" y="1885"/>
                  </a:lnTo>
                  <a:lnTo>
                    <a:pt x="710" y="1887"/>
                  </a:lnTo>
                  <a:lnTo>
                    <a:pt x="712" y="1889"/>
                  </a:lnTo>
                  <a:lnTo>
                    <a:pt x="716" y="1892"/>
                  </a:lnTo>
                  <a:lnTo>
                    <a:pt x="718" y="1892"/>
                  </a:lnTo>
                  <a:lnTo>
                    <a:pt x="720" y="1892"/>
                  </a:lnTo>
                  <a:lnTo>
                    <a:pt x="722" y="1892"/>
                  </a:lnTo>
                  <a:lnTo>
                    <a:pt x="720" y="1892"/>
                  </a:lnTo>
                  <a:lnTo>
                    <a:pt x="720" y="1894"/>
                  </a:lnTo>
                  <a:lnTo>
                    <a:pt x="718" y="1894"/>
                  </a:lnTo>
                  <a:lnTo>
                    <a:pt x="720" y="1894"/>
                  </a:lnTo>
                  <a:lnTo>
                    <a:pt x="722" y="1892"/>
                  </a:lnTo>
                  <a:lnTo>
                    <a:pt x="722" y="1894"/>
                  </a:lnTo>
                  <a:lnTo>
                    <a:pt x="720" y="1894"/>
                  </a:lnTo>
                  <a:lnTo>
                    <a:pt x="724" y="1896"/>
                  </a:lnTo>
                  <a:lnTo>
                    <a:pt x="728" y="1898"/>
                  </a:lnTo>
                  <a:lnTo>
                    <a:pt x="726" y="1898"/>
                  </a:lnTo>
                  <a:lnTo>
                    <a:pt x="724" y="1902"/>
                  </a:lnTo>
                  <a:lnTo>
                    <a:pt x="726" y="1902"/>
                  </a:lnTo>
                  <a:lnTo>
                    <a:pt x="728" y="1904"/>
                  </a:lnTo>
                  <a:lnTo>
                    <a:pt x="728" y="1902"/>
                  </a:lnTo>
                  <a:lnTo>
                    <a:pt x="728" y="1904"/>
                  </a:lnTo>
                  <a:lnTo>
                    <a:pt x="729" y="1904"/>
                  </a:lnTo>
                  <a:lnTo>
                    <a:pt x="729" y="1906"/>
                  </a:lnTo>
                  <a:lnTo>
                    <a:pt x="731" y="1906"/>
                  </a:lnTo>
                  <a:lnTo>
                    <a:pt x="733" y="1904"/>
                  </a:lnTo>
                  <a:lnTo>
                    <a:pt x="731" y="1904"/>
                  </a:lnTo>
                  <a:lnTo>
                    <a:pt x="729" y="1904"/>
                  </a:lnTo>
                  <a:lnTo>
                    <a:pt x="729" y="1902"/>
                  </a:lnTo>
                  <a:lnTo>
                    <a:pt x="731" y="1900"/>
                  </a:lnTo>
                  <a:lnTo>
                    <a:pt x="729" y="1900"/>
                  </a:lnTo>
                  <a:lnTo>
                    <a:pt x="735" y="1902"/>
                  </a:lnTo>
                  <a:lnTo>
                    <a:pt x="733" y="1904"/>
                  </a:lnTo>
                  <a:lnTo>
                    <a:pt x="731" y="1906"/>
                  </a:lnTo>
                  <a:lnTo>
                    <a:pt x="733" y="1906"/>
                  </a:lnTo>
                  <a:lnTo>
                    <a:pt x="733" y="1908"/>
                  </a:lnTo>
                  <a:lnTo>
                    <a:pt x="733" y="1906"/>
                  </a:lnTo>
                  <a:lnTo>
                    <a:pt x="735" y="1906"/>
                  </a:lnTo>
                  <a:lnTo>
                    <a:pt x="733" y="1906"/>
                  </a:lnTo>
                  <a:lnTo>
                    <a:pt x="735" y="1906"/>
                  </a:lnTo>
                  <a:lnTo>
                    <a:pt x="735" y="1908"/>
                  </a:lnTo>
                  <a:lnTo>
                    <a:pt x="737" y="1908"/>
                  </a:lnTo>
                  <a:lnTo>
                    <a:pt x="737" y="1906"/>
                  </a:lnTo>
                  <a:lnTo>
                    <a:pt x="739" y="1904"/>
                  </a:lnTo>
                  <a:lnTo>
                    <a:pt x="737" y="1904"/>
                  </a:lnTo>
                  <a:lnTo>
                    <a:pt x="739" y="1904"/>
                  </a:lnTo>
                  <a:lnTo>
                    <a:pt x="745" y="1910"/>
                  </a:lnTo>
                  <a:lnTo>
                    <a:pt x="747" y="1910"/>
                  </a:lnTo>
                  <a:lnTo>
                    <a:pt x="749" y="1910"/>
                  </a:lnTo>
                  <a:lnTo>
                    <a:pt x="749" y="1912"/>
                  </a:lnTo>
                  <a:lnTo>
                    <a:pt x="751" y="1912"/>
                  </a:lnTo>
                  <a:lnTo>
                    <a:pt x="751" y="1913"/>
                  </a:lnTo>
                  <a:lnTo>
                    <a:pt x="753" y="1913"/>
                  </a:lnTo>
                  <a:lnTo>
                    <a:pt x="753" y="1915"/>
                  </a:lnTo>
                  <a:lnTo>
                    <a:pt x="754" y="1917"/>
                  </a:lnTo>
                  <a:lnTo>
                    <a:pt x="756" y="1917"/>
                  </a:lnTo>
                  <a:lnTo>
                    <a:pt x="754" y="1917"/>
                  </a:lnTo>
                  <a:lnTo>
                    <a:pt x="756" y="1917"/>
                  </a:lnTo>
                  <a:lnTo>
                    <a:pt x="754" y="1919"/>
                  </a:lnTo>
                  <a:lnTo>
                    <a:pt x="756" y="1917"/>
                  </a:lnTo>
                  <a:lnTo>
                    <a:pt x="756" y="1919"/>
                  </a:lnTo>
                  <a:lnTo>
                    <a:pt x="758" y="1919"/>
                  </a:lnTo>
                  <a:lnTo>
                    <a:pt x="760" y="1919"/>
                  </a:lnTo>
                  <a:lnTo>
                    <a:pt x="762" y="1921"/>
                  </a:lnTo>
                  <a:lnTo>
                    <a:pt x="764" y="1921"/>
                  </a:lnTo>
                  <a:lnTo>
                    <a:pt x="766" y="1923"/>
                  </a:lnTo>
                  <a:lnTo>
                    <a:pt x="768" y="1923"/>
                  </a:lnTo>
                  <a:lnTo>
                    <a:pt x="770" y="1925"/>
                  </a:lnTo>
                  <a:lnTo>
                    <a:pt x="772" y="1925"/>
                  </a:lnTo>
                  <a:lnTo>
                    <a:pt x="774" y="1925"/>
                  </a:lnTo>
                  <a:lnTo>
                    <a:pt x="776" y="1925"/>
                  </a:lnTo>
                  <a:lnTo>
                    <a:pt x="776" y="1927"/>
                  </a:lnTo>
                  <a:lnTo>
                    <a:pt x="777" y="1927"/>
                  </a:lnTo>
                  <a:lnTo>
                    <a:pt x="777" y="1925"/>
                  </a:lnTo>
                  <a:lnTo>
                    <a:pt x="777" y="1927"/>
                  </a:lnTo>
                  <a:lnTo>
                    <a:pt x="776" y="1927"/>
                  </a:lnTo>
                  <a:lnTo>
                    <a:pt x="774" y="1927"/>
                  </a:lnTo>
                  <a:lnTo>
                    <a:pt x="776" y="1927"/>
                  </a:lnTo>
                  <a:lnTo>
                    <a:pt x="777" y="1927"/>
                  </a:lnTo>
                  <a:lnTo>
                    <a:pt x="779" y="1927"/>
                  </a:lnTo>
                  <a:lnTo>
                    <a:pt x="779" y="1925"/>
                  </a:lnTo>
                  <a:lnTo>
                    <a:pt x="781" y="1925"/>
                  </a:lnTo>
                  <a:lnTo>
                    <a:pt x="783" y="1923"/>
                  </a:lnTo>
                  <a:lnTo>
                    <a:pt x="781" y="1925"/>
                  </a:lnTo>
                  <a:lnTo>
                    <a:pt x="779" y="1925"/>
                  </a:lnTo>
                  <a:lnTo>
                    <a:pt x="779" y="1927"/>
                  </a:lnTo>
                  <a:lnTo>
                    <a:pt x="777" y="1927"/>
                  </a:lnTo>
                  <a:lnTo>
                    <a:pt x="779" y="1927"/>
                  </a:lnTo>
                  <a:lnTo>
                    <a:pt x="777" y="1929"/>
                  </a:lnTo>
                  <a:lnTo>
                    <a:pt x="779" y="1929"/>
                  </a:lnTo>
                  <a:lnTo>
                    <a:pt x="779" y="1927"/>
                  </a:lnTo>
                  <a:lnTo>
                    <a:pt x="781" y="1925"/>
                  </a:lnTo>
                  <a:lnTo>
                    <a:pt x="783" y="1925"/>
                  </a:lnTo>
                  <a:lnTo>
                    <a:pt x="781" y="1925"/>
                  </a:lnTo>
                  <a:lnTo>
                    <a:pt x="781" y="1927"/>
                  </a:lnTo>
                  <a:lnTo>
                    <a:pt x="779" y="1929"/>
                  </a:lnTo>
                  <a:lnTo>
                    <a:pt x="781" y="1929"/>
                  </a:lnTo>
                  <a:lnTo>
                    <a:pt x="779" y="1929"/>
                  </a:lnTo>
                  <a:lnTo>
                    <a:pt x="781" y="1931"/>
                  </a:lnTo>
                  <a:lnTo>
                    <a:pt x="781" y="1933"/>
                  </a:lnTo>
                  <a:lnTo>
                    <a:pt x="783" y="1933"/>
                  </a:lnTo>
                  <a:lnTo>
                    <a:pt x="783" y="1935"/>
                  </a:lnTo>
                  <a:lnTo>
                    <a:pt x="791" y="1942"/>
                  </a:lnTo>
                  <a:lnTo>
                    <a:pt x="791" y="1944"/>
                  </a:lnTo>
                  <a:lnTo>
                    <a:pt x="795" y="1946"/>
                  </a:lnTo>
                  <a:lnTo>
                    <a:pt x="799" y="1952"/>
                  </a:lnTo>
                  <a:lnTo>
                    <a:pt x="800" y="1952"/>
                  </a:lnTo>
                  <a:lnTo>
                    <a:pt x="800" y="1954"/>
                  </a:lnTo>
                  <a:lnTo>
                    <a:pt x="802" y="1954"/>
                  </a:lnTo>
                  <a:lnTo>
                    <a:pt x="802" y="1956"/>
                  </a:lnTo>
                  <a:lnTo>
                    <a:pt x="804" y="1956"/>
                  </a:lnTo>
                  <a:lnTo>
                    <a:pt x="804" y="1958"/>
                  </a:lnTo>
                  <a:lnTo>
                    <a:pt x="806" y="1960"/>
                  </a:lnTo>
                  <a:lnTo>
                    <a:pt x="808" y="1960"/>
                  </a:lnTo>
                  <a:lnTo>
                    <a:pt x="808" y="1962"/>
                  </a:lnTo>
                  <a:lnTo>
                    <a:pt x="810" y="1962"/>
                  </a:lnTo>
                  <a:lnTo>
                    <a:pt x="810" y="1963"/>
                  </a:lnTo>
                  <a:lnTo>
                    <a:pt x="812" y="1963"/>
                  </a:lnTo>
                  <a:lnTo>
                    <a:pt x="812" y="1965"/>
                  </a:lnTo>
                  <a:lnTo>
                    <a:pt x="814" y="1965"/>
                  </a:lnTo>
                  <a:lnTo>
                    <a:pt x="816" y="1967"/>
                  </a:lnTo>
                  <a:lnTo>
                    <a:pt x="818" y="1967"/>
                  </a:lnTo>
                  <a:lnTo>
                    <a:pt x="816" y="1967"/>
                  </a:lnTo>
                  <a:lnTo>
                    <a:pt x="818" y="1969"/>
                  </a:lnTo>
                  <a:lnTo>
                    <a:pt x="820" y="1969"/>
                  </a:lnTo>
                  <a:lnTo>
                    <a:pt x="818" y="1969"/>
                  </a:lnTo>
                  <a:lnTo>
                    <a:pt x="818" y="1971"/>
                  </a:lnTo>
                  <a:lnTo>
                    <a:pt x="820" y="1971"/>
                  </a:lnTo>
                  <a:lnTo>
                    <a:pt x="818" y="1971"/>
                  </a:lnTo>
                  <a:lnTo>
                    <a:pt x="820" y="1971"/>
                  </a:lnTo>
                  <a:lnTo>
                    <a:pt x="824" y="1975"/>
                  </a:lnTo>
                  <a:lnTo>
                    <a:pt x="822" y="1973"/>
                  </a:lnTo>
                  <a:lnTo>
                    <a:pt x="820" y="1975"/>
                  </a:lnTo>
                  <a:lnTo>
                    <a:pt x="822" y="1975"/>
                  </a:lnTo>
                  <a:lnTo>
                    <a:pt x="824" y="1975"/>
                  </a:lnTo>
                  <a:lnTo>
                    <a:pt x="822" y="1975"/>
                  </a:lnTo>
                  <a:lnTo>
                    <a:pt x="822" y="1977"/>
                  </a:lnTo>
                  <a:lnTo>
                    <a:pt x="820" y="1977"/>
                  </a:lnTo>
                  <a:lnTo>
                    <a:pt x="820" y="1979"/>
                  </a:lnTo>
                  <a:lnTo>
                    <a:pt x="822" y="1979"/>
                  </a:lnTo>
                  <a:lnTo>
                    <a:pt x="822" y="1977"/>
                  </a:lnTo>
                  <a:lnTo>
                    <a:pt x="824" y="1975"/>
                  </a:lnTo>
                  <a:lnTo>
                    <a:pt x="824" y="1977"/>
                  </a:lnTo>
                  <a:lnTo>
                    <a:pt x="824" y="1979"/>
                  </a:lnTo>
                  <a:lnTo>
                    <a:pt x="825" y="1979"/>
                  </a:lnTo>
                  <a:lnTo>
                    <a:pt x="825" y="1981"/>
                  </a:lnTo>
                  <a:lnTo>
                    <a:pt x="825" y="1983"/>
                  </a:lnTo>
                  <a:lnTo>
                    <a:pt x="827" y="1983"/>
                  </a:lnTo>
                  <a:lnTo>
                    <a:pt x="827" y="1985"/>
                  </a:lnTo>
                  <a:lnTo>
                    <a:pt x="829" y="1986"/>
                  </a:lnTo>
                  <a:lnTo>
                    <a:pt x="829" y="1988"/>
                  </a:lnTo>
                  <a:lnTo>
                    <a:pt x="831" y="1988"/>
                  </a:lnTo>
                  <a:lnTo>
                    <a:pt x="831" y="1990"/>
                  </a:lnTo>
                  <a:lnTo>
                    <a:pt x="831" y="1992"/>
                  </a:lnTo>
                  <a:lnTo>
                    <a:pt x="833" y="1992"/>
                  </a:lnTo>
                  <a:lnTo>
                    <a:pt x="833" y="1994"/>
                  </a:lnTo>
                  <a:lnTo>
                    <a:pt x="835" y="1994"/>
                  </a:lnTo>
                  <a:lnTo>
                    <a:pt x="835" y="1996"/>
                  </a:lnTo>
                  <a:lnTo>
                    <a:pt x="835" y="1998"/>
                  </a:lnTo>
                  <a:lnTo>
                    <a:pt x="837" y="1998"/>
                  </a:lnTo>
                  <a:lnTo>
                    <a:pt x="837" y="2000"/>
                  </a:lnTo>
                  <a:lnTo>
                    <a:pt x="839" y="2000"/>
                  </a:lnTo>
                  <a:lnTo>
                    <a:pt x="837" y="2002"/>
                  </a:lnTo>
                  <a:lnTo>
                    <a:pt x="839" y="2002"/>
                  </a:lnTo>
                  <a:lnTo>
                    <a:pt x="839" y="2000"/>
                  </a:lnTo>
                  <a:lnTo>
                    <a:pt x="839" y="2002"/>
                  </a:lnTo>
                  <a:lnTo>
                    <a:pt x="841" y="2002"/>
                  </a:lnTo>
                  <a:lnTo>
                    <a:pt x="841" y="2004"/>
                  </a:lnTo>
                  <a:lnTo>
                    <a:pt x="843" y="2004"/>
                  </a:lnTo>
                  <a:lnTo>
                    <a:pt x="843" y="2006"/>
                  </a:lnTo>
                  <a:lnTo>
                    <a:pt x="845" y="2006"/>
                  </a:lnTo>
                  <a:lnTo>
                    <a:pt x="847" y="2006"/>
                  </a:lnTo>
                  <a:lnTo>
                    <a:pt x="847" y="2008"/>
                  </a:lnTo>
                  <a:lnTo>
                    <a:pt x="848" y="2008"/>
                  </a:lnTo>
                  <a:lnTo>
                    <a:pt x="850" y="2008"/>
                  </a:lnTo>
                  <a:lnTo>
                    <a:pt x="852" y="2006"/>
                  </a:lnTo>
                  <a:lnTo>
                    <a:pt x="850" y="2008"/>
                  </a:lnTo>
                  <a:lnTo>
                    <a:pt x="848" y="2010"/>
                  </a:lnTo>
                  <a:lnTo>
                    <a:pt x="848" y="2011"/>
                  </a:lnTo>
                  <a:lnTo>
                    <a:pt x="850" y="2011"/>
                  </a:lnTo>
                  <a:lnTo>
                    <a:pt x="850" y="2010"/>
                  </a:lnTo>
                  <a:lnTo>
                    <a:pt x="850" y="2008"/>
                  </a:lnTo>
                  <a:lnTo>
                    <a:pt x="852" y="2008"/>
                  </a:lnTo>
                  <a:lnTo>
                    <a:pt x="854" y="2011"/>
                  </a:lnTo>
                  <a:lnTo>
                    <a:pt x="856" y="2011"/>
                  </a:lnTo>
                  <a:lnTo>
                    <a:pt x="858" y="2011"/>
                  </a:lnTo>
                  <a:lnTo>
                    <a:pt x="858" y="2013"/>
                  </a:lnTo>
                  <a:lnTo>
                    <a:pt x="862" y="2013"/>
                  </a:lnTo>
                  <a:lnTo>
                    <a:pt x="864" y="2013"/>
                  </a:lnTo>
                  <a:lnTo>
                    <a:pt x="866" y="2015"/>
                  </a:lnTo>
                  <a:lnTo>
                    <a:pt x="868" y="2017"/>
                  </a:lnTo>
                  <a:lnTo>
                    <a:pt x="870" y="2019"/>
                  </a:lnTo>
                  <a:lnTo>
                    <a:pt x="870" y="2021"/>
                  </a:lnTo>
                  <a:lnTo>
                    <a:pt x="873" y="2023"/>
                  </a:lnTo>
                  <a:lnTo>
                    <a:pt x="875" y="2025"/>
                  </a:lnTo>
                  <a:lnTo>
                    <a:pt x="877" y="2027"/>
                  </a:lnTo>
                  <a:lnTo>
                    <a:pt x="879" y="2029"/>
                  </a:lnTo>
                  <a:lnTo>
                    <a:pt x="881" y="2031"/>
                  </a:lnTo>
                  <a:lnTo>
                    <a:pt x="883" y="2033"/>
                  </a:lnTo>
                  <a:lnTo>
                    <a:pt x="885" y="2033"/>
                  </a:lnTo>
                  <a:lnTo>
                    <a:pt x="885" y="2034"/>
                  </a:lnTo>
                  <a:lnTo>
                    <a:pt x="887" y="2034"/>
                  </a:lnTo>
                  <a:lnTo>
                    <a:pt x="889" y="2034"/>
                  </a:lnTo>
                  <a:lnTo>
                    <a:pt x="889" y="2036"/>
                  </a:lnTo>
                  <a:lnTo>
                    <a:pt x="889" y="2034"/>
                  </a:lnTo>
                  <a:lnTo>
                    <a:pt x="889" y="2036"/>
                  </a:lnTo>
                  <a:lnTo>
                    <a:pt x="891" y="2036"/>
                  </a:lnTo>
                  <a:lnTo>
                    <a:pt x="893" y="2036"/>
                  </a:lnTo>
                  <a:lnTo>
                    <a:pt x="895" y="2036"/>
                  </a:lnTo>
                  <a:lnTo>
                    <a:pt x="896" y="2036"/>
                  </a:lnTo>
                  <a:lnTo>
                    <a:pt x="898" y="2036"/>
                  </a:lnTo>
                  <a:lnTo>
                    <a:pt x="900" y="2036"/>
                  </a:lnTo>
                  <a:lnTo>
                    <a:pt x="902" y="2036"/>
                  </a:lnTo>
                  <a:lnTo>
                    <a:pt x="904" y="2036"/>
                  </a:lnTo>
                  <a:lnTo>
                    <a:pt x="904" y="2038"/>
                  </a:lnTo>
                  <a:lnTo>
                    <a:pt x="906" y="2038"/>
                  </a:lnTo>
                  <a:lnTo>
                    <a:pt x="908" y="2038"/>
                  </a:lnTo>
                  <a:lnTo>
                    <a:pt x="910" y="2038"/>
                  </a:lnTo>
                  <a:lnTo>
                    <a:pt x="912" y="2038"/>
                  </a:lnTo>
                  <a:lnTo>
                    <a:pt x="914" y="2038"/>
                  </a:lnTo>
                  <a:lnTo>
                    <a:pt x="916" y="2038"/>
                  </a:lnTo>
                  <a:lnTo>
                    <a:pt x="918" y="2038"/>
                  </a:lnTo>
                  <a:lnTo>
                    <a:pt x="919" y="2038"/>
                  </a:lnTo>
                  <a:lnTo>
                    <a:pt x="921" y="2038"/>
                  </a:lnTo>
                  <a:lnTo>
                    <a:pt x="923" y="2036"/>
                  </a:lnTo>
                  <a:lnTo>
                    <a:pt x="921" y="2038"/>
                  </a:lnTo>
                  <a:lnTo>
                    <a:pt x="923" y="2038"/>
                  </a:lnTo>
                  <a:lnTo>
                    <a:pt x="925" y="2038"/>
                  </a:lnTo>
                  <a:lnTo>
                    <a:pt x="925" y="2040"/>
                  </a:lnTo>
                  <a:lnTo>
                    <a:pt x="927" y="2038"/>
                  </a:lnTo>
                  <a:lnTo>
                    <a:pt x="929" y="2040"/>
                  </a:lnTo>
                  <a:lnTo>
                    <a:pt x="931" y="2040"/>
                  </a:lnTo>
                  <a:lnTo>
                    <a:pt x="933" y="2040"/>
                  </a:lnTo>
                  <a:lnTo>
                    <a:pt x="935" y="2040"/>
                  </a:lnTo>
                  <a:lnTo>
                    <a:pt x="937" y="2040"/>
                  </a:lnTo>
                  <a:lnTo>
                    <a:pt x="939" y="2040"/>
                  </a:lnTo>
                  <a:lnTo>
                    <a:pt x="941" y="2040"/>
                  </a:lnTo>
                  <a:lnTo>
                    <a:pt x="941" y="2038"/>
                  </a:lnTo>
                  <a:lnTo>
                    <a:pt x="943" y="2038"/>
                  </a:lnTo>
                  <a:lnTo>
                    <a:pt x="944" y="2038"/>
                  </a:lnTo>
                  <a:lnTo>
                    <a:pt x="944" y="2036"/>
                  </a:lnTo>
                  <a:lnTo>
                    <a:pt x="943" y="2034"/>
                  </a:lnTo>
                  <a:lnTo>
                    <a:pt x="944" y="2036"/>
                  </a:lnTo>
                  <a:lnTo>
                    <a:pt x="946" y="2036"/>
                  </a:lnTo>
                  <a:lnTo>
                    <a:pt x="946" y="2034"/>
                  </a:lnTo>
                  <a:lnTo>
                    <a:pt x="948" y="2031"/>
                  </a:lnTo>
                  <a:lnTo>
                    <a:pt x="946" y="2031"/>
                  </a:lnTo>
                  <a:lnTo>
                    <a:pt x="946" y="2029"/>
                  </a:lnTo>
                  <a:lnTo>
                    <a:pt x="946" y="2031"/>
                  </a:lnTo>
                  <a:lnTo>
                    <a:pt x="946" y="2029"/>
                  </a:lnTo>
                  <a:lnTo>
                    <a:pt x="948" y="2029"/>
                  </a:lnTo>
                  <a:lnTo>
                    <a:pt x="950" y="2029"/>
                  </a:lnTo>
                  <a:lnTo>
                    <a:pt x="952" y="2031"/>
                  </a:lnTo>
                  <a:lnTo>
                    <a:pt x="952" y="2033"/>
                  </a:lnTo>
                  <a:lnTo>
                    <a:pt x="950" y="2033"/>
                  </a:lnTo>
                  <a:lnTo>
                    <a:pt x="950" y="2034"/>
                  </a:lnTo>
                  <a:lnTo>
                    <a:pt x="950" y="2036"/>
                  </a:lnTo>
                  <a:lnTo>
                    <a:pt x="950" y="2038"/>
                  </a:lnTo>
                  <a:lnTo>
                    <a:pt x="952" y="2038"/>
                  </a:lnTo>
                  <a:lnTo>
                    <a:pt x="954" y="2038"/>
                  </a:lnTo>
                  <a:lnTo>
                    <a:pt x="956" y="2038"/>
                  </a:lnTo>
                  <a:lnTo>
                    <a:pt x="958" y="2038"/>
                  </a:lnTo>
                  <a:lnTo>
                    <a:pt x="956" y="2038"/>
                  </a:lnTo>
                  <a:lnTo>
                    <a:pt x="954" y="2038"/>
                  </a:lnTo>
                  <a:lnTo>
                    <a:pt x="952" y="2040"/>
                  </a:lnTo>
                  <a:lnTo>
                    <a:pt x="950" y="2040"/>
                  </a:lnTo>
                  <a:lnTo>
                    <a:pt x="950" y="2042"/>
                  </a:lnTo>
                  <a:lnTo>
                    <a:pt x="948" y="2040"/>
                  </a:lnTo>
                  <a:lnTo>
                    <a:pt x="948" y="2038"/>
                  </a:lnTo>
                  <a:lnTo>
                    <a:pt x="950" y="2038"/>
                  </a:lnTo>
                  <a:lnTo>
                    <a:pt x="948" y="2038"/>
                  </a:lnTo>
                  <a:lnTo>
                    <a:pt x="948" y="2040"/>
                  </a:lnTo>
                  <a:lnTo>
                    <a:pt x="948" y="2042"/>
                  </a:lnTo>
                  <a:lnTo>
                    <a:pt x="950" y="2042"/>
                  </a:lnTo>
                  <a:lnTo>
                    <a:pt x="950" y="2044"/>
                  </a:lnTo>
                  <a:lnTo>
                    <a:pt x="952" y="2044"/>
                  </a:lnTo>
                  <a:lnTo>
                    <a:pt x="952" y="2046"/>
                  </a:lnTo>
                  <a:lnTo>
                    <a:pt x="954" y="2046"/>
                  </a:lnTo>
                  <a:close/>
                  <a:moveTo>
                    <a:pt x="1062" y="1750"/>
                  </a:moveTo>
                  <a:lnTo>
                    <a:pt x="1060" y="1752"/>
                  </a:lnTo>
                  <a:lnTo>
                    <a:pt x="1058" y="1752"/>
                  </a:lnTo>
                  <a:lnTo>
                    <a:pt x="1058" y="1754"/>
                  </a:lnTo>
                  <a:lnTo>
                    <a:pt x="1056" y="1754"/>
                  </a:lnTo>
                  <a:lnTo>
                    <a:pt x="1056" y="1756"/>
                  </a:lnTo>
                  <a:lnTo>
                    <a:pt x="1054" y="1756"/>
                  </a:lnTo>
                  <a:lnTo>
                    <a:pt x="1052" y="1758"/>
                  </a:lnTo>
                  <a:lnTo>
                    <a:pt x="1050" y="1758"/>
                  </a:lnTo>
                  <a:lnTo>
                    <a:pt x="1050" y="1756"/>
                  </a:lnTo>
                  <a:lnTo>
                    <a:pt x="1052" y="1754"/>
                  </a:lnTo>
                  <a:lnTo>
                    <a:pt x="1054" y="1754"/>
                  </a:lnTo>
                  <a:lnTo>
                    <a:pt x="1054" y="1752"/>
                  </a:lnTo>
                  <a:lnTo>
                    <a:pt x="1056" y="1752"/>
                  </a:lnTo>
                  <a:lnTo>
                    <a:pt x="1056" y="1750"/>
                  </a:lnTo>
                  <a:lnTo>
                    <a:pt x="1058" y="1750"/>
                  </a:lnTo>
                  <a:lnTo>
                    <a:pt x="1058" y="1748"/>
                  </a:lnTo>
                  <a:lnTo>
                    <a:pt x="1060" y="1748"/>
                  </a:lnTo>
                  <a:lnTo>
                    <a:pt x="1062" y="1748"/>
                  </a:lnTo>
                  <a:lnTo>
                    <a:pt x="1063" y="1748"/>
                  </a:lnTo>
                  <a:lnTo>
                    <a:pt x="1063" y="1750"/>
                  </a:lnTo>
                  <a:lnTo>
                    <a:pt x="1062" y="1750"/>
                  </a:lnTo>
                  <a:close/>
                  <a:moveTo>
                    <a:pt x="639" y="1714"/>
                  </a:moveTo>
                  <a:lnTo>
                    <a:pt x="637" y="1714"/>
                  </a:lnTo>
                  <a:lnTo>
                    <a:pt x="639" y="1714"/>
                  </a:lnTo>
                  <a:lnTo>
                    <a:pt x="641" y="1714"/>
                  </a:lnTo>
                  <a:lnTo>
                    <a:pt x="639" y="1714"/>
                  </a:lnTo>
                  <a:close/>
                  <a:moveTo>
                    <a:pt x="1852" y="1328"/>
                  </a:moveTo>
                  <a:lnTo>
                    <a:pt x="1854" y="1328"/>
                  </a:lnTo>
                  <a:lnTo>
                    <a:pt x="1854" y="1330"/>
                  </a:lnTo>
                  <a:lnTo>
                    <a:pt x="1850" y="1330"/>
                  </a:lnTo>
                  <a:lnTo>
                    <a:pt x="1852" y="1328"/>
                  </a:lnTo>
                  <a:close/>
                  <a:moveTo>
                    <a:pt x="1791" y="1272"/>
                  </a:moveTo>
                  <a:lnTo>
                    <a:pt x="1789" y="1272"/>
                  </a:lnTo>
                  <a:lnTo>
                    <a:pt x="1787" y="1272"/>
                  </a:lnTo>
                  <a:lnTo>
                    <a:pt x="1787" y="1270"/>
                  </a:lnTo>
                  <a:lnTo>
                    <a:pt x="1789" y="1270"/>
                  </a:lnTo>
                  <a:lnTo>
                    <a:pt x="1791" y="1270"/>
                  </a:lnTo>
                  <a:lnTo>
                    <a:pt x="1791" y="1272"/>
                  </a:lnTo>
                  <a:close/>
                  <a:moveTo>
                    <a:pt x="1797" y="1270"/>
                  </a:moveTo>
                  <a:lnTo>
                    <a:pt x="1799" y="1270"/>
                  </a:lnTo>
                  <a:lnTo>
                    <a:pt x="1804" y="1270"/>
                  </a:lnTo>
                  <a:lnTo>
                    <a:pt x="1808" y="1274"/>
                  </a:lnTo>
                  <a:lnTo>
                    <a:pt x="1806" y="1276"/>
                  </a:lnTo>
                  <a:lnTo>
                    <a:pt x="1806" y="1278"/>
                  </a:lnTo>
                  <a:lnTo>
                    <a:pt x="1806" y="1276"/>
                  </a:lnTo>
                  <a:lnTo>
                    <a:pt x="1797" y="1274"/>
                  </a:lnTo>
                  <a:lnTo>
                    <a:pt x="1797" y="1272"/>
                  </a:lnTo>
                  <a:lnTo>
                    <a:pt x="1797" y="1270"/>
                  </a:lnTo>
                  <a:lnTo>
                    <a:pt x="1799" y="1268"/>
                  </a:lnTo>
                  <a:lnTo>
                    <a:pt x="1799" y="1270"/>
                  </a:lnTo>
                  <a:lnTo>
                    <a:pt x="1797" y="1270"/>
                  </a:lnTo>
                  <a:close/>
                  <a:moveTo>
                    <a:pt x="1795" y="1264"/>
                  </a:moveTo>
                  <a:lnTo>
                    <a:pt x="1797" y="1264"/>
                  </a:lnTo>
                  <a:lnTo>
                    <a:pt x="1797" y="1266"/>
                  </a:lnTo>
                  <a:lnTo>
                    <a:pt x="1795" y="1266"/>
                  </a:lnTo>
                  <a:lnTo>
                    <a:pt x="1795" y="1264"/>
                  </a:lnTo>
                  <a:close/>
                  <a:moveTo>
                    <a:pt x="1779" y="1253"/>
                  </a:moveTo>
                  <a:lnTo>
                    <a:pt x="1777" y="1253"/>
                  </a:lnTo>
                  <a:lnTo>
                    <a:pt x="1775" y="1253"/>
                  </a:lnTo>
                  <a:lnTo>
                    <a:pt x="1777" y="1251"/>
                  </a:lnTo>
                  <a:lnTo>
                    <a:pt x="1779" y="1253"/>
                  </a:lnTo>
                  <a:close/>
                  <a:moveTo>
                    <a:pt x="1668" y="1232"/>
                  </a:moveTo>
                  <a:lnTo>
                    <a:pt x="1670" y="1232"/>
                  </a:lnTo>
                  <a:lnTo>
                    <a:pt x="1668" y="1232"/>
                  </a:lnTo>
                  <a:lnTo>
                    <a:pt x="1668" y="1234"/>
                  </a:lnTo>
                  <a:lnTo>
                    <a:pt x="1668" y="1232"/>
                  </a:lnTo>
                  <a:lnTo>
                    <a:pt x="1666" y="1232"/>
                  </a:lnTo>
                  <a:lnTo>
                    <a:pt x="1666" y="1234"/>
                  </a:lnTo>
                  <a:lnTo>
                    <a:pt x="1668" y="1234"/>
                  </a:lnTo>
                  <a:lnTo>
                    <a:pt x="1666" y="1234"/>
                  </a:lnTo>
                  <a:lnTo>
                    <a:pt x="1666" y="1232"/>
                  </a:lnTo>
                  <a:lnTo>
                    <a:pt x="1668" y="1232"/>
                  </a:lnTo>
                  <a:close/>
                  <a:moveTo>
                    <a:pt x="1564" y="1193"/>
                  </a:moveTo>
                  <a:lnTo>
                    <a:pt x="1564" y="1195"/>
                  </a:lnTo>
                  <a:lnTo>
                    <a:pt x="1566" y="1195"/>
                  </a:lnTo>
                  <a:lnTo>
                    <a:pt x="1568" y="1195"/>
                  </a:lnTo>
                  <a:lnTo>
                    <a:pt x="1568" y="1197"/>
                  </a:lnTo>
                  <a:lnTo>
                    <a:pt x="1566" y="1197"/>
                  </a:lnTo>
                  <a:lnTo>
                    <a:pt x="1566" y="1199"/>
                  </a:lnTo>
                  <a:lnTo>
                    <a:pt x="1564" y="1199"/>
                  </a:lnTo>
                  <a:lnTo>
                    <a:pt x="1564" y="1197"/>
                  </a:lnTo>
                  <a:lnTo>
                    <a:pt x="1564" y="1195"/>
                  </a:lnTo>
                  <a:lnTo>
                    <a:pt x="1562" y="1193"/>
                  </a:lnTo>
                  <a:lnTo>
                    <a:pt x="1561" y="1193"/>
                  </a:lnTo>
                  <a:lnTo>
                    <a:pt x="1562" y="1193"/>
                  </a:lnTo>
                  <a:lnTo>
                    <a:pt x="1564" y="1193"/>
                  </a:lnTo>
                  <a:close/>
                  <a:moveTo>
                    <a:pt x="1622" y="1187"/>
                  </a:moveTo>
                  <a:lnTo>
                    <a:pt x="1624" y="1187"/>
                  </a:lnTo>
                  <a:lnTo>
                    <a:pt x="1626" y="1189"/>
                  </a:lnTo>
                  <a:lnTo>
                    <a:pt x="1624" y="1191"/>
                  </a:lnTo>
                  <a:lnTo>
                    <a:pt x="1624" y="1189"/>
                  </a:lnTo>
                  <a:lnTo>
                    <a:pt x="1622" y="1187"/>
                  </a:lnTo>
                  <a:lnTo>
                    <a:pt x="1620" y="1187"/>
                  </a:lnTo>
                  <a:lnTo>
                    <a:pt x="1620" y="1185"/>
                  </a:lnTo>
                  <a:lnTo>
                    <a:pt x="1618" y="1184"/>
                  </a:lnTo>
                  <a:lnTo>
                    <a:pt x="1620" y="1185"/>
                  </a:lnTo>
                  <a:lnTo>
                    <a:pt x="1622" y="1185"/>
                  </a:lnTo>
                  <a:lnTo>
                    <a:pt x="1622" y="1187"/>
                  </a:lnTo>
                  <a:close/>
                  <a:moveTo>
                    <a:pt x="1601" y="1187"/>
                  </a:moveTo>
                  <a:lnTo>
                    <a:pt x="1601" y="1185"/>
                  </a:lnTo>
                  <a:lnTo>
                    <a:pt x="1607" y="1185"/>
                  </a:lnTo>
                  <a:lnTo>
                    <a:pt x="1607" y="1184"/>
                  </a:lnTo>
                  <a:lnTo>
                    <a:pt x="1609" y="1184"/>
                  </a:lnTo>
                  <a:lnTo>
                    <a:pt x="1607" y="1184"/>
                  </a:lnTo>
                  <a:lnTo>
                    <a:pt x="1607" y="1185"/>
                  </a:lnTo>
                  <a:lnTo>
                    <a:pt x="1603" y="1185"/>
                  </a:lnTo>
                  <a:lnTo>
                    <a:pt x="1601" y="1185"/>
                  </a:lnTo>
                  <a:lnTo>
                    <a:pt x="1601" y="1187"/>
                  </a:lnTo>
                  <a:close/>
                  <a:moveTo>
                    <a:pt x="1539" y="1184"/>
                  </a:moveTo>
                  <a:lnTo>
                    <a:pt x="1537" y="1184"/>
                  </a:lnTo>
                  <a:lnTo>
                    <a:pt x="1536" y="1182"/>
                  </a:lnTo>
                  <a:lnTo>
                    <a:pt x="1534" y="1182"/>
                  </a:lnTo>
                  <a:lnTo>
                    <a:pt x="1534" y="1180"/>
                  </a:lnTo>
                  <a:lnTo>
                    <a:pt x="1532" y="1180"/>
                  </a:lnTo>
                  <a:lnTo>
                    <a:pt x="1532" y="1178"/>
                  </a:lnTo>
                  <a:lnTo>
                    <a:pt x="1534" y="1178"/>
                  </a:lnTo>
                  <a:lnTo>
                    <a:pt x="1537" y="1180"/>
                  </a:lnTo>
                  <a:lnTo>
                    <a:pt x="1537" y="1182"/>
                  </a:lnTo>
                  <a:lnTo>
                    <a:pt x="1539" y="1184"/>
                  </a:lnTo>
                  <a:close/>
                  <a:moveTo>
                    <a:pt x="1559" y="1176"/>
                  </a:moveTo>
                  <a:lnTo>
                    <a:pt x="1559" y="1178"/>
                  </a:lnTo>
                  <a:lnTo>
                    <a:pt x="1559" y="1176"/>
                  </a:lnTo>
                  <a:lnTo>
                    <a:pt x="1559" y="1174"/>
                  </a:lnTo>
                  <a:lnTo>
                    <a:pt x="1562" y="1174"/>
                  </a:lnTo>
                  <a:lnTo>
                    <a:pt x="1562" y="1176"/>
                  </a:lnTo>
                  <a:lnTo>
                    <a:pt x="1561" y="1176"/>
                  </a:lnTo>
                  <a:lnTo>
                    <a:pt x="1559" y="1176"/>
                  </a:lnTo>
                  <a:close/>
                  <a:moveTo>
                    <a:pt x="1532" y="1174"/>
                  </a:moveTo>
                  <a:lnTo>
                    <a:pt x="1530" y="1174"/>
                  </a:lnTo>
                  <a:lnTo>
                    <a:pt x="1526" y="1170"/>
                  </a:lnTo>
                  <a:lnTo>
                    <a:pt x="1524" y="1168"/>
                  </a:lnTo>
                  <a:lnTo>
                    <a:pt x="1526" y="1166"/>
                  </a:lnTo>
                  <a:lnTo>
                    <a:pt x="1528" y="1170"/>
                  </a:lnTo>
                  <a:lnTo>
                    <a:pt x="1532" y="1174"/>
                  </a:lnTo>
                  <a:close/>
                  <a:moveTo>
                    <a:pt x="1591" y="1157"/>
                  </a:moveTo>
                  <a:lnTo>
                    <a:pt x="1595" y="1157"/>
                  </a:lnTo>
                  <a:lnTo>
                    <a:pt x="1595" y="1159"/>
                  </a:lnTo>
                  <a:lnTo>
                    <a:pt x="1591" y="1159"/>
                  </a:lnTo>
                  <a:lnTo>
                    <a:pt x="1591" y="1157"/>
                  </a:lnTo>
                  <a:close/>
                  <a:moveTo>
                    <a:pt x="1522" y="1153"/>
                  </a:moveTo>
                  <a:lnTo>
                    <a:pt x="1524" y="1153"/>
                  </a:lnTo>
                  <a:lnTo>
                    <a:pt x="1524" y="1155"/>
                  </a:lnTo>
                  <a:lnTo>
                    <a:pt x="1526" y="1155"/>
                  </a:lnTo>
                  <a:lnTo>
                    <a:pt x="1524" y="1157"/>
                  </a:lnTo>
                  <a:lnTo>
                    <a:pt x="1526" y="1157"/>
                  </a:lnTo>
                  <a:lnTo>
                    <a:pt x="1524" y="1157"/>
                  </a:lnTo>
                  <a:lnTo>
                    <a:pt x="1524" y="1159"/>
                  </a:lnTo>
                  <a:lnTo>
                    <a:pt x="1522" y="1159"/>
                  </a:lnTo>
                  <a:lnTo>
                    <a:pt x="1522" y="1161"/>
                  </a:lnTo>
                  <a:lnTo>
                    <a:pt x="1524" y="1161"/>
                  </a:lnTo>
                  <a:lnTo>
                    <a:pt x="1526" y="1159"/>
                  </a:lnTo>
                  <a:lnTo>
                    <a:pt x="1528" y="1159"/>
                  </a:lnTo>
                  <a:lnTo>
                    <a:pt x="1530" y="1161"/>
                  </a:lnTo>
                  <a:lnTo>
                    <a:pt x="1532" y="1161"/>
                  </a:lnTo>
                  <a:lnTo>
                    <a:pt x="1534" y="1162"/>
                  </a:lnTo>
                  <a:lnTo>
                    <a:pt x="1536" y="1164"/>
                  </a:lnTo>
                  <a:lnTo>
                    <a:pt x="1536" y="1166"/>
                  </a:lnTo>
                  <a:lnTo>
                    <a:pt x="1537" y="1166"/>
                  </a:lnTo>
                  <a:lnTo>
                    <a:pt x="1537" y="1168"/>
                  </a:lnTo>
                  <a:lnTo>
                    <a:pt x="1539" y="1168"/>
                  </a:lnTo>
                  <a:lnTo>
                    <a:pt x="1539" y="1170"/>
                  </a:lnTo>
                  <a:lnTo>
                    <a:pt x="1541" y="1170"/>
                  </a:lnTo>
                  <a:lnTo>
                    <a:pt x="1543" y="1170"/>
                  </a:lnTo>
                  <a:lnTo>
                    <a:pt x="1547" y="1168"/>
                  </a:lnTo>
                  <a:lnTo>
                    <a:pt x="1551" y="1166"/>
                  </a:lnTo>
                  <a:lnTo>
                    <a:pt x="1551" y="1168"/>
                  </a:lnTo>
                  <a:lnTo>
                    <a:pt x="1551" y="1170"/>
                  </a:lnTo>
                  <a:lnTo>
                    <a:pt x="1549" y="1170"/>
                  </a:lnTo>
                  <a:lnTo>
                    <a:pt x="1547" y="1170"/>
                  </a:lnTo>
                  <a:lnTo>
                    <a:pt x="1547" y="1172"/>
                  </a:lnTo>
                  <a:lnTo>
                    <a:pt x="1549" y="1174"/>
                  </a:lnTo>
                  <a:lnTo>
                    <a:pt x="1549" y="1176"/>
                  </a:lnTo>
                  <a:lnTo>
                    <a:pt x="1545" y="1178"/>
                  </a:lnTo>
                  <a:lnTo>
                    <a:pt x="1545" y="1180"/>
                  </a:lnTo>
                  <a:lnTo>
                    <a:pt x="1543" y="1182"/>
                  </a:lnTo>
                  <a:lnTo>
                    <a:pt x="1541" y="1182"/>
                  </a:lnTo>
                  <a:lnTo>
                    <a:pt x="1539" y="1182"/>
                  </a:lnTo>
                  <a:lnTo>
                    <a:pt x="1536" y="1178"/>
                  </a:lnTo>
                  <a:lnTo>
                    <a:pt x="1536" y="1176"/>
                  </a:lnTo>
                  <a:lnTo>
                    <a:pt x="1534" y="1176"/>
                  </a:lnTo>
                  <a:lnTo>
                    <a:pt x="1534" y="1174"/>
                  </a:lnTo>
                  <a:lnTo>
                    <a:pt x="1532" y="1174"/>
                  </a:lnTo>
                  <a:lnTo>
                    <a:pt x="1532" y="1172"/>
                  </a:lnTo>
                  <a:lnTo>
                    <a:pt x="1530" y="1170"/>
                  </a:lnTo>
                  <a:lnTo>
                    <a:pt x="1528" y="1168"/>
                  </a:lnTo>
                  <a:lnTo>
                    <a:pt x="1526" y="1166"/>
                  </a:lnTo>
                  <a:lnTo>
                    <a:pt x="1524" y="1166"/>
                  </a:lnTo>
                  <a:lnTo>
                    <a:pt x="1522" y="1164"/>
                  </a:lnTo>
                  <a:lnTo>
                    <a:pt x="1522" y="1162"/>
                  </a:lnTo>
                  <a:lnTo>
                    <a:pt x="1524" y="1164"/>
                  </a:lnTo>
                  <a:lnTo>
                    <a:pt x="1526" y="1164"/>
                  </a:lnTo>
                  <a:lnTo>
                    <a:pt x="1524" y="1162"/>
                  </a:lnTo>
                  <a:lnTo>
                    <a:pt x="1522" y="1161"/>
                  </a:lnTo>
                  <a:lnTo>
                    <a:pt x="1520" y="1159"/>
                  </a:lnTo>
                  <a:lnTo>
                    <a:pt x="1520" y="1161"/>
                  </a:lnTo>
                  <a:lnTo>
                    <a:pt x="1518" y="1161"/>
                  </a:lnTo>
                  <a:lnTo>
                    <a:pt x="1516" y="1162"/>
                  </a:lnTo>
                  <a:lnTo>
                    <a:pt x="1516" y="1161"/>
                  </a:lnTo>
                  <a:lnTo>
                    <a:pt x="1516" y="1159"/>
                  </a:lnTo>
                  <a:lnTo>
                    <a:pt x="1514" y="1161"/>
                  </a:lnTo>
                  <a:lnTo>
                    <a:pt x="1516" y="1159"/>
                  </a:lnTo>
                  <a:lnTo>
                    <a:pt x="1514" y="1159"/>
                  </a:lnTo>
                  <a:lnTo>
                    <a:pt x="1513" y="1159"/>
                  </a:lnTo>
                  <a:lnTo>
                    <a:pt x="1513" y="1157"/>
                  </a:lnTo>
                  <a:lnTo>
                    <a:pt x="1514" y="1155"/>
                  </a:lnTo>
                  <a:lnTo>
                    <a:pt x="1514" y="1153"/>
                  </a:lnTo>
                  <a:lnTo>
                    <a:pt x="1516" y="1153"/>
                  </a:lnTo>
                  <a:lnTo>
                    <a:pt x="1518" y="1155"/>
                  </a:lnTo>
                  <a:lnTo>
                    <a:pt x="1520" y="1153"/>
                  </a:lnTo>
                  <a:lnTo>
                    <a:pt x="1520" y="1155"/>
                  </a:lnTo>
                  <a:lnTo>
                    <a:pt x="1518" y="1155"/>
                  </a:lnTo>
                  <a:lnTo>
                    <a:pt x="1522" y="1159"/>
                  </a:lnTo>
                  <a:lnTo>
                    <a:pt x="1522" y="1157"/>
                  </a:lnTo>
                  <a:lnTo>
                    <a:pt x="1524" y="1157"/>
                  </a:lnTo>
                  <a:lnTo>
                    <a:pt x="1522" y="1155"/>
                  </a:lnTo>
                  <a:lnTo>
                    <a:pt x="1522" y="1153"/>
                  </a:lnTo>
                  <a:lnTo>
                    <a:pt x="1520" y="1155"/>
                  </a:lnTo>
                  <a:lnTo>
                    <a:pt x="1520" y="1153"/>
                  </a:lnTo>
                  <a:lnTo>
                    <a:pt x="1522" y="1153"/>
                  </a:lnTo>
                  <a:lnTo>
                    <a:pt x="1520" y="1153"/>
                  </a:lnTo>
                  <a:lnTo>
                    <a:pt x="1522" y="1153"/>
                  </a:lnTo>
                  <a:close/>
                  <a:moveTo>
                    <a:pt x="1547" y="1151"/>
                  </a:moveTo>
                  <a:lnTo>
                    <a:pt x="1545" y="1151"/>
                  </a:lnTo>
                  <a:lnTo>
                    <a:pt x="1536" y="1153"/>
                  </a:lnTo>
                  <a:lnTo>
                    <a:pt x="1536" y="1151"/>
                  </a:lnTo>
                  <a:lnTo>
                    <a:pt x="1537" y="1151"/>
                  </a:lnTo>
                  <a:lnTo>
                    <a:pt x="1547" y="1151"/>
                  </a:lnTo>
                  <a:close/>
                  <a:moveTo>
                    <a:pt x="1545" y="1143"/>
                  </a:moveTo>
                  <a:lnTo>
                    <a:pt x="1547" y="1143"/>
                  </a:lnTo>
                  <a:lnTo>
                    <a:pt x="1547" y="1145"/>
                  </a:lnTo>
                  <a:lnTo>
                    <a:pt x="1545" y="1145"/>
                  </a:lnTo>
                  <a:lnTo>
                    <a:pt x="1545" y="1143"/>
                  </a:lnTo>
                  <a:close/>
                  <a:moveTo>
                    <a:pt x="1480" y="1132"/>
                  </a:moveTo>
                  <a:lnTo>
                    <a:pt x="1480" y="1134"/>
                  </a:lnTo>
                  <a:lnTo>
                    <a:pt x="1478" y="1132"/>
                  </a:lnTo>
                  <a:lnTo>
                    <a:pt x="1476" y="1132"/>
                  </a:lnTo>
                  <a:lnTo>
                    <a:pt x="1474" y="1132"/>
                  </a:lnTo>
                  <a:lnTo>
                    <a:pt x="1472" y="1130"/>
                  </a:lnTo>
                  <a:lnTo>
                    <a:pt x="1470" y="1130"/>
                  </a:lnTo>
                  <a:lnTo>
                    <a:pt x="1468" y="1130"/>
                  </a:lnTo>
                  <a:lnTo>
                    <a:pt x="1468" y="1128"/>
                  </a:lnTo>
                  <a:lnTo>
                    <a:pt x="1466" y="1130"/>
                  </a:lnTo>
                  <a:lnTo>
                    <a:pt x="1466" y="1128"/>
                  </a:lnTo>
                  <a:lnTo>
                    <a:pt x="1466" y="1130"/>
                  </a:lnTo>
                  <a:lnTo>
                    <a:pt x="1466" y="1128"/>
                  </a:lnTo>
                  <a:lnTo>
                    <a:pt x="1470" y="1128"/>
                  </a:lnTo>
                  <a:lnTo>
                    <a:pt x="1472" y="1128"/>
                  </a:lnTo>
                  <a:lnTo>
                    <a:pt x="1472" y="1130"/>
                  </a:lnTo>
                  <a:lnTo>
                    <a:pt x="1474" y="1130"/>
                  </a:lnTo>
                  <a:lnTo>
                    <a:pt x="1476" y="1130"/>
                  </a:lnTo>
                  <a:lnTo>
                    <a:pt x="1478" y="1130"/>
                  </a:lnTo>
                  <a:lnTo>
                    <a:pt x="1478" y="1132"/>
                  </a:lnTo>
                  <a:lnTo>
                    <a:pt x="1480" y="1132"/>
                  </a:lnTo>
                  <a:close/>
                  <a:moveTo>
                    <a:pt x="1555" y="1128"/>
                  </a:moveTo>
                  <a:lnTo>
                    <a:pt x="1553" y="1132"/>
                  </a:lnTo>
                  <a:lnTo>
                    <a:pt x="1551" y="1134"/>
                  </a:lnTo>
                  <a:lnTo>
                    <a:pt x="1549" y="1139"/>
                  </a:lnTo>
                  <a:lnTo>
                    <a:pt x="1547" y="1141"/>
                  </a:lnTo>
                  <a:lnTo>
                    <a:pt x="1547" y="1139"/>
                  </a:lnTo>
                  <a:lnTo>
                    <a:pt x="1549" y="1139"/>
                  </a:lnTo>
                  <a:lnTo>
                    <a:pt x="1547" y="1137"/>
                  </a:lnTo>
                  <a:lnTo>
                    <a:pt x="1549" y="1137"/>
                  </a:lnTo>
                  <a:lnTo>
                    <a:pt x="1549" y="1136"/>
                  </a:lnTo>
                  <a:lnTo>
                    <a:pt x="1549" y="1137"/>
                  </a:lnTo>
                  <a:lnTo>
                    <a:pt x="1549" y="1136"/>
                  </a:lnTo>
                  <a:lnTo>
                    <a:pt x="1551" y="1134"/>
                  </a:lnTo>
                  <a:lnTo>
                    <a:pt x="1551" y="1132"/>
                  </a:lnTo>
                  <a:lnTo>
                    <a:pt x="1551" y="1130"/>
                  </a:lnTo>
                  <a:lnTo>
                    <a:pt x="1553" y="1130"/>
                  </a:lnTo>
                  <a:lnTo>
                    <a:pt x="1553" y="1128"/>
                  </a:lnTo>
                  <a:lnTo>
                    <a:pt x="1555" y="1128"/>
                  </a:lnTo>
                  <a:lnTo>
                    <a:pt x="1557" y="1126"/>
                  </a:lnTo>
                  <a:lnTo>
                    <a:pt x="1557" y="1124"/>
                  </a:lnTo>
                  <a:lnTo>
                    <a:pt x="1555" y="1128"/>
                  </a:lnTo>
                  <a:close/>
                  <a:moveTo>
                    <a:pt x="1443" y="1107"/>
                  </a:moveTo>
                  <a:lnTo>
                    <a:pt x="1443" y="1109"/>
                  </a:lnTo>
                  <a:lnTo>
                    <a:pt x="1443" y="1107"/>
                  </a:lnTo>
                  <a:close/>
                  <a:moveTo>
                    <a:pt x="1449" y="1101"/>
                  </a:moveTo>
                  <a:lnTo>
                    <a:pt x="1451" y="1101"/>
                  </a:lnTo>
                  <a:lnTo>
                    <a:pt x="1449" y="1101"/>
                  </a:lnTo>
                  <a:close/>
                  <a:moveTo>
                    <a:pt x="1480" y="1132"/>
                  </a:moveTo>
                  <a:lnTo>
                    <a:pt x="1482" y="1132"/>
                  </a:lnTo>
                  <a:lnTo>
                    <a:pt x="1484" y="1132"/>
                  </a:lnTo>
                  <a:lnTo>
                    <a:pt x="1484" y="1134"/>
                  </a:lnTo>
                  <a:lnTo>
                    <a:pt x="1484" y="1132"/>
                  </a:lnTo>
                  <a:lnTo>
                    <a:pt x="1484" y="1134"/>
                  </a:lnTo>
                  <a:lnTo>
                    <a:pt x="1484" y="1132"/>
                  </a:lnTo>
                  <a:lnTo>
                    <a:pt x="1486" y="1132"/>
                  </a:lnTo>
                  <a:lnTo>
                    <a:pt x="1488" y="1132"/>
                  </a:lnTo>
                  <a:lnTo>
                    <a:pt x="1490" y="1134"/>
                  </a:lnTo>
                  <a:lnTo>
                    <a:pt x="1490" y="1132"/>
                  </a:lnTo>
                  <a:lnTo>
                    <a:pt x="1491" y="1134"/>
                  </a:lnTo>
                  <a:lnTo>
                    <a:pt x="1491" y="1136"/>
                  </a:lnTo>
                  <a:lnTo>
                    <a:pt x="1490" y="1134"/>
                  </a:lnTo>
                  <a:lnTo>
                    <a:pt x="1488" y="1134"/>
                  </a:lnTo>
                  <a:lnTo>
                    <a:pt x="1488" y="1136"/>
                  </a:lnTo>
                  <a:lnTo>
                    <a:pt x="1486" y="1134"/>
                  </a:lnTo>
                  <a:lnTo>
                    <a:pt x="1484" y="1134"/>
                  </a:lnTo>
                  <a:lnTo>
                    <a:pt x="1484" y="1136"/>
                  </a:lnTo>
                  <a:lnTo>
                    <a:pt x="1484" y="1137"/>
                  </a:lnTo>
                  <a:lnTo>
                    <a:pt x="1486" y="1137"/>
                  </a:lnTo>
                  <a:lnTo>
                    <a:pt x="1488" y="1137"/>
                  </a:lnTo>
                  <a:lnTo>
                    <a:pt x="1491" y="1136"/>
                  </a:lnTo>
                  <a:lnTo>
                    <a:pt x="1491" y="1137"/>
                  </a:lnTo>
                  <a:lnTo>
                    <a:pt x="1491" y="1139"/>
                  </a:lnTo>
                  <a:lnTo>
                    <a:pt x="1490" y="1139"/>
                  </a:lnTo>
                  <a:lnTo>
                    <a:pt x="1486" y="1139"/>
                  </a:lnTo>
                  <a:lnTo>
                    <a:pt x="1484" y="1139"/>
                  </a:lnTo>
                  <a:lnTo>
                    <a:pt x="1484" y="1141"/>
                  </a:lnTo>
                  <a:lnTo>
                    <a:pt x="1486" y="1141"/>
                  </a:lnTo>
                  <a:lnTo>
                    <a:pt x="1490" y="1141"/>
                  </a:lnTo>
                  <a:lnTo>
                    <a:pt x="1490" y="1139"/>
                  </a:lnTo>
                  <a:lnTo>
                    <a:pt x="1491" y="1139"/>
                  </a:lnTo>
                  <a:lnTo>
                    <a:pt x="1493" y="1139"/>
                  </a:lnTo>
                  <a:lnTo>
                    <a:pt x="1495" y="1141"/>
                  </a:lnTo>
                  <a:lnTo>
                    <a:pt x="1493" y="1141"/>
                  </a:lnTo>
                  <a:lnTo>
                    <a:pt x="1491" y="1141"/>
                  </a:lnTo>
                  <a:lnTo>
                    <a:pt x="1490" y="1141"/>
                  </a:lnTo>
                  <a:lnTo>
                    <a:pt x="1486" y="1143"/>
                  </a:lnTo>
                  <a:lnTo>
                    <a:pt x="1484" y="1143"/>
                  </a:lnTo>
                  <a:lnTo>
                    <a:pt x="1482" y="1143"/>
                  </a:lnTo>
                  <a:lnTo>
                    <a:pt x="1484" y="1143"/>
                  </a:lnTo>
                  <a:lnTo>
                    <a:pt x="1486" y="1143"/>
                  </a:lnTo>
                  <a:lnTo>
                    <a:pt x="1486" y="1145"/>
                  </a:lnTo>
                  <a:lnTo>
                    <a:pt x="1488" y="1145"/>
                  </a:lnTo>
                  <a:lnTo>
                    <a:pt x="1490" y="1145"/>
                  </a:lnTo>
                  <a:lnTo>
                    <a:pt x="1491" y="1145"/>
                  </a:lnTo>
                  <a:lnTo>
                    <a:pt x="1493" y="1145"/>
                  </a:lnTo>
                  <a:lnTo>
                    <a:pt x="1495" y="1145"/>
                  </a:lnTo>
                  <a:lnTo>
                    <a:pt x="1495" y="1143"/>
                  </a:lnTo>
                  <a:lnTo>
                    <a:pt x="1495" y="1141"/>
                  </a:lnTo>
                  <a:lnTo>
                    <a:pt x="1495" y="1143"/>
                  </a:lnTo>
                  <a:lnTo>
                    <a:pt x="1495" y="1141"/>
                  </a:lnTo>
                  <a:lnTo>
                    <a:pt x="1497" y="1141"/>
                  </a:lnTo>
                  <a:lnTo>
                    <a:pt x="1497" y="1143"/>
                  </a:lnTo>
                  <a:lnTo>
                    <a:pt x="1497" y="1147"/>
                  </a:lnTo>
                  <a:lnTo>
                    <a:pt x="1495" y="1147"/>
                  </a:lnTo>
                  <a:lnTo>
                    <a:pt x="1497" y="1147"/>
                  </a:lnTo>
                  <a:lnTo>
                    <a:pt x="1497" y="1151"/>
                  </a:lnTo>
                  <a:lnTo>
                    <a:pt x="1499" y="1157"/>
                  </a:lnTo>
                  <a:lnTo>
                    <a:pt x="1499" y="1159"/>
                  </a:lnTo>
                  <a:lnTo>
                    <a:pt x="1499" y="1161"/>
                  </a:lnTo>
                  <a:lnTo>
                    <a:pt x="1499" y="1159"/>
                  </a:lnTo>
                  <a:lnTo>
                    <a:pt x="1499" y="1157"/>
                  </a:lnTo>
                  <a:lnTo>
                    <a:pt x="1499" y="1159"/>
                  </a:lnTo>
                  <a:lnTo>
                    <a:pt x="1499" y="1161"/>
                  </a:lnTo>
                  <a:lnTo>
                    <a:pt x="1499" y="1159"/>
                  </a:lnTo>
                  <a:lnTo>
                    <a:pt x="1497" y="1157"/>
                  </a:lnTo>
                  <a:lnTo>
                    <a:pt x="1497" y="1155"/>
                  </a:lnTo>
                  <a:lnTo>
                    <a:pt x="1497" y="1153"/>
                  </a:lnTo>
                  <a:lnTo>
                    <a:pt x="1497" y="1151"/>
                  </a:lnTo>
                  <a:lnTo>
                    <a:pt x="1495" y="1151"/>
                  </a:lnTo>
                  <a:lnTo>
                    <a:pt x="1495" y="1153"/>
                  </a:lnTo>
                  <a:lnTo>
                    <a:pt x="1493" y="1153"/>
                  </a:lnTo>
                  <a:lnTo>
                    <a:pt x="1493" y="1155"/>
                  </a:lnTo>
                  <a:lnTo>
                    <a:pt x="1491" y="1155"/>
                  </a:lnTo>
                  <a:lnTo>
                    <a:pt x="1493" y="1155"/>
                  </a:lnTo>
                  <a:lnTo>
                    <a:pt x="1493" y="1157"/>
                  </a:lnTo>
                  <a:lnTo>
                    <a:pt x="1493" y="1159"/>
                  </a:lnTo>
                  <a:lnTo>
                    <a:pt x="1495" y="1159"/>
                  </a:lnTo>
                  <a:lnTo>
                    <a:pt x="1497" y="1159"/>
                  </a:lnTo>
                  <a:lnTo>
                    <a:pt x="1499" y="1161"/>
                  </a:lnTo>
                  <a:lnTo>
                    <a:pt x="1497" y="1161"/>
                  </a:lnTo>
                  <a:lnTo>
                    <a:pt x="1499" y="1162"/>
                  </a:lnTo>
                  <a:lnTo>
                    <a:pt x="1499" y="1161"/>
                  </a:lnTo>
                  <a:lnTo>
                    <a:pt x="1501" y="1162"/>
                  </a:lnTo>
                  <a:lnTo>
                    <a:pt x="1503" y="1162"/>
                  </a:lnTo>
                  <a:lnTo>
                    <a:pt x="1507" y="1164"/>
                  </a:lnTo>
                  <a:lnTo>
                    <a:pt x="1509" y="1164"/>
                  </a:lnTo>
                  <a:lnTo>
                    <a:pt x="1509" y="1166"/>
                  </a:lnTo>
                  <a:lnTo>
                    <a:pt x="1511" y="1166"/>
                  </a:lnTo>
                  <a:lnTo>
                    <a:pt x="1513" y="1166"/>
                  </a:lnTo>
                  <a:lnTo>
                    <a:pt x="1513" y="1168"/>
                  </a:lnTo>
                  <a:lnTo>
                    <a:pt x="1514" y="1170"/>
                  </a:lnTo>
                  <a:lnTo>
                    <a:pt x="1516" y="1172"/>
                  </a:lnTo>
                  <a:lnTo>
                    <a:pt x="1518" y="1174"/>
                  </a:lnTo>
                  <a:lnTo>
                    <a:pt x="1520" y="1176"/>
                  </a:lnTo>
                  <a:lnTo>
                    <a:pt x="1522" y="1178"/>
                  </a:lnTo>
                  <a:lnTo>
                    <a:pt x="1530" y="1185"/>
                  </a:lnTo>
                  <a:lnTo>
                    <a:pt x="1532" y="1187"/>
                  </a:lnTo>
                  <a:lnTo>
                    <a:pt x="1534" y="1189"/>
                  </a:lnTo>
                  <a:lnTo>
                    <a:pt x="1534" y="1187"/>
                  </a:lnTo>
                  <a:lnTo>
                    <a:pt x="1536" y="1187"/>
                  </a:lnTo>
                  <a:lnTo>
                    <a:pt x="1534" y="1185"/>
                  </a:lnTo>
                  <a:lnTo>
                    <a:pt x="1536" y="1185"/>
                  </a:lnTo>
                  <a:lnTo>
                    <a:pt x="1536" y="1187"/>
                  </a:lnTo>
                  <a:lnTo>
                    <a:pt x="1537" y="1187"/>
                  </a:lnTo>
                  <a:lnTo>
                    <a:pt x="1539" y="1187"/>
                  </a:lnTo>
                  <a:lnTo>
                    <a:pt x="1541" y="1187"/>
                  </a:lnTo>
                  <a:lnTo>
                    <a:pt x="1541" y="1185"/>
                  </a:lnTo>
                  <a:lnTo>
                    <a:pt x="1543" y="1187"/>
                  </a:lnTo>
                  <a:lnTo>
                    <a:pt x="1543" y="1185"/>
                  </a:lnTo>
                  <a:lnTo>
                    <a:pt x="1543" y="1184"/>
                  </a:lnTo>
                  <a:lnTo>
                    <a:pt x="1541" y="1184"/>
                  </a:lnTo>
                  <a:lnTo>
                    <a:pt x="1541" y="1185"/>
                  </a:lnTo>
                  <a:lnTo>
                    <a:pt x="1539" y="1185"/>
                  </a:lnTo>
                  <a:lnTo>
                    <a:pt x="1539" y="1184"/>
                  </a:lnTo>
                  <a:lnTo>
                    <a:pt x="1537" y="1185"/>
                  </a:lnTo>
                  <a:lnTo>
                    <a:pt x="1536" y="1184"/>
                  </a:lnTo>
                  <a:lnTo>
                    <a:pt x="1534" y="1184"/>
                  </a:lnTo>
                  <a:lnTo>
                    <a:pt x="1532" y="1185"/>
                  </a:lnTo>
                  <a:lnTo>
                    <a:pt x="1526" y="1180"/>
                  </a:lnTo>
                  <a:lnTo>
                    <a:pt x="1514" y="1168"/>
                  </a:lnTo>
                  <a:lnTo>
                    <a:pt x="1513" y="1166"/>
                  </a:lnTo>
                  <a:lnTo>
                    <a:pt x="1513" y="1164"/>
                  </a:lnTo>
                  <a:lnTo>
                    <a:pt x="1511" y="1164"/>
                  </a:lnTo>
                  <a:lnTo>
                    <a:pt x="1509" y="1162"/>
                  </a:lnTo>
                  <a:lnTo>
                    <a:pt x="1505" y="1162"/>
                  </a:lnTo>
                  <a:lnTo>
                    <a:pt x="1507" y="1162"/>
                  </a:lnTo>
                  <a:lnTo>
                    <a:pt x="1509" y="1162"/>
                  </a:lnTo>
                  <a:lnTo>
                    <a:pt x="1511" y="1162"/>
                  </a:lnTo>
                  <a:lnTo>
                    <a:pt x="1509" y="1162"/>
                  </a:lnTo>
                  <a:lnTo>
                    <a:pt x="1511" y="1161"/>
                  </a:lnTo>
                  <a:lnTo>
                    <a:pt x="1511" y="1162"/>
                  </a:lnTo>
                  <a:lnTo>
                    <a:pt x="1511" y="1161"/>
                  </a:lnTo>
                  <a:lnTo>
                    <a:pt x="1511" y="1159"/>
                  </a:lnTo>
                  <a:lnTo>
                    <a:pt x="1511" y="1161"/>
                  </a:lnTo>
                  <a:lnTo>
                    <a:pt x="1509" y="1159"/>
                  </a:lnTo>
                  <a:lnTo>
                    <a:pt x="1507" y="1159"/>
                  </a:lnTo>
                  <a:lnTo>
                    <a:pt x="1505" y="1159"/>
                  </a:lnTo>
                  <a:lnTo>
                    <a:pt x="1507" y="1159"/>
                  </a:lnTo>
                  <a:lnTo>
                    <a:pt x="1505" y="1157"/>
                  </a:lnTo>
                  <a:lnTo>
                    <a:pt x="1505" y="1159"/>
                  </a:lnTo>
                  <a:lnTo>
                    <a:pt x="1503" y="1159"/>
                  </a:lnTo>
                  <a:lnTo>
                    <a:pt x="1503" y="1157"/>
                  </a:lnTo>
                  <a:lnTo>
                    <a:pt x="1503" y="1155"/>
                  </a:lnTo>
                  <a:lnTo>
                    <a:pt x="1501" y="1155"/>
                  </a:lnTo>
                  <a:lnTo>
                    <a:pt x="1499" y="1155"/>
                  </a:lnTo>
                  <a:lnTo>
                    <a:pt x="1501" y="1155"/>
                  </a:lnTo>
                  <a:lnTo>
                    <a:pt x="1499" y="1155"/>
                  </a:lnTo>
                  <a:lnTo>
                    <a:pt x="1499" y="1153"/>
                  </a:lnTo>
                  <a:lnTo>
                    <a:pt x="1499" y="1151"/>
                  </a:lnTo>
                  <a:lnTo>
                    <a:pt x="1499" y="1149"/>
                  </a:lnTo>
                  <a:lnTo>
                    <a:pt x="1499" y="1147"/>
                  </a:lnTo>
                  <a:lnTo>
                    <a:pt x="1499" y="1145"/>
                  </a:lnTo>
                  <a:lnTo>
                    <a:pt x="1499" y="1139"/>
                  </a:lnTo>
                  <a:lnTo>
                    <a:pt x="1499" y="1136"/>
                  </a:lnTo>
                  <a:lnTo>
                    <a:pt x="1497" y="1136"/>
                  </a:lnTo>
                  <a:lnTo>
                    <a:pt x="1497" y="1134"/>
                  </a:lnTo>
                  <a:lnTo>
                    <a:pt x="1499" y="1132"/>
                  </a:lnTo>
                  <a:lnTo>
                    <a:pt x="1501" y="1130"/>
                  </a:lnTo>
                  <a:lnTo>
                    <a:pt x="1499" y="1130"/>
                  </a:lnTo>
                  <a:lnTo>
                    <a:pt x="1501" y="1130"/>
                  </a:lnTo>
                  <a:lnTo>
                    <a:pt x="1501" y="1128"/>
                  </a:lnTo>
                  <a:lnTo>
                    <a:pt x="1503" y="1128"/>
                  </a:lnTo>
                  <a:lnTo>
                    <a:pt x="1501" y="1130"/>
                  </a:lnTo>
                  <a:lnTo>
                    <a:pt x="1503" y="1130"/>
                  </a:lnTo>
                  <a:lnTo>
                    <a:pt x="1503" y="1132"/>
                  </a:lnTo>
                  <a:lnTo>
                    <a:pt x="1501" y="1130"/>
                  </a:lnTo>
                  <a:lnTo>
                    <a:pt x="1503" y="1132"/>
                  </a:lnTo>
                  <a:lnTo>
                    <a:pt x="1501" y="1132"/>
                  </a:lnTo>
                  <a:lnTo>
                    <a:pt x="1503" y="1132"/>
                  </a:lnTo>
                  <a:lnTo>
                    <a:pt x="1503" y="1134"/>
                  </a:lnTo>
                  <a:lnTo>
                    <a:pt x="1505" y="1136"/>
                  </a:lnTo>
                  <a:lnTo>
                    <a:pt x="1507" y="1136"/>
                  </a:lnTo>
                  <a:lnTo>
                    <a:pt x="1507" y="1137"/>
                  </a:lnTo>
                  <a:lnTo>
                    <a:pt x="1509" y="1139"/>
                  </a:lnTo>
                  <a:lnTo>
                    <a:pt x="1511" y="1141"/>
                  </a:lnTo>
                  <a:lnTo>
                    <a:pt x="1513" y="1141"/>
                  </a:lnTo>
                  <a:lnTo>
                    <a:pt x="1514" y="1143"/>
                  </a:lnTo>
                  <a:lnTo>
                    <a:pt x="1516" y="1147"/>
                  </a:lnTo>
                  <a:lnTo>
                    <a:pt x="1520" y="1149"/>
                  </a:lnTo>
                  <a:lnTo>
                    <a:pt x="1522" y="1149"/>
                  </a:lnTo>
                  <a:lnTo>
                    <a:pt x="1524" y="1151"/>
                  </a:lnTo>
                  <a:lnTo>
                    <a:pt x="1526" y="1151"/>
                  </a:lnTo>
                  <a:lnTo>
                    <a:pt x="1530" y="1151"/>
                  </a:lnTo>
                  <a:lnTo>
                    <a:pt x="1532" y="1151"/>
                  </a:lnTo>
                  <a:lnTo>
                    <a:pt x="1530" y="1151"/>
                  </a:lnTo>
                  <a:lnTo>
                    <a:pt x="1528" y="1151"/>
                  </a:lnTo>
                  <a:lnTo>
                    <a:pt x="1526" y="1151"/>
                  </a:lnTo>
                  <a:lnTo>
                    <a:pt x="1524" y="1151"/>
                  </a:lnTo>
                  <a:lnTo>
                    <a:pt x="1520" y="1149"/>
                  </a:lnTo>
                  <a:lnTo>
                    <a:pt x="1518" y="1147"/>
                  </a:lnTo>
                  <a:lnTo>
                    <a:pt x="1516" y="1147"/>
                  </a:lnTo>
                  <a:lnTo>
                    <a:pt x="1513" y="1147"/>
                  </a:lnTo>
                  <a:lnTo>
                    <a:pt x="1513" y="1149"/>
                  </a:lnTo>
                  <a:lnTo>
                    <a:pt x="1514" y="1151"/>
                  </a:lnTo>
                  <a:lnTo>
                    <a:pt x="1513" y="1151"/>
                  </a:lnTo>
                  <a:lnTo>
                    <a:pt x="1511" y="1153"/>
                  </a:lnTo>
                  <a:lnTo>
                    <a:pt x="1511" y="1151"/>
                  </a:lnTo>
                  <a:lnTo>
                    <a:pt x="1509" y="1151"/>
                  </a:lnTo>
                  <a:lnTo>
                    <a:pt x="1509" y="1149"/>
                  </a:lnTo>
                  <a:lnTo>
                    <a:pt x="1509" y="1147"/>
                  </a:lnTo>
                  <a:lnTo>
                    <a:pt x="1505" y="1147"/>
                  </a:lnTo>
                  <a:lnTo>
                    <a:pt x="1503" y="1147"/>
                  </a:lnTo>
                  <a:lnTo>
                    <a:pt x="1499" y="1147"/>
                  </a:lnTo>
                  <a:lnTo>
                    <a:pt x="1499" y="1149"/>
                  </a:lnTo>
                  <a:lnTo>
                    <a:pt x="1501" y="1149"/>
                  </a:lnTo>
                  <a:lnTo>
                    <a:pt x="1499" y="1149"/>
                  </a:lnTo>
                  <a:lnTo>
                    <a:pt x="1499" y="1151"/>
                  </a:lnTo>
                  <a:lnTo>
                    <a:pt x="1501" y="1151"/>
                  </a:lnTo>
                  <a:lnTo>
                    <a:pt x="1503" y="1151"/>
                  </a:lnTo>
                  <a:lnTo>
                    <a:pt x="1503" y="1153"/>
                  </a:lnTo>
                  <a:lnTo>
                    <a:pt x="1501" y="1153"/>
                  </a:lnTo>
                  <a:lnTo>
                    <a:pt x="1499" y="1151"/>
                  </a:lnTo>
                  <a:lnTo>
                    <a:pt x="1501" y="1153"/>
                  </a:lnTo>
                  <a:lnTo>
                    <a:pt x="1503" y="1155"/>
                  </a:lnTo>
                  <a:lnTo>
                    <a:pt x="1505" y="1157"/>
                  </a:lnTo>
                  <a:lnTo>
                    <a:pt x="1507" y="1157"/>
                  </a:lnTo>
                  <a:lnTo>
                    <a:pt x="1509" y="1159"/>
                  </a:lnTo>
                  <a:lnTo>
                    <a:pt x="1511" y="1159"/>
                  </a:lnTo>
                  <a:lnTo>
                    <a:pt x="1513" y="1159"/>
                  </a:lnTo>
                  <a:lnTo>
                    <a:pt x="1513" y="1161"/>
                  </a:lnTo>
                  <a:lnTo>
                    <a:pt x="1513" y="1162"/>
                  </a:lnTo>
                  <a:lnTo>
                    <a:pt x="1514" y="1162"/>
                  </a:lnTo>
                  <a:lnTo>
                    <a:pt x="1516" y="1162"/>
                  </a:lnTo>
                  <a:lnTo>
                    <a:pt x="1518" y="1162"/>
                  </a:lnTo>
                  <a:lnTo>
                    <a:pt x="1520" y="1162"/>
                  </a:lnTo>
                  <a:lnTo>
                    <a:pt x="1522" y="1162"/>
                  </a:lnTo>
                  <a:lnTo>
                    <a:pt x="1522" y="1164"/>
                  </a:lnTo>
                  <a:lnTo>
                    <a:pt x="1520" y="1164"/>
                  </a:lnTo>
                  <a:lnTo>
                    <a:pt x="1520" y="1166"/>
                  </a:lnTo>
                  <a:lnTo>
                    <a:pt x="1522" y="1168"/>
                  </a:lnTo>
                  <a:lnTo>
                    <a:pt x="1524" y="1168"/>
                  </a:lnTo>
                  <a:lnTo>
                    <a:pt x="1524" y="1170"/>
                  </a:lnTo>
                  <a:lnTo>
                    <a:pt x="1526" y="1170"/>
                  </a:lnTo>
                  <a:lnTo>
                    <a:pt x="1526" y="1172"/>
                  </a:lnTo>
                  <a:lnTo>
                    <a:pt x="1528" y="1174"/>
                  </a:lnTo>
                  <a:lnTo>
                    <a:pt x="1530" y="1174"/>
                  </a:lnTo>
                  <a:lnTo>
                    <a:pt x="1530" y="1176"/>
                  </a:lnTo>
                  <a:lnTo>
                    <a:pt x="1530" y="1178"/>
                  </a:lnTo>
                  <a:lnTo>
                    <a:pt x="1532" y="1178"/>
                  </a:lnTo>
                  <a:lnTo>
                    <a:pt x="1532" y="1180"/>
                  </a:lnTo>
                  <a:lnTo>
                    <a:pt x="1534" y="1182"/>
                  </a:lnTo>
                  <a:lnTo>
                    <a:pt x="1534" y="1184"/>
                  </a:lnTo>
                  <a:lnTo>
                    <a:pt x="1536" y="1184"/>
                  </a:lnTo>
                  <a:lnTo>
                    <a:pt x="1537" y="1184"/>
                  </a:lnTo>
                  <a:lnTo>
                    <a:pt x="1539" y="1184"/>
                  </a:lnTo>
                  <a:lnTo>
                    <a:pt x="1541" y="1184"/>
                  </a:lnTo>
                  <a:lnTo>
                    <a:pt x="1543" y="1184"/>
                  </a:lnTo>
                  <a:lnTo>
                    <a:pt x="1545" y="1184"/>
                  </a:lnTo>
                  <a:lnTo>
                    <a:pt x="1545" y="1185"/>
                  </a:lnTo>
                  <a:lnTo>
                    <a:pt x="1547" y="1184"/>
                  </a:lnTo>
                  <a:lnTo>
                    <a:pt x="1547" y="1182"/>
                  </a:lnTo>
                  <a:lnTo>
                    <a:pt x="1549" y="1180"/>
                  </a:lnTo>
                  <a:lnTo>
                    <a:pt x="1549" y="1178"/>
                  </a:lnTo>
                  <a:lnTo>
                    <a:pt x="1553" y="1180"/>
                  </a:lnTo>
                  <a:lnTo>
                    <a:pt x="1555" y="1178"/>
                  </a:lnTo>
                  <a:lnTo>
                    <a:pt x="1557" y="1178"/>
                  </a:lnTo>
                  <a:lnTo>
                    <a:pt x="1557" y="1180"/>
                  </a:lnTo>
                  <a:lnTo>
                    <a:pt x="1559" y="1182"/>
                  </a:lnTo>
                  <a:lnTo>
                    <a:pt x="1562" y="1184"/>
                  </a:lnTo>
                  <a:lnTo>
                    <a:pt x="1559" y="1182"/>
                  </a:lnTo>
                  <a:lnTo>
                    <a:pt x="1561" y="1184"/>
                  </a:lnTo>
                  <a:lnTo>
                    <a:pt x="1562" y="1184"/>
                  </a:lnTo>
                  <a:lnTo>
                    <a:pt x="1561" y="1184"/>
                  </a:lnTo>
                  <a:lnTo>
                    <a:pt x="1559" y="1184"/>
                  </a:lnTo>
                  <a:lnTo>
                    <a:pt x="1559" y="1185"/>
                  </a:lnTo>
                  <a:lnTo>
                    <a:pt x="1561" y="1185"/>
                  </a:lnTo>
                  <a:lnTo>
                    <a:pt x="1561" y="1184"/>
                  </a:lnTo>
                  <a:lnTo>
                    <a:pt x="1562" y="1184"/>
                  </a:lnTo>
                  <a:lnTo>
                    <a:pt x="1562" y="1185"/>
                  </a:lnTo>
                  <a:lnTo>
                    <a:pt x="1561" y="1189"/>
                  </a:lnTo>
                  <a:lnTo>
                    <a:pt x="1555" y="1193"/>
                  </a:lnTo>
                  <a:lnTo>
                    <a:pt x="1557" y="1191"/>
                  </a:lnTo>
                  <a:lnTo>
                    <a:pt x="1557" y="1193"/>
                  </a:lnTo>
                  <a:lnTo>
                    <a:pt x="1555" y="1193"/>
                  </a:lnTo>
                  <a:lnTo>
                    <a:pt x="1553" y="1193"/>
                  </a:lnTo>
                  <a:lnTo>
                    <a:pt x="1555" y="1193"/>
                  </a:lnTo>
                  <a:lnTo>
                    <a:pt x="1555" y="1195"/>
                  </a:lnTo>
                  <a:lnTo>
                    <a:pt x="1557" y="1195"/>
                  </a:lnTo>
                  <a:lnTo>
                    <a:pt x="1557" y="1197"/>
                  </a:lnTo>
                  <a:lnTo>
                    <a:pt x="1557" y="1199"/>
                  </a:lnTo>
                  <a:lnTo>
                    <a:pt x="1559" y="1199"/>
                  </a:lnTo>
                  <a:lnTo>
                    <a:pt x="1561" y="1199"/>
                  </a:lnTo>
                  <a:lnTo>
                    <a:pt x="1562" y="1201"/>
                  </a:lnTo>
                  <a:lnTo>
                    <a:pt x="1562" y="1199"/>
                  </a:lnTo>
                  <a:lnTo>
                    <a:pt x="1564" y="1199"/>
                  </a:lnTo>
                  <a:lnTo>
                    <a:pt x="1566" y="1199"/>
                  </a:lnTo>
                  <a:lnTo>
                    <a:pt x="1566" y="1197"/>
                  </a:lnTo>
                  <a:lnTo>
                    <a:pt x="1568" y="1197"/>
                  </a:lnTo>
                  <a:lnTo>
                    <a:pt x="1570" y="1197"/>
                  </a:lnTo>
                  <a:lnTo>
                    <a:pt x="1572" y="1197"/>
                  </a:lnTo>
                  <a:lnTo>
                    <a:pt x="1574" y="1197"/>
                  </a:lnTo>
                  <a:lnTo>
                    <a:pt x="1576" y="1197"/>
                  </a:lnTo>
                  <a:lnTo>
                    <a:pt x="1576" y="1195"/>
                  </a:lnTo>
                  <a:lnTo>
                    <a:pt x="1578" y="1195"/>
                  </a:lnTo>
                  <a:lnTo>
                    <a:pt x="1580" y="1195"/>
                  </a:lnTo>
                  <a:lnTo>
                    <a:pt x="1582" y="1195"/>
                  </a:lnTo>
                  <a:lnTo>
                    <a:pt x="1584" y="1195"/>
                  </a:lnTo>
                  <a:lnTo>
                    <a:pt x="1585" y="1197"/>
                  </a:lnTo>
                  <a:lnTo>
                    <a:pt x="1587" y="1197"/>
                  </a:lnTo>
                  <a:lnTo>
                    <a:pt x="1589" y="1197"/>
                  </a:lnTo>
                  <a:lnTo>
                    <a:pt x="1589" y="1195"/>
                  </a:lnTo>
                  <a:lnTo>
                    <a:pt x="1591" y="1189"/>
                  </a:lnTo>
                  <a:lnTo>
                    <a:pt x="1591" y="1195"/>
                  </a:lnTo>
                  <a:lnTo>
                    <a:pt x="1589" y="1197"/>
                  </a:lnTo>
                  <a:lnTo>
                    <a:pt x="1589" y="1199"/>
                  </a:lnTo>
                  <a:lnTo>
                    <a:pt x="1589" y="1201"/>
                  </a:lnTo>
                  <a:lnTo>
                    <a:pt x="1591" y="1201"/>
                  </a:lnTo>
                  <a:lnTo>
                    <a:pt x="1591" y="1203"/>
                  </a:lnTo>
                  <a:lnTo>
                    <a:pt x="1591" y="1205"/>
                  </a:lnTo>
                  <a:lnTo>
                    <a:pt x="1589" y="1207"/>
                  </a:lnTo>
                  <a:lnTo>
                    <a:pt x="1591" y="1207"/>
                  </a:lnTo>
                  <a:lnTo>
                    <a:pt x="1591" y="1205"/>
                  </a:lnTo>
                  <a:lnTo>
                    <a:pt x="1591" y="1203"/>
                  </a:lnTo>
                  <a:lnTo>
                    <a:pt x="1593" y="1201"/>
                  </a:lnTo>
                  <a:lnTo>
                    <a:pt x="1591" y="1201"/>
                  </a:lnTo>
                  <a:lnTo>
                    <a:pt x="1591" y="1199"/>
                  </a:lnTo>
                  <a:lnTo>
                    <a:pt x="1591" y="1197"/>
                  </a:lnTo>
                  <a:lnTo>
                    <a:pt x="1591" y="1195"/>
                  </a:lnTo>
                  <a:lnTo>
                    <a:pt x="1591" y="1193"/>
                  </a:lnTo>
                  <a:lnTo>
                    <a:pt x="1591" y="1189"/>
                  </a:lnTo>
                  <a:lnTo>
                    <a:pt x="1591" y="1193"/>
                  </a:lnTo>
                  <a:lnTo>
                    <a:pt x="1591" y="1195"/>
                  </a:lnTo>
                  <a:lnTo>
                    <a:pt x="1591" y="1197"/>
                  </a:lnTo>
                  <a:lnTo>
                    <a:pt x="1593" y="1197"/>
                  </a:lnTo>
                  <a:lnTo>
                    <a:pt x="1593" y="1195"/>
                  </a:lnTo>
                  <a:lnTo>
                    <a:pt x="1595" y="1195"/>
                  </a:lnTo>
                  <a:lnTo>
                    <a:pt x="1597" y="1195"/>
                  </a:lnTo>
                  <a:lnTo>
                    <a:pt x="1597" y="1193"/>
                  </a:lnTo>
                  <a:lnTo>
                    <a:pt x="1599" y="1193"/>
                  </a:lnTo>
                  <a:lnTo>
                    <a:pt x="1601" y="1193"/>
                  </a:lnTo>
                  <a:lnTo>
                    <a:pt x="1609" y="1195"/>
                  </a:lnTo>
                  <a:lnTo>
                    <a:pt x="1610" y="1195"/>
                  </a:lnTo>
                  <a:lnTo>
                    <a:pt x="1612" y="1195"/>
                  </a:lnTo>
                  <a:lnTo>
                    <a:pt x="1614" y="1197"/>
                  </a:lnTo>
                  <a:lnTo>
                    <a:pt x="1616" y="1199"/>
                  </a:lnTo>
                  <a:lnTo>
                    <a:pt x="1616" y="1201"/>
                  </a:lnTo>
                  <a:lnTo>
                    <a:pt x="1618" y="1201"/>
                  </a:lnTo>
                  <a:lnTo>
                    <a:pt x="1618" y="1203"/>
                  </a:lnTo>
                  <a:lnTo>
                    <a:pt x="1620" y="1205"/>
                  </a:lnTo>
                  <a:lnTo>
                    <a:pt x="1622" y="1207"/>
                  </a:lnTo>
                  <a:lnTo>
                    <a:pt x="1624" y="1207"/>
                  </a:lnTo>
                  <a:lnTo>
                    <a:pt x="1626" y="1207"/>
                  </a:lnTo>
                  <a:lnTo>
                    <a:pt x="1626" y="1209"/>
                  </a:lnTo>
                  <a:lnTo>
                    <a:pt x="1628" y="1210"/>
                  </a:lnTo>
                  <a:lnTo>
                    <a:pt x="1630" y="1210"/>
                  </a:lnTo>
                  <a:lnTo>
                    <a:pt x="1632" y="1210"/>
                  </a:lnTo>
                  <a:lnTo>
                    <a:pt x="1633" y="1210"/>
                  </a:lnTo>
                  <a:lnTo>
                    <a:pt x="1635" y="1210"/>
                  </a:lnTo>
                  <a:lnTo>
                    <a:pt x="1637" y="1210"/>
                  </a:lnTo>
                  <a:lnTo>
                    <a:pt x="1637" y="1212"/>
                  </a:lnTo>
                  <a:lnTo>
                    <a:pt x="1639" y="1212"/>
                  </a:lnTo>
                  <a:lnTo>
                    <a:pt x="1639" y="1214"/>
                  </a:lnTo>
                  <a:lnTo>
                    <a:pt x="1641" y="1214"/>
                  </a:lnTo>
                  <a:lnTo>
                    <a:pt x="1641" y="1216"/>
                  </a:lnTo>
                  <a:lnTo>
                    <a:pt x="1643" y="1214"/>
                  </a:lnTo>
                  <a:lnTo>
                    <a:pt x="1645" y="1214"/>
                  </a:lnTo>
                  <a:lnTo>
                    <a:pt x="1647" y="1216"/>
                  </a:lnTo>
                  <a:lnTo>
                    <a:pt x="1649" y="1218"/>
                  </a:lnTo>
                  <a:lnTo>
                    <a:pt x="1649" y="1220"/>
                  </a:lnTo>
                  <a:lnTo>
                    <a:pt x="1651" y="1222"/>
                  </a:lnTo>
                  <a:lnTo>
                    <a:pt x="1649" y="1222"/>
                  </a:lnTo>
                  <a:lnTo>
                    <a:pt x="1651" y="1222"/>
                  </a:lnTo>
                  <a:lnTo>
                    <a:pt x="1651" y="1224"/>
                  </a:lnTo>
                  <a:lnTo>
                    <a:pt x="1653" y="1224"/>
                  </a:lnTo>
                  <a:lnTo>
                    <a:pt x="1651" y="1224"/>
                  </a:lnTo>
                  <a:lnTo>
                    <a:pt x="1653" y="1226"/>
                  </a:lnTo>
                  <a:lnTo>
                    <a:pt x="1653" y="1228"/>
                  </a:lnTo>
                  <a:lnTo>
                    <a:pt x="1653" y="1230"/>
                  </a:lnTo>
                  <a:lnTo>
                    <a:pt x="1655" y="1232"/>
                  </a:lnTo>
                  <a:lnTo>
                    <a:pt x="1656" y="1232"/>
                  </a:lnTo>
                  <a:lnTo>
                    <a:pt x="1658" y="1235"/>
                  </a:lnTo>
                  <a:lnTo>
                    <a:pt x="1658" y="1237"/>
                  </a:lnTo>
                  <a:lnTo>
                    <a:pt x="1656" y="1237"/>
                  </a:lnTo>
                  <a:lnTo>
                    <a:pt x="1655" y="1235"/>
                  </a:lnTo>
                  <a:lnTo>
                    <a:pt x="1653" y="1235"/>
                  </a:lnTo>
                  <a:lnTo>
                    <a:pt x="1653" y="1237"/>
                  </a:lnTo>
                  <a:lnTo>
                    <a:pt x="1653" y="1239"/>
                  </a:lnTo>
                  <a:lnTo>
                    <a:pt x="1655" y="1239"/>
                  </a:lnTo>
                  <a:lnTo>
                    <a:pt x="1653" y="1239"/>
                  </a:lnTo>
                  <a:lnTo>
                    <a:pt x="1655" y="1239"/>
                  </a:lnTo>
                  <a:lnTo>
                    <a:pt x="1656" y="1239"/>
                  </a:lnTo>
                  <a:lnTo>
                    <a:pt x="1658" y="1239"/>
                  </a:lnTo>
                  <a:lnTo>
                    <a:pt x="1658" y="1241"/>
                  </a:lnTo>
                  <a:lnTo>
                    <a:pt x="1656" y="1241"/>
                  </a:lnTo>
                  <a:lnTo>
                    <a:pt x="1658" y="1241"/>
                  </a:lnTo>
                  <a:lnTo>
                    <a:pt x="1658" y="1243"/>
                  </a:lnTo>
                  <a:lnTo>
                    <a:pt x="1660" y="1243"/>
                  </a:lnTo>
                  <a:lnTo>
                    <a:pt x="1660" y="1241"/>
                  </a:lnTo>
                  <a:lnTo>
                    <a:pt x="1658" y="1241"/>
                  </a:lnTo>
                  <a:lnTo>
                    <a:pt x="1658" y="1239"/>
                  </a:lnTo>
                  <a:lnTo>
                    <a:pt x="1660" y="1239"/>
                  </a:lnTo>
                  <a:lnTo>
                    <a:pt x="1658" y="1237"/>
                  </a:lnTo>
                  <a:lnTo>
                    <a:pt x="1658" y="1239"/>
                  </a:lnTo>
                  <a:lnTo>
                    <a:pt x="1656" y="1239"/>
                  </a:lnTo>
                  <a:lnTo>
                    <a:pt x="1656" y="1237"/>
                  </a:lnTo>
                  <a:lnTo>
                    <a:pt x="1658" y="1237"/>
                  </a:lnTo>
                  <a:lnTo>
                    <a:pt x="1660" y="1237"/>
                  </a:lnTo>
                  <a:lnTo>
                    <a:pt x="1660" y="1239"/>
                  </a:lnTo>
                  <a:lnTo>
                    <a:pt x="1662" y="1241"/>
                  </a:lnTo>
                  <a:lnTo>
                    <a:pt x="1666" y="1243"/>
                  </a:lnTo>
                  <a:lnTo>
                    <a:pt x="1666" y="1245"/>
                  </a:lnTo>
                  <a:lnTo>
                    <a:pt x="1668" y="1245"/>
                  </a:lnTo>
                  <a:lnTo>
                    <a:pt x="1668" y="1247"/>
                  </a:lnTo>
                  <a:lnTo>
                    <a:pt x="1670" y="1247"/>
                  </a:lnTo>
                  <a:lnTo>
                    <a:pt x="1672" y="1249"/>
                  </a:lnTo>
                  <a:lnTo>
                    <a:pt x="1672" y="1247"/>
                  </a:lnTo>
                  <a:lnTo>
                    <a:pt x="1672" y="1249"/>
                  </a:lnTo>
                  <a:lnTo>
                    <a:pt x="1674" y="1249"/>
                  </a:lnTo>
                  <a:lnTo>
                    <a:pt x="1674" y="1247"/>
                  </a:lnTo>
                  <a:lnTo>
                    <a:pt x="1674" y="1249"/>
                  </a:lnTo>
                  <a:lnTo>
                    <a:pt x="1676" y="1249"/>
                  </a:lnTo>
                  <a:lnTo>
                    <a:pt x="1678" y="1249"/>
                  </a:lnTo>
                  <a:lnTo>
                    <a:pt x="1680" y="1249"/>
                  </a:lnTo>
                  <a:lnTo>
                    <a:pt x="1681" y="1249"/>
                  </a:lnTo>
                  <a:lnTo>
                    <a:pt x="1683" y="1249"/>
                  </a:lnTo>
                  <a:lnTo>
                    <a:pt x="1683" y="1247"/>
                  </a:lnTo>
                  <a:lnTo>
                    <a:pt x="1685" y="1247"/>
                  </a:lnTo>
                  <a:lnTo>
                    <a:pt x="1685" y="1245"/>
                  </a:lnTo>
                  <a:lnTo>
                    <a:pt x="1687" y="1245"/>
                  </a:lnTo>
                  <a:lnTo>
                    <a:pt x="1689" y="1245"/>
                  </a:lnTo>
                  <a:lnTo>
                    <a:pt x="1691" y="1245"/>
                  </a:lnTo>
                  <a:lnTo>
                    <a:pt x="1693" y="1245"/>
                  </a:lnTo>
                  <a:lnTo>
                    <a:pt x="1693" y="1243"/>
                  </a:lnTo>
                  <a:lnTo>
                    <a:pt x="1693" y="1245"/>
                  </a:lnTo>
                  <a:lnTo>
                    <a:pt x="1693" y="1243"/>
                  </a:lnTo>
                  <a:lnTo>
                    <a:pt x="1695" y="1243"/>
                  </a:lnTo>
                  <a:lnTo>
                    <a:pt x="1697" y="1243"/>
                  </a:lnTo>
                  <a:lnTo>
                    <a:pt x="1699" y="1243"/>
                  </a:lnTo>
                  <a:lnTo>
                    <a:pt x="1701" y="1243"/>
                  </a:lnTo>
                  <a:lnTo>
                    <a:pt x="1703" y="1243"/>
                  </a:lnTo>
                  <a:lnTo>
                    <a:pt x="1704" y="1243"/>
                  </a:lnTo>
                  <a:lnTo>
                    <a:pt x="1706" y="1243"/>
                  </a:lnTo>
                  <a:lnTo>
                    <a:pt x="1708" y="1243"/>
                  </a:lnTo>
                  <a:lnTo>
                    <a:pt x="1710" y="1243"/>
                  </a:lnTo>
                  <a:lnTo>
                    <a:pt x="1712" y="1243"/>
                  </a:lnTo>
                  <a:lnTo>
                    <a:pt x="1714" y="1243"/>
                  </a:lnTo>
                  <a:lnTo>
                    <a:pt x="1716" y="1243"/>
                  </a:lnTo>
                  <a:lnTo>
                    <a:pt x="1716" y="1241"/>
                  </a:lnTo>
                  <a:lnTo>
                    <a:pt x="1718" y="1241"/>
                  </a:lnTo>
                  <a:lnTo>
                    <a:pt x="1718" y="1243"/>
                  </a:lnTo>
                  <a:lnTo>
                    <a:pt x="1718" y="1241"/>
                  </a:lnTo>
                  <a:lnTo>
                    <a:pt x="1720" y="1241"/>
                  </a:lnTo>
                  <a:lnTo>
                    <a:pt x="1720" y="1243"/>
                  </a:lnTo>
                  <a:lnTo>
                    <a:pt x="1720" y="1241"/>
                  </a:lnTo>
                  <a:lnTo>
                    <a:pt x="1722" y="1241"/>
                  </a:lnTo>
                  <a:lnTo>
                    <a:pt x="1724" y="1243"/>
                  </a:lnTo>
                  <a:lnTo>
                    <a:pt x="1724" y="1241"/>
                  </a:lnTo>
                  <a:lnTo>
                    <a:pt x="1726" y="1241"/>
                  </a:lnTo>
                  <a:lnTo>
                    <a:pt x="1728" y="1241"/>
                  </a:lnTo>
                  <a:lnTo>
                    <a:pt x="1729" y="1241"/>
                  </a:lnTo>
                  <a:lnTo>
                    <a:pt x="1731" y="1241"/>
                  </a:lnTo>
                  <a:lnTo>
                    <a:pt x="1733" y="1243"/>
                  </a:lnTo>
                  <a:lnTo>
                    <a:pt x="1735" y="1241"/>
                  </a:lnTo>
                  <a:lnTo>
                    <a:pt x="1735" y="1243"/>
                  </a:lnTo>
                  <a:lnTo>
                    <a:pt x="1737" y="1243"/>
                  </a:lnTo>
                  <a:lnTo>
                    <a:pt x="1735" y="1243"/>
                  </a:lnTo>
                  <a:lnTo>
                    <a:pt x="1737" y="1243"/>
                  </a:lnTo>
                  <a:lnTo>
                    <a:pt x="1737" y="1241"/>
                  </a:lnTo>
                  <a:lnTo>
                    <a:pt x="1739" y="1241"/>
                  </a:lnTo>
                  <a:lnTo>
                    <a:pt x="1739" y="1239"/>
                  </a:lnTo>
                  <a:lnTo>
                    <a:pt x="1741" y="1239"/>
                  </a:lnTo>
                  <a:lnTo>
                    <a:pt x="1741" y="1237"/>
                  </a:lnTo>
                  <a:lnTo>
                    <a:pt x="1741" y="1235"/>
                  </a:lnTo>
                  <a:lnTo>
                    <a:pt x="1743" y="1235"/>
                  </a:lnTo>
                  <a:lnTo>
                    <a:pt x="1741" y="1239"/>
                  </a:lnTo>
                  <a:lnTo>
                    <a:pt x="1737" y="1241"/>
                  </a:lnTo>
                  <a:lnTo>
                    <a:pt x="1737" y="1243"/>
                  </a:lnTo>
                  <a:lnTo>
                    <a:pt x="1737" y="1245"/>
                  </a:lnTo>
                  <a:lnTo>
                    <a:pt x="1739" y="1243"/>
                  </a:lnTo>
                  <a:lnTo>
                    <a:pt x="1739" y="1245"/>
                  </a:lnTo>
                  <a:lnTo>
                    <a:pt x="1737" y="1245"/>
                  </a:lnTo>
                  <a:lnTo>
                    <a:pt x="1737" y="1247"/>
                  </a:lnTo>
                  <a:lnTo>
                    <a:pt x="1735" y="1247"/>
                  </a:lnTo>
                  <a:lnTo>
                    <a:pt x="1735" y="1249"/>
                  </a:lnTo>
                  <a:lnTo>
                    <a:pt x="1735" y="1251"/>
                  </a:lnTo>
                  <a:lnTo>
                    <a:pt x="1737" y="1249"/>
                  </a:lnTo>
                  <a:lnTo>
                    <a:pt x="1737" y="1247"/>
                  </a:lnTo>
                  <a:lnTo>
                    <a:pt x="1739" y="1247"/>
                  </a:lnTo>
                  <a:lnTo>
                    <a:pt x="1739" y="1245"/>
                  </a:lnTo>
                  <a:lnTo>
                    <a:pt x="1739" y="1247"/>
                  </a:lnTo>
                  <a:lnTo>
                    <a:pt x="1739" y="1245"/>
                  </a:lnTo>
                  <a:lnTo>
                    <a:pt x="1739" y="1243"/>
                  </a:lnTo>
                  <a:lnTo>
                    <a:pt x="1739" y="1245"/>
                  </a:lnTo>
                  <a:lnTo>
                    <a:pt x="1741" y="1241"/>
                  </a:lnTo>
                  <a:lnTo>
                    <a:pt x="1739" y="1245"/>
                  </a:lnTo>
                  <a:lnTo>
                    <a:pt x="1741" y="1245"/>
                  </a:lnTo>
                  <a:lnTo>
                    <a:pt x="1743" y="1245"/>
                  </a:lnTo>
                  <a:lnTo>
                    <a:pt x="1743" y="1247"/>
                  </a:lnTo>
                  <a:lnTo>
                    <a:pt x="1745" y="1247"/>
                  </a:lnTo>
                  <a:lnTo>
                    <a:pt x="1745" y="1245"/>
                  </a:lnTo>
                  <a:lnTo>
                    <a:pt x="1743" y="1245"/>
                  </a:lnTo>
                  <a:lnTo>
                    <a:pt x="1743" y="1243"/>
                  </a:lnTo>
                  <a:lnTo>
                    <a:pt x="1741" y="1243"/>
                  </a:lnTo>
                  <a:lnTo>
                    <a:pt x="1741" y="1241"/>
                  </a:lnTo>
                  <a:lnTo>
                    <a:pt x="1741" y="1239"/>
                  </a:lnTo>
                  <a:lnTo>
                    <a:pt x="1743" y="1237"/>
                  </a:lnTo>
                  <a:lnTo>
                    <a:pt x="1743" y="1235"/>
                  </a:lnTo>
                  <a:lnTo>
                    <a:pt x="1743" y="1237"/>
                  </a:lnTo>
                  <a:lnTo>
                    <a:pt x="1743" y="1239"/>
                  </a:lnTo>
                  <a:lnTo>
                    <a:pt x="1743" y="1241"/>
                  </a:lnTo>
                  <a:lnTo>
                    <a:pt x="1745" y="1241"/>
                  </a:lnTo>
                  <a:lnTo>
                    <a:pt x="1745" y="1243"/>
                  </a:lnTo>
                  <a:lnTo>
                    <a:pt x="1745" y="1245"/>
                  </a:lnTo>
                  <a:lnTo>
                    <a:pt x="1745" y="1247"/>
                  </a:lnTo>
                  <a:lnTo>
                    <a:pt x="1747" y="1247"/>
                  </a:lnTo>
                  <a:lnTo>
                    <a:pt x="1745" y="1247"/>
                  </a:lnTo>
                  <a:lnTo>
                    <a:pt x="1747" y="1249"/>
                  </a:lnTo>
                  <a:lnTo>
                    <a:pt x="1749" y="1251"/>
                  </a:lnTo>
                  <a:lnTo>
                    <a:pt x="1751" y="1251"/>
                  </a:lnTo>
                  <a:lnTo>
                    <a:pt x="1752" y="1251"/>
                  </a:lnTo>
                  <a:lnTo>
                    <a:pt x="1754" y="1251"/>
                  </a:lnTo>
                  <a:lnTo>
                    <a:pt x="1754" y="1253"/>
                  </a:lnTo>
                  <a:lnTo>
                    <a:pt x="1754" y="1251"/>
                  </a:lnTo>
                  <a:lnTo>
                    <a:pt x="1756" y="1251"/>
                  </a:lnTo>
                  <a:lnTo>
                    <a:pt x="1756" y="1253"/>
                  </a:lnTo>
                  <a:lnTo>
                    <a:pt x="1758" y="1253"/>
                  </a:lnTo>
                  <a:lnTo>
                    <a:pt x="1760" y="1253"/>
                  </a:lnTo>
                  <a:lnTo>
                    <a:pt x="1762" y="1255"/>
                  </a:lnTo>
                  <a:lnTo>
                    <a:pt x="1764" y="1257"/>
                  </a:lnTo>
                  <a:lnTo>
                    <a:pt x="1766" y="1257"/>
                  </a:lnTo>
                  <a:lnTo>
                    <a:pt x="1766" y="1258"/>
                  </a:lnTo>
                  <a:lnTo>
                    <a:pt x="1766" y="1257"/>
                  </a:lnTo>
                  <a:lnTo>
                    <a:pt x="1766" y="1258"/>
                  </a:lnTo>
                  <a:lnTo>
                    <a:pt x="1768" y="1258"/>
                  </a:lnTo>
                  <a:lnTo>
                    <a:pt x="1768" y="1260"/>
                  </a:lnTo>
                  <a:lnTo>
                    <a:pt x="1768" y="1258"/>
                  </a:lnTo>
                  <a:lnTo>
                    <a:pt x="1768" y="1260"/>
                  </a:lnTo>
                  <a:lnTo>
                    <a:pt x="1770" y="1260"/>
                  </a:lnTo>
                  <a:lnTo>
                    <a:pt x="1768" y="1260"/>
                  </a:lnTo>
                  <a:lnTo>
                    <a:pt x="1770" y="1260"/>
                  </a:lnTo>
                  <a:lnTo>
                    <a:pt x="1770" y="1262"/>
                  </a:lnTo>
                  <a:lnTo>
                    <a:pt x="1770" y="1260"/>
                  </a:lnTo>
                  <a:lnTo>
                    <a:pt x="1770" y="1262"/>
                  </a:lnTo>
                  <a:lnTo>
                    <a:pt x="1772" y="1262"/>
                  </a:lnTo>
                  <a:lnTo>
                    <a:pt x="1770" y="1262"/>
                  </a:lnTo>
                  <a:lnTo>
                    <a:pt x="1772" y="1262"/>
                  </a:lnTo>
                  <a:lnTo>
                    <a:pt x="1772" y="1264"/>
                  </a:lnTo>
                  <a:lnTo>
                    <a:pt x="1774" y="1264"/>
                  </a:lnTo>
                  <a:lnTo>
                    <a:pt x="1775" y="1266"/>
                  </a:lnTo>
                  <a:lnTo>
                    <a:pt x="1777" y="1266"/>
                  </a:lnTo>
                  <a:lnTo>
                    <a:pt x="1779" y="1266"/>
                  </a:lnTo>
                  <a:lnTo>
                    <a:pt x="1781" y="1266"/>
                  </a:lnTo>
                  <a:lnTo>
                    <a:pt x="1783" y="1264"/>
                  </a:lnTo>
                  <a:lnTo>
                    <a:pt x="1785" y="1262"/>
                  </a:lnTo>
                  <a:lnTo>
                    <a:pt x="1787" y="1260"/>
                  </a:lnTo>
                  <a:lnTo>
                    <a:pt x="1785" y="1260"/>
                  </a:lnTo>
                  <a:lnTo>
                    <a:pt x="1787" y="1260"/>
                  </a:lnTo>
                  <a:lnTo>
                    <a:pt x="1787" y="1258"/>
                  </a:lnTo>
                  <a:lnTo>
                    <a:pt x="1789" y="1258"/>
                  </a:lnTo>
                  <a:lnTo>
                    <a:pt x="1791" y="1258"/>
                  </a:lnTo>
                  <a:lnTo>
                    <a:pt x="1793" y="1257"/>
                  </a:lnTo>
                  <a:lnTo>
                    <a:pt x="1791" y="1255"/>
                  </a:lnTo>
                  <a:lnTo>
                    <a:pt x="1793" y="1255"/>
                  </a:lnTo>
                  <a:lnTo>
                    <a:pt x="1793" y="1257"/>
                  </a:lnTo>
                  <a:lnTo>
                    <a:pt x="1797" y="1258"/>
                  </a:lnTo>
                  <a:lnTo>
                    <a:pt x="1799" y="1260"/>
                  </a:lnTo>
                  <a:lnTo>
                    <a:pt x="1799" y="1262"/>
                  </a:lnTo>
                  <a:lnTo>
                    <a:pt x="1799" y="1260"/>
                  </a:lnTo>
                  <a:lnTo>
                    <a:pt x="1797" y="1260"/>
                  </a:lnTo>
                  <a:lnTo>
                    <a:pt x="1795" y="1260"/>
                  </a:lnTo>
                  <a:lnTo>
                    <a:pt x="1795" y="1262"/>
                  </a:lnTo>
                  <a:lnTo>
                    <a:pt x="1793" y="1262"/>
                  </a:lnTo>
                  <a:lnTo>
                    <a:pt x="1795" y="1262"/>
                  </a:lnTo>
                  <a:lnTo>
                    <a:pt x="1795" y="1260"/>
                  </a:lnTo>
                  <a:lnTo>
                    <a:pt x="1797" y="1260"/>
                  </a:lnTo>
                  <a:lnTo>
                    <a:pt x="1795" y="1260"/>
                  </a:lnTo>
                  <a:lnTo>
                    <a:pt x="1793" y="1262"/>
                  </a:lnTo>
                  <a:lnTo>
                    <a:pt x="1791" y="1262"/>
                  </a:lnTo>
                  <a:lnTo>
                    <a:pt x="1789" y="1264"/>
                  </a:lnTo>
                  <a:lnTo>
                    <a:pt x="1787" y="1264"/>
                  </a:lnTo>
                  <a:lnTo>
                    <a:pt x="1785" y="1266"/>
                  </a:lnTo>
                  <a:lnTo>
                    <a:pt x="1783" y="1268"/>
                  </a:lnTo>
                  <a:lnTo>
                    <a:pt x="1781" y="1268"/>
                  </a:lnTo>
                  <a:lnTo>
                    <a:pt x="1783" y="1266"/>
                  </a:lnTo>
                  <a:lnTo>
                    <a:pt x="1785" y="1266"/>
                  </a:lnTo>
                  <a:lnTo>
                    <a:pt x="1787" y="1266"/>
                  </a:lnTo>
                  <a:lnTo>
                    <a:pt x="1787" y="1264"/>
                  </a:lnTo>
                  <a:lnTo>
                    <a:pt x="1789" y="1264"/>
                  </a:lnTo>
                  <a:lnTo>
                    <a:pt x="1791" y="1264"/>
                  </a:lnTo>
                  <a:lnTo>
                    <a:pt x="1789" y="1264"/>
                  </a:lnTo>
                  <a:lnTo>
                    <a:pt x="1789" y="1266"/>
                  </a:lnTo>
                  <a:lnTo>
                    <a:pt x="1787" y="1266"/>
                  </a:lnTo>
                  <a:lnTo>
                    <a:pt x="1787" y="1268"/>
                  </a:lnTo>
                  <a:lnTo>
                    <a:pt x="1785" y="1268"/>
                  </a:lnTo>
                  <a:lnTo>
                    <a:pt x="1785" y="1270"/>
                  </a:lnTo>
                  <a:lnTo>
                    <a:pt x="1785" y="1268"/>
                  </a:lnTo>
                  <a:lnTo>
                    <a:pt x="1783" y="1268"/>
                  </a:lnTo>
                  <a:lnTo>
                    <a:pt x="1783" y="1270"/>
                  </a:lnTo>
                  <a:lnTo>
                    <a:pt x="1781" y="1270"/>
                  </a:lnTo>
                  <a:lnTo>
                    <a:pt x="1781" y="1272"/>
                  </a:lnTo>
                  <a:lnTo>
                    <a:pt x="1781" y="1274"/>
                  </a:lnTo>
                  <a:lnTo>
                    <a:pt x="1779" y="1274"/>
                  </a:lnTo>
                  <a:lnTo>
                    <a:pt x="1779" y="1276"/>
                  </a:lnTo>
                  <a:lnTo>
                    <a:pt x="1781" y="1278"/>
                  </a:lnTo>
                  <a:lnTo>
                    <a:pt x="1779" y="1278"/>
                  </a:lnTo>
                  <a:lnTo>
                    <a:pt x="1779" y="1280"/>
                  </a:lnTo>
                  <a:lnTo>
                    <a:pt x="1781" y="1282"/>
                  </a:lnTo>
                  <a:lnTo>
                    <a:pt x="1783" y="1283"/>
                  </a:lnTo>
                  <a:lnTo>
                    <a:pt x="1783" y="1285"/>
                  </a:lnTo>
                  <a:lnTo>
                    <a:pt x="1783" y="1287"/>
                  </a:lnTo>
                  <a:lnTo>
                    <a:pt x="1785" y="1289"/>
                  </a:lnTo>
                  <a:lnTo>
                    <a:pt x="1785" y="1291"/>
                  </a:lnTo>
                  <a:lnTo>
                    <a:pt x="1787" y="1291"/>
                  </a:lnTo>
                  <a:lnTo>
                    <a:pt x="1787" y="1293"/>
                  </a:lnTo>
                  <a:lnTo>
                    <a:pt x="1789" y="1295"/>
                  </a:lnTo>
                  <a:lnTo>
                    <a:pt x="1791" y="1297"/>
                  </a:lnTo>
                  <a:lnTo>
                    <a:pt x="1791" y="1299"/>
                  </a:lnTo>
                  <a:lnTo>
                    <a:pt x="1793" y="1299"/>
                  </a:lnTo>
                  <a:lnTo>
                    <a:pt x="1791" y="1299"/>
                  </a:lnTo>
                  <a:lnTo>
                    <a:pt x="1791" y="1301"/>
                  </a:lnTo>
                  <a:lnTo>
                    <a:pt x="1793" y="1299"/>
                  </a:lnTo>
                  <a:lnTo>
                    <a:pt x="1793" y="1301"/>
                  </a:lnTo>
                  <a:lnTo>
                    <a:pt x="1793" y="1299"/>
                  </a:lnTo>
                  <a:lnTo>
                    <a:pt x="1795" y="1299"/>
                  </a:lnTo>
                  <a:lnTo>
                    <a:pt x="1793" y="1299"/>
                  </a:lnTo>
                  <a:lnTo>
                    <a:pt x="1795" y="1299"/>
                  </a:lnTo>
                  <a:lnTo>
                    <a:pt x="1797" y="1299"/>
                  </a:lnTo>
                  <a:lnTo>
                    <a:pt x="1799" y="1301"/>
                  </a:lnTo>
                  <a:lnTo>
                    <a:pt x="1800" y="1303"/>
                  </a:lnTo>
                  <a:lnTo>
                    <a:pt x="1800" y="1301"/>
                  </a:lnTo>
                  <a:lnTo>
                    <a:pt x="1800" y="1303"/>
                  </a:lnTo>
                  <a:lnTo>
                    <a:pt x="1802" y="1301"/>
                  </a:lnTo>
                  <a:lnTo>
                    <a:pt x="1804" y="1301"/>
                  </a:lnTo>
                  <a:lnTo>
                    <a:pt x="1806" y="1301"/>
                  </a:lnTo>
                  <a:lnTo>
                    <a:pt x="1808" y="1301"/>
                  </a:lnTo>
                  <a:lnTo>
                    <a:pt x="1808" y="1299"/>
                  </a:lnTo>
                  <a:lnTo>
                    <a:pt x="1808" y="1301"/>
                  </a:lnTo>
                  <a:lnTo>
                    <a:pt x="1810" y="1301"/>
                  </a:lnTo>
                  <a:lnTo>
                    <a:pt x="1810" y="1303"/>
                  </a:lnTo>
                  <a:lnTo>
                    <a:pt x="1812" y="1303"/>
                  </a:lnTo>
                  <a:lnTo>
                    <a:pt x="1812" y="1305"/>
                  </a:lnTo>
                  <a:lnTo>
                    <a:pt x="1814" y="1305"/>
                  </a:lnTo>
                  <a:lnTo>
                    <a:pt x="1816" y="1305"/>
                  </a:lnTo>
                  <a:lnTo>
                    <a:pt x="1816" y="1306"/>
                  </a:lnTo>
                  <a:lnTo>
                    <a:pt x="1816" y="1305"/>
                  </a:lnTo>
                  <a:lnTo>
                    <a:pt x="1820" y="1306"/>
                  </a:lnTo>
                  <a:lnTo>
                    <a:pt x="1822" y="1306"/>
                  </a:lnTo>
                  <a:lnTo>
                    <a:pt x="1822" y="1308"/>
                  </a:lnTo>
                  <a:lnTo>
                    <a:pt x="1823" y="1308"/>
                  </a:lnTo>
                  <a:lnTo>
                    <a:pt x="1825" y="1308"/>
                  </a:lnTo>
                  <a:lnTo>
                    <a:pt x="1829" y="1308"/>
                  </a:lnTo>
                  <a:lnTo>
                    <a:pt x="1831" y="1306"/>
                  </a:lnTo>
                  <a:lnTo>
                    <a:pt x="1831" y="1308"/>
                  </a:lnTo>
                  <a:lnTo>
                    <a:pt x="1833" y="1308"/>
                  </a:lnTo>
                  <a:lnTo>
                    <a:pt x="1833" y="1310"/>
                  </a:lnTo>
                  <a:lnTo>
                    <a:pt x="1831" y="1310"/>
                  </a:lnTo>
                  <a:lnTo>
                    <a:pt x="1833" y="1310"/>
                  </a:lnTo>
                  <a:lnTo>
                    <a:pt x="1835" y="1310"/>
                  </a:lnTo>
                  <a:lnTo>
                    <a:pt x="1835" y="1308"/>
                  </a:lnTo>
                  <a:lnTo>
                    <a:pt x="1835" y="1310"/>
                  </a:lnTo>
                  <a:lnTo>
                    <a:pt x="1837" y="1310"/>
                  </a:lnTo>
                  <a:lnTo>
                    <a:pt x="1839" y="1312"/>
                  </a:lnTo>
                  <a:lnTo>
                    <a:pt x="1841" y="1316"/>
                  </a:lnTo>
                  <a:lnTo>
                    <a:pt x="1841" y="1318"/>
                  </a:lnTo>
                  <a:lnTo>
                    <a:pt x="1843" y="1318"/>
                  </a:lnTo>
                  <a:lnTo>
                    <a:pt x="1841" y="1318"/>
                  </a:lnTo>
                  <a:lnTo>
                    <a:pt x="1843" y="1320"/>
                  </a:lnTo>
                  <a:lnTo>
                    <a:pt x="1843" y="1318"/>
                  </a:lnTo>
                  <a:lnTo>
                    <a:pt x="1845" y="1318"/>
                  </a:lnTo>
                  <a:lnTo>
                    <a:pt x="1845" y="1320"/>
                  </a:lnTo>
                  <a:lnTo>
                    <a:pt x="1845" y="1322"/>
                  </a:lnTo>
                  <a:lnTo>
                    <a:pt x="1847" y="1324"/>
                  </a:lnTo>
                  <a:lnTo>
                    <a:pt x="1848" y="1324"/>
                  </a:lnTo>
                  <a:lnTo>
                    <a:pt x="1850" y="1326"/>
                  </a:lnTo>
                  <a:lnTo>
                    <a:pt x="1850" y="1324"/>
                  </a:lnTo>
                  <a:lnTo>
                    <a:pt x="1852" y="1324"/>
                  </a:lnTo>
                  <a:lnTo>
                    <a:pt x="1852" y="1326"/>
                  </a:lnTo>
                  <a:lnTo>
                    <a:pt x="1850" y="1328"/>
                  </a:lnTo>
                  <a:lnTo>
                    <a:pt x="1852" y="1328"/>
                  </a:lnTo>
                  <a:lnTo>
                    <a:pt x="1852" y="1330"/>
                  </a:lnTo>
                  <a:lnTo>
                    <a:pt x="1852" y="1331"/>
                  </a:lnTo>
                  <a:lnTo>
                    <a:pt x="1854" y="1331"/>
                  </a:lnTo>
                  <a:lnTo>
                    <a:pt x="1856" y="1331"/>
                  </a:lnTo>
                  <a:lnTo>
                    <a:pt x="1856" y="1333"/>
                  </a:lnTo>
                  <a:lnTo>
                    <a:pt x="1866" y="1341"/>
                  </a:lnTo>
                  <a:lnTo>
                    <a:pt x="1868" y="1341"/>
                  </a:lnTo>
                  <a:lnTo>
                    <a:pt x="1868" y="1343"/>
                  </a:lnTo>
                  <a:lnTo>
                    <a:pt x="1866" y="1349"/>
                  </a:lnTo>
                  <a:lnTo>
                    <a:pt x="1866" y="1351"/>
                  </a:lnTo>
                  <a:lnTo>
                    <a:pt x="1864" y="1355"/>
                  </a:lnTo>
                  <a:lnTo>
                    <a:pt x="1862" y="1358"/>
                  </a:lnTo>
                  <a:lnTo>
                    <a:pt x="1862" y="1362"/>
                  </a:lnTo>
                  <a:lnTo>
                    <a:pt x="1860" y="1364"/>
                  </a:lnTo>
                  <a:lnTo>
                    <a:pt x="1860" y="1366"/>
                  </a:lnTo>
                  <a:lnTo>
                    <a:pt x="1860" y="1368"/>
                  </a:lnTo>
                  <a:lnTo>
                    <a:pt x="1860" y="1370"/>
                  </a:lnTo>
                  <a:lnTo>
                    <a:pt x="1858" y="1372"/>
                  </a:lnTo>
                  <a:lnTo>
                    <a:pt x="1858" y="1374"/>
                  </a:lnTo>
                  <a:lnTo>
                    <a:pt x="1858" y="1376"/>
                  </a:lnTo>
                  <a:lnTo>
                    <a:pt x="1856" y="1378"/>
                  </a:lnTo>
                  <a:lnTo>
                    <a:pt x="1858" y="1379"/>
                  </a:lnTo>
                  <a:lnTo>
                    <a:pt x="1862" y="1383"/>
                  </a:lnTo>
                  <a:lnTo>
                    <a:pt x="1866" y="1387"/>
                  </a:lnTo>
                  <a:lnTo>
                    <a:pt x="1868" y="1389"/>
                  </a:lnTo>
                  <a:lnTo>
                    <a:pt x="1870" y="1383"/>
                  </a:lnTo>
                  <a:lnTo>
                    <a:pt x="1871" y="1381"/>
                  </a:lnTo>
                  <a:lnTo>
                    <a:pt x="1871" y="1383"/>
                  </a:lnTo>
                  <a:lnTo>
                    <a:pt x="1877" y="1387"/>
                  </a:lnTo>
                  <a:lnTo>
                    <a:pt x="1879" y="1389"/>
                  </a:lnTo>
                  <a:lnTo>
                    <a:pt x="1881" y="1391"/>
                  </a:lnTo>
                  <a:lnTo>
                    <a:pt x="1883" y="1393"/>
                  </a:lnTo>
                  <a:lnTo>
                    <a:pt x="1885" y="1395"/>
                  </a:lnTo>
                  <a:lnTo>
                    <a:pt x="1887" y="1397"/>
                  </a:lnTo>
                  <a:lnTo>
                    <a:pt x="1889" y="1399"/>
                  </a:lnTo>
                  <a:lnTo>
                    <a:pt x="1891" y="1401"/>
                  </a:lnTo>
                  <a:lnTo>
                    <a:pt x="1893" y="1403"/>
                  </a:lnTo>
                  <a:lnTo>
                    <a:pt x="1893" y="1401"/>
                  </a:lnTo>
                  <a:lnTo>
                    <a:pt x="1894" y="1403"/>
                  </a:lnTo>
                  <a:lnTo>
                    <a:pt x="1894" y="1401"/>
                  </a:lnTo>
                  <a:lnTo>
                    <a:pt x="1896" y="1401"/>
                  </a:lnTo>
                  <a:lnTo>
                    <a:pt x="1896" y="1403"/>
                  </a:lnTo>
                  <a:lnTo>
                    <a:pt x="1896" y="1404"/>
                  </a:lnTo>
                  <a:lnTo>
                    <a:pt x="1894" y="1406"/>
                  </a:lnTo>
                  <a:lnTo>
                    <a:pt x="1894" y="1408"/>
                  </a:lnTo>
                  <a:lnTo>
                    <a:pt x="1894" y="1412"/>
                  </a:lnTo>
                  <a:lnTo>
                    <a:pt x="1894" y="1414"/>
                  </a:lnTo>
                  <a:lnTo>
                    <a:pt x="1894" y="1416"/>
                  </a:lnTo>
                  <a:lnTo>
                    <a:pt x="1894" y="1418"/>
                  </a:lnTo>
                  <a:lnTo>
                    <a:pt x="1894" y="1422"/>
                  </a:lnTo>
                  <a:lnTo>
                    <a:pt x="1894" y="1424"/>
                  </a:lnTo>
                  <a:lnTo>
                    <a:pt x="1894" y="1426"/>
                  </a:lnTo>
                  <a:lnTo>
                    <a:pt x="1893" y="1429"/>
                  </a:lnTo>
                  <a:lnTo>
                    <a:pt x="1893" y="1431"/>
                  </a:lnTo>
                  <a:lnTo>
                    <a:pt x="1893" y="1435"/>
                  </a:lnTo>
                  <a:lnTo>
                    <a:pt x="1893" y="1445"/>
                  </a:lnTo>
                  <a:lnTo>
                    <a:pt x="1893" y="1447"/>
                  </a:lnTo>
                  <a:lnTo>
                    <a:pt x="1893" y="1449"/>
                  </a:lnTo>
                  <a:lnTo>
                    <a:pt x="1893" y="1451"/>
                  </a:lnTo>
                  <a:lnTo>
                    <a:pt x="1894" y="1452"/>
                  </a:lnTo>
                  <a:lnTo>
                    <a:pt x="1896" y="1454"/>
                  </a:lnTo>
                  <a:lnTo>
                    <a:pt x="1898" y="1454"/>
                  </a:lnTo>
                  <a:lnTo>
                    <a:pt x="1900" y="1454"/>
                  </a:lnTo>
                  <a:lnTo>
                    <a:pt x="1904" y="1456"/>
                  </a:lnTo>
                  <a:lnTo>
                    <a:pt x="1908" y="1456"/>
                  </a:lnTo>
                  <a:lnTo>
                    <a:pt x="1912" y="1456"/>
                  </a:lnTo>
                  <a:lnTo>
                    <a:pt x="1914" y="1458"/>
                  </a:lnTo>
                  <a:lnTo>
                    <a:pt x="1918" y="1458"/>
                  </a:lnTo>
                  <a:lnTo>
                    <a:pt x="1923" y="1458"/>
                  </a:lnTo>
                  <a:lnTo>
                    <a:pt x="1927" y="1460"/>
                  </a:lnTo>
                  <a:lnTo>
                    <a:pt x="1925" y="1460"/>
                  </a:lnTo>
                  <a:lnTo>
                    <a:pt x="1925" y="1462"/>
                  </a:lnTo>
                  <a:lnTo>
                    <a:pt x="1923" y="1462"/>
                  </a:lnTo>
                  <a:lnTo>
                    <a:pt x="1923" y="1460"/>
                  </a:lnTo>
                  <a:lnTo>
                    <a:pt x="1921" y="1462"/>
                  </a:lnTo>
                  <a:lnTo>
                    <a:pt x="1919" y="1462"/>
                  </a:lnTo>
                  <a:lnTo>
                    <a:pt x="1921" y="1462"/>
                  </a:lnTo>
                  <a:lnTo>
                    <a:pt x="1919" y="1462"/>
                  </a:lnTo>
                  <a:lnTo>
                    <a:pt x="1921" y="1462"/>
                  </a:lnTo>
                  <a:lnTo>
                    <a:pt x="1919" y="1464"/>
                  </a:lnTo>
                  <a:lnTo>
                    <a:pt x="1921" y="1464"/>
                  </a:lnTo>
                  <a:lnTo>
                    <a:pt x="1925" y="1466"/>
                  </a:lnTo>
                  <a:lnTo>
                    <a:pt x="1927" y="1468"/>
                  </a:lnTo>
                  <a:lnTo>
                    <a:pt x="1927" y="1470"/>
                  </a:lnTo>
                  <a:lnTo>
                    <a:pt x="1929" y="1470"/>
                  </a:lnTo>
                  <a:lnTo>
                    <a:pt x="1929" y="1472"/>
                  </a:lnTo>
                  <a:lnTo>
                    <a:pt x="1929" y="1474"/>
                  </a:lnTo>
                  <a:lnTo>
                    <a:pt x="1929" y="1476"/>
                  </a:lnTo>
                  <a:lnTo>
                    <a:pt x="1927" y="1476"/>
                  </a:lnTo>
                  <a:lnTo>
                    <a:pt x="1927" y="1477"/>
                  </a:lnTo>
                  <a:lnTo>
                    <a:pt x="1927" y="1479"/>
                  </a:lnTo>
                  <a:lnTo>
                    <a:pt x="1925" y="1481"/>
                  </a:lnTo>
                  <a:lnTo>
                    <a:pt x="1927" y="1481"/>
                  </a:lnTo>
                  <a:lnTo>
                    <a:pt x="1929" y="1483"/>
                  </a:lnTo>
                  <a:lnTo>
                    <a:pt x="1933" y="1485"/>
                  </a:lnTo>
                  <a:lnTo>
                    <a:pt x="1937" y="1485"/>
                  </a:lnTo>
                  <a:lnTo>
                    <a:pt x="1939" y="1485"/>
                  </a:lnTo>
                  <a:lnTo>
                    <a:pt x="1939" y="1487"/>
                  </a:lnTo>
                  <a:lnTo>
                    <a:pt x="1941" y="1487"/>
                  </a:lnTo>
                  <a:lnTo>
                    <a:pt x="1941" y="1489"/>
                  </a:lnTo>
                  <a:lnTo>
                    <a:pt x="1941" y="1491"/>
                  </a:lnTo>
                  <a:lnTo>
                    <a:pt x="1941" y="1493"/>
                  </a:lnTo>
                  <a:lnTo>
                    <a:pt x="1939" y="1495"/>
                  </a:lnTo>
                  <a:lnTo>
                    <a:pt x="1941" y="1495"/>
                  </a:lnTo>
                  <a:lnTo>
                    <a:pt x="1942" y="1497"/>
                  </a:lnTo>
                  <a:lnTo>
                    <a:pt x="1944" y="1497"/>
                  </a:lnTo>
                  <a:lnTo>
                    <a:pt x="1944" y="1499"/>
                  </a:lnTo>
                  <a:lnTo>
                    <a:pt x="1948" y="1499"/>
                  </a:lnTo>
                  <a:lnTo>
                    <a:pt x="1950" y="1501"/>
                  </a:lnTo>
                  <a:lnTo>
                    <a:pt x="1952" y="1501"/>
                  </a:lnTo>
                  <a:lnTo>
                    <a:pt x="1952" y="1502"/>
                  </a:lnTo>
                  <a:lnTo>
                    <a:pt x="1952" y="1504"/>
                  </a:lnTo>
                  <a:lnTo>
                    <a:pt x="1950" y="1506"/>
                  </a:lnTo>
                  <a:lnTo>
                    <a:pt x="1950" y="1508"/>
                  </a:lnTo>
                  <a:lnTo>
                    <a:pt x="1948" y="1508"/>
                  </a:lnTo>
                  <a:lnTo>
                    <a:pt x="1946" y="1508"/>
                  </a:lnTo>
                  <a:lnTo>
                    <a:pt x="1946" y="1510"/>
                  </a:lnTo>
                  <a:lnTo>
                    <a:pt x="1946" y="1508"/>
                  </a:lnTo>
                  <a:lnTo>
                    <a:pt x="1946" y="1510"/>
                  </a:lnTo>
                  <a:lnTo>
                    <a:pt x="1944" y="1510"/>
                  </a:lnTo>
                  <a:lnTo>
                    <a:pt x="1942" y="1510"/>
                  </a:lnTo>
                  <a:lnTo>
                    <a:pt x="1941" y="1510"/>
                  </a:lnTo>
                  <a:lnTo>
                    <a:pt x="1939" y="1510"/>
                  </a:lnTo>
                  <a:lnTo>
                    <a:pt x="1941" y="1510"/>
                  </a:lnTo>
                  <a:lnTo>
                    <a:pt x="1939" y="1510"/>
                  </a:lnTo>
                  <a:lnTo>
                    <a:pt x="1939" y="1512"/>
                  </a:lnTo>
                  <a:lnTo>
                    <a:pt x="1939" y="1514"/>
                  </a:lnTo>
                  <a:lnTo>
                    <a:pt x="1937" y="1518"/>
                  </a:lnTo>
                  <a:lnTo>
                    <a:pt x="1935" y="1518"/>
                  </a:lnTo>
                  <a:lnTo>
                    <a:pt x="1935" y="1522"/>
                  </a:lnTo>
                  <a:lnTo>
                    <a:pt x="1937" y="1522"/>
                  </a:lnTo>
                  <a:lnTo>
                    <a:pt x="1937" y="1524"/>
                  </a:lnTo>
                  <a:lnTo>
                    <a:pt x="1937" y="1525"/>
                  </a:lnTo>
                  <a:lnTo>
                    <a:pt x="1939" y="1525"/>
                  </a:lnTo>
                  <a:lnTo>
                    <a:pt x="1941" y="1525"/>
                  </a:lnTo>
                  <a:lnTo>
                    <a:pt x="1942" y="1525"/>
                  </a:lnTo>
                  <a:lnTo>
                    <a:pt x="1944" y="1525"/>
                  </a:lnTo>
                  <a:lnTo>
                    <a:pt x="1942" y="1527"/>
                  </a:lnTo>
                  <a:lnTo>
                    <a:pt x="1942" y="1529"/>
                  </a:lnTo>
                  <a:lnTo>
                    <a:pt x="1944" y="1529"/>
                  </a:lnTo>
                  <a:lnTo>
                    <a:pt x="1944" y="1531"/>
                  </a:lnTo>
                  <a:lnTo>
                    <a:pt x="1946" y="1531"/>
                  </a:lnTo>
                  <a:lnTo>
                    <a:pt x="1946" y="1533"/>
                  </a:lnTo>
                  <a:lnTo>
                    <a:pt x="1944" y="1533"/>
                  </a:lnTo>
                  <a:lnTo>
                    <a:pt x="1942" y="1533"/>
                  </a:lnTo>
                  <a:lnTo>
                    <a:pt x="1941" y="1531"/>
                  </a:lnTo>
                  <a:lnTo>
                    <a:pt x="1939" y="1529"/>
                  </a:lnTo>
                  <a:lnTo>
                    <a:pt x="1937" y="1529"/>
                  </a:lnTo>
                  <a:lnTo>
                    <a:pt x="1935" y="1531"/>
                  </a:lnTo>
                  <a:lnTo>
                    <a:pt x="1933" y="1529"/>
                  </a:lnTo>
                  <a:lnTo>
                    <a:pt x="1931" y="1529"/>
                  </a:lnTo>
                  <a:lnTo>
                    <a:pt x="1929" y="1529"/>
                  </a:lnTo>
                  <a:lnTo>
                    <a:pt x="1927" y="1529"/>
                  </a:lnTo>
                  <a:lnTo>
                    <a:pt x="1929" y="1531"/>
                  </a:lnTo>
                  <a:lnTo>
                    <a:pt x="1931" y="1531"/>
                  </a:lnTo>
                  <a:lnTo>
                    <a:pt x="1933" y="1531"/>
                  </a:lnTo>
                  <a:lnTo>
                    <a:pt x="1931" y="1533"/>
                  </a:lnTo>
                  <a:lnTo>
                    <a:pt x="1933" y="1533"/>
                  </a:lnTo>
                  <a:lnTo>
                    <a:pt x="1933" y="1535"/>
                  </a:lnTo>
                  <a:lnTo>
                    <a:pt x="1933" y="1537"/>
                  </a:lnTo>
                  <a:lnTo>
                    <a:pt x="1929" y="1541"/>
                  </a:lnTo>
                  <a:lnTo>
                    <a:pt x="1927" y="1541"/>
                  </a:lnTo>
                  <a:lnTo>
                    <a:pt x="1925" y="1545"/>
                  </a:lnTo>
                  <a:lnTo>
                    <a:pt x="1925" y="1547"/>
                  </a:lnTo>
                  <a:lnTo>
                    <a:pt x="1925" y="1550"/>
                  </a:lnTo>
                  <a:lnTo>
                    <a:pt x="1925" y="1552"/>
                  </a:lnTo>
                  <a:lnTo>
                    <a:pt x="1925" y="1556"/>
                  </a:lnTo>
                  <a:lnTo>
                    <a:pt x="1925" y="1558"/>
                  </a:lnTo>
                  <a:lnTo>
                    <a:pt x="1925" y="1560"/>
                  </a:lnTo>
                  <a:lnTo>
                    <a:pt x="1923" y="1562"/>
                  </a:lnTo>
                  <a:lnTo>
                    <a:pt x="1919" y="1562"/>
                  </a:lnTo>
                  <a:lnTo>
                    <a:pt x="1918" y="1564"/>
                  </a:lnTo>
                  <a:lnTo>
                    <a:pt x="1916" y="1564"/>
                  </a:lnTo>
                  <a:lnTo>
                    <a:pt x="1914" y="1566"/>
                  </a:lnTo>
                  <a:lnTo>
                    <a:pt x="1912" y="1566"/>
                  </a:lnTo>
                  <a:lnTo>
                    <a:pt x="1912" y="1568"/>
                  </a:lnTo>
                  <a:lnTo>
                    <a:pt x="1910" y="1570"/>
                  </a:lnTo>
                  <a:lnTo>
                    <a:pt x="1908" y="1570"/>
                  </a:lnTo>
                  <a:lnTo>
                    <a:pt x="1908" y="1572"/>
                  </a:lnTo>
                  <a:lnTo>
                    <a:pt x="1906" y="1573"/>
                  </a:lnTo>
                  <a:lnTo>
                    <a:pt x="1904" y="1573"/>
                  </a:lnTo>
                  <a:lnTo>
                    <a:pt x="1902" y="1575"/>
                  </a:lnTo>
                  <a:lnTo>
                    <a:pt x="1902" y="1577"/>
                  </a:lnTo>
                  <a:lnTo>
                    <a:pt x="1900" y="1577"/>
                  </a:lnTo>
                  <a:lnTo>
                    <a:pt x="1902" y="1579"/>
                  </a:lnTo>
                  <a:lnTo>
                    <a:pt x="1906" y="1581"/>
                  </a:lnTo>
                  <a:lnTo>
                    <a:pt x="1906" y="1583"/>
                  </a:lnTo>
                  <a:lnTo>
                    <a:pt x="1906" y="1585"/>
                  </a:lnTo>
                  <a:lnTo>
                    <a:pt x="1908" y="1585"/>
                  </a:lnTo>
                  <a:lnTo>
                    <a:pt x="1910" y="1585"/>
                  </a:lnTo>
                  <a:lnTo>
                    <a:pt x="1912" y="1587"/>
                  </a:lnTo>
                  <a:lnTo>
                    <a:pt x="1914" y="1589"/>
                  </a:lnTo>
                  <a:lnTo>
                    <a:pt x="1916" y="1589"/>
                  </a:lnTo>
                  <a:lnTo>
                    <a:pt x="1916" y="1591"/>
                  </a:lnTo>
                  <a:lnTo>
                    <a:pt x="1918" y="1591"/>
                  </a:lnTo>
                  <a:lnTo>
                    <a:pt x="1919" y="1593"/>
                  </a:lnTo>
                  <a:lnTo>
                    <a:pt x="1921" y="1595"/>
                  </a:lnTo>
                  <a:lnTo>
                    <a:pt x="1923" y="1593"/>
                  </a:lnTo>
                  <a:lnTo>
                    <a:pt x="1925" y="1593"/>
                  </a:lnTo>
                  <a:lnTo>
                    <a:pt x="1927" y="1593"/>
                  </a:lnTo>
                  <a:lnTo>
                    <a:pt x="1929" y="1591"/>
                  </a:lnTo>
                  <a:lnTo>
                    <a:pt x="1931" y="1591"/>
                  </a:lnTo>
                  <a:lnTo>
                    <a:pt x="1931" y="1593"/>
                  </a:lnTo>
                  <a:lnTo>
                    <a:pt x="1933" y="1593"/>
                  </a:lnTo>
                  <a:lnTo>
                    <a:pt x="1935" y="1593"/>
                  </a:lnTo>
                  <a:lnTo>
                    <a:pt x="1937" y="1591"/>
                  </a:lnTo>
                  <a:lnTo>
                    <a:pt x="1937" y="1589"/>
                  </a:lnTo>
                  <a:lnTo>
                    <a:pt x="1939" y="1591"/>
                  </a:lnTo>
                  <a:lnTo>
                    <a:pt x="1939" y="1589"/>
                  </a:lnTo>
                  <a:lnTo>
                    <a:pt x="1941" y="1587"/>
                  </a:lnTo>
                  <a:lnTo>
                    <a:pt x="1941" y="1585"/>
                  </a:lnTo>
                  <a:lnTo>
                    <a:pt x="1942" y="1585"/>
                  </a:lnTo>
                  <a:lnTo>
                    <a:pt x="1944" y="1585"/>
                  </a:lnTo>
                  <a:lnTo>
                    <a:pt x="1944" y="1583"/>
                  </a:lnTo>
                  <a:lnTo>
                    <a:pt x="1946" y="1583"/>
                  </a:lnTo>
                  <a:lnTo>
                    <a:pt x="1948" y="1583"/>
                  </a:lnTo>
                  <a:lnTo>
                    <a:pt x="1950" y="1583"/>
                  </a:lnTo>
                  <a:lnTo>
                    <a:pt x="1952" y="1583"/>
                  </a:lnTo>
                  <a:lnTo>
                    <a:pt x="1954" y="1583"/>
                  </a:lnTo>
                  <a:lnTo>
                    <a:pt x="1954" y="1585"/>
                  </a:lnTo>
                  <a:lnTo>
                    <a:pt x="1954" y="1583"/>
                  </a:lnTo>
                  <a:lnTo>
                    <a:pt x="1954" y="1585"/>
                  </a:lnTo>
                  <a:lnTo>
                    <a:pt x="1956" y="1585"/>
                  </a:lnTo>
                  <a:lnTo>
                    <a:pt x="1956" y="1583"/>
                  </a:lnTo>
                  <a:lnTo>
                    <a:pt x="1958" y="1583"/>
                  </a:lnTo>
                  <a:lnTo>
                    <a:pt x="1958" y="1581"/>
                  </a:lnTo>
                  <a:lnTo>
                    <a:pt x="1960" y="1581"/>
                  </a:lnTo>
                  <a:lnTo>
                    <a:pt x="1962" y="1579"/>
                  </a:lnTo>
                  <a:lnTo>
                    <a:pt x="1964" y="1579"/>
                  </a:lnTo>
                  <a:lnTo>
                    <a:pt x="1964" y="1577"/>
                  </a:lnTo>
                  <a:lnTo>
                    <a:pt x="1960" y="1575"/>
                  </a:lnTo>
                  <a:lnTo>
                    <a:pt x="1964" y="1568"/>
                  </a:lnTo>
                  <a:lnTo>
                    <a:pt x="1967" y="1570"/>
                  </a:lnTo>
                  <a:lnTo>
                    <a:pt x="1969" y="1570"/>
                  </a:lnTo>
                  <a:lnTo>
                    <a:pt x="1969" y="1564"/>
                  </a:lnTo>
                  <a:lnTo>
                    <a:pt x="1967" y="1564"/>
                  </a:lnTo>
                  <a:lnTo>
                    <a:pt x="1971" y="1560"/>
                  </a:lnTo>
                  <a:lnTo>
                    <a:pt x="1971" y="1558"/>
                  </a:lnTo>
                  <a:lnTo>
                    <a:pt x="1969" y="1556"/>
                  </a:lnTo>
                  <a:lnTo>
                    <a:pt x="1967" y="1554"/>
                  </a:lnTo>
                  <a:lnTo>
                    <a:pt x="1966" y="1554"/>
                  </a:lnTo>
                  <a:lnTo>
                    <a:pt x="1966" y="1550"/>
                  </a:lnTo>
                  <a:lnTo>
                    <a:pt x="1973" y="1549"/>
                  </a:lnTo>
                  <a:lnTo>
                    <a:pt x="1975" y="1552"/>
                  </a:lnTo>
                  <a:lnTo>
                    <a:pt x="1977" y="1552"/>
                  </a:lnTo>
                  <a:lnTo>
                    <a:pt x="1977" y="1550"/>
                  </a:lnTo>
                  <a:lnTo>
                    <a:pt x="1977" y="1549"/>
                  </a:lnTo>
                  <a:lnTo>
                    <a:pt x="1981" y="1549"/>
                  </a:lnTo>
                  <a:lnTo>
                    <a:pt x="1981" y="1547"/>
                  </a:lnTo>
                  <a:lnTo>
                    <a:pt x="1983" y="1554"/>
                  </a:lnTo>
                  <a:lnTo>
                    <a:pt x="1985" y="1554"/>
                  </a:lnTo>
                  <a:lnTo>
                    <a:pt x="1985" y="1556"/>
                  </a:lnTo>
                  <a:lnTo>
                    <a:pt x="1983" y="1556"/>
                  </a:lnTo>
                  <a:lnTo>
                    <a:pt x="1983" y="1558"/>
                  </a:lnTo>
                  <a:lnTo>
                    <a:pt x="1981" y="1558"/>
                  </a:lnTo>
                  <a:lnTo>
                    <a:pt x="1981" y="1560"/>
                  </a:lnTo>
                  <a:lnTo>
                    <a:pt x="1985" y="1562"/>
                  </a:lnTo>
                  <a:lnTo>
                    <a:pt x="1985" y="1564"/>
                  </a:lnTo>
                  <a:lnTo>
                    <a:pt x="1983" y="1564"/>
                  </a:lnTo>
                  <a:lnTo>
                    <a:pt x="1985" y="1564"/>
                  </a:lnTo>
                  <a:lnTo>
                    <a:pt x="1985" y="1566"/>
                  </a:lnTo>
                  <a:lnTo>
                    <a:pt x="1985" y="1568"/>
                  </a:lnTo>
                  <a:lnTo>
                    <a:pt x="1985" y="1570"/>
                  </a:lnTo>
                  <a:lnTo>
                    <a:pt x="1985" y="1572"/>
                  </a:lnTo>
                  <a:lnTo>
                    <a:pt x="1983" y="1573"/>
                  </a:lnTo>
                  <a:lnTo>
                    <a:pt x="1985" y="1573"/>
                  </a:lnTo>
                  <a:lnTo>
                    <a:pt x="1987" y="1573"/>
                  </a:lnTo>
                  <a:lnTo>
                    <a:pt x="1985" y="1573"/>
                  </a:lnTo>
                  <a:lnTo>
                    <a:pt x="1987" y="1575"/>
                  </a:lnTo>
                  <a:lnTo>
                    <a:pt x="1985" y="1575"/>
                  </a:lnTo>
                  <a:lnTo>
                    <a:pt x="1987" y="1575"/>
                  </a:lnTo>
                  <a:lnTo>
                    <a:pt x="1987" y="1577"/>
                  </a:lnTo>
                  <a:lnTo>
                    <a:pt x="1989" y="1577"/>
                  </a:lnTo>
                  <a:lnTo>
                    <a:pt x="1989" y="1581"/>
                  </a:lnTo>
                  <a:lnTo>
                    <a:pt x="1989" y="1583"/>
                  </a:lnTo>
                  <a:lnTo>
                    <a:pt x="1990" y="1585"/>
                  </a:lnTo>
                  <a:lnTo>
                    <a:pt x="1990" y="1587"/>
                  </a:lnTo>
                  <a:lnTo>
                    <a:pt x="1989" y="1593"/>
                  </a:lnTo>
                  <a:lnTo>
                    <a:pt x="1987" y="1595"/>
                  </a:lnTo>
                  <a:lnTo>
                    <a:pt x="1987" y="1597"/>
                  </a:lnTo>
                  <a:lnTo>
                    <a:pt x="1987" y="1598"/>
                  </a:lnTo>
                  <a:lnTo>
                    <a:pt x="1987" y="1600"/>
                  </a:lnTo>
                  <a:lnTo>
                    <a:pt x="1987" y="1602"/>
                  </a:lnTo>
                  <a:lnTo>
                    <a:pt x="1987" y="1606"/>
                  </a:lnTo>
                  <a:lnTo>
                    <a:pt x="1987" y="1610"/>
                  </a:lnTo>
                  <a:lnTo>
                    <a:pt x="1985" y="1612"/>
                  </a:lnTo>
                  <a:lnTo>
                    <a:pt x="1985" y="1614"/>
                  </a:lnTo>
                  <a:lnTo>
                    <a:pt x="1985" y="1618"/>
                  </a:lnTo>
                  <a:lnTo>
                    <a:pt x="1985" y="1620"/>
                  </a:lnTo>
                  <a:lnTo>
                    <a:pt x="1983" y="1623"/>
                  </a:lnTo>
                  <a:lnTo>
                    <a:pt x="1983" y="1625"/>
                  </a:lnTo>
                  <a:lnTo>
                    <a:pt x="1983" y="1627"/>
                  </a:lnTo>
                  <a:lnTo>
                    <a:pt x="1985" y="1627"/>
                  </a:lnTo>
                  <a:lnTo>
                    <a:pt x="1989" y="1627"/>
                  </a:lnTo>
                  <a:lnTo>
                    <a:pt x="1992" y="1629"/>
                  </a:lnTo>
                  <a:lnTo>
                    <a:pt x="1994" y="1629"/>
                  </a:lnTo>
                  <a:lnTo>
                    <a:pt x="1994" y="1631"/>
                  </a:lnTo>
                  <a:lnTo>
                    <a:pt x="1992" y="1631"/>
                  </a:lnTo>
                  <a:lnTo>
                    <a:pt x="1992" y="1633"/>
                  </a:lnTo>
                  <a:lnTo>
                    <a:pt x="1992" y="1635"/>
                  </a:lnTo>
                  <a:lnTo>
                    <a:pt x="1992" y="1637"/>
                  </a:lnTo>
                  <a:lnTo>
                    <a:pt x="1990" y="1639"/>
                  </a:lnTo>
                  <a:lnTo>
                    <a:pt x="1992" y="1641"/>
                  </a:lnTo>
                  <a:lnTo>
                    <a:pt x="1994" y="1641"/>
                  </a:lnTo>
                  <a:lnTo>
                    <a:pt x="1998" y="1643"/>
                  </a:lnTo>
                  <a:lnTo>
                    <a:pt x="2002" y="1645"/>
                  </a:lnTo>
                  <a:lnTo>
                    <a:pt x="2006" y="1646"/>
                  </a:lnTo>
                  <a:lnTo>
                    <a:pt x="2010" y="1648"/>
                  </a:lnTo>
                  <a:lnTo>
                    <a:pt x="2010" y="1650"/>
                  </a:lnTo>
                  <a:lnTo>
                    <a:pt x="2010" y="1652"/>
                  </a:lnTo>
                  <a:lnTo>
                    <a:pt x="2010" y="1650"/>
                  </a:lnTo>
                  <a:lnTo>
                    <a:pt x="2010" y="1652"/>
                  </a:lnTo>
                  <a:lnTo>
                    <a:pt x="2008" y="1654"/>
                  </a:lnTo>
                  <a:lnTo>
                    <a:pt x="2008" y="1652"/>
                  </a:lnTo>
                  <a:lnTo>
                    <a:pt x="2006" y="1652"/>
                  </a:lnTo>
                  <a:lnTo>
                    <a:pt x="2006" y="1656"/>
                  </a:lnTo>
                  <a:lnTo>
                    <a:pt x="2006" y="1658"/>
                  </a:lnTo>
                  <a:lnTo>
                    <a:pt x="2006" y="1660"/>
                  </a:lnTo>
                  <a:lnTo>
                    <a:pt x="2006" y="1662"/>
                  </a:lnTo>
                  <a:lnTo>
                    <a:pt x="2006" y="1664"/>
                  </a:lnTo>
                  <a:lnTo>
                    <a:pt x="2006" y="1666"/>
                  </a:lnTo>
                  <a:lnTo>
                    <a:pt x="2006" y="1668"/>
                  </a:lnTo>
                  <a:lnTo>
                    <a:pt x="2008" y="1670"/>
                  </a:lnTo>
                  <a:lnTo>
                    <a:pt x="2008" y="1675"/>
                  </a:lnTo>
                  <a:lnTo>
                    <a:pt x="2006" y="1675"/>
                  </a:lnTo>
                  <a:lnTo>
                    <a:pt x="2004" y="1677"/>
                  </a:lnTo>
                  <a:lnTo>
                    <a:pt x="2006" y="1677"/>
                  </a:lnTo>
                  <a:lnTo>
                    <a:pt x="2004" y="1677"/>
                  </a:lnTo>
                  <a:lnTo>
                    <a:pt x="2004" y="1679"/>
                  </a:lnTo>
                  <a:lnTo>
                    <a:pt x="2004" y="1681"/>
                  </a:lnTo>
                  <a:lnTo>
                    <a:pt x="2006" y="1681"/>
                  </a:lnTo>
                  <a:lnTo>
                    <a:pt x="2006" y="1683"/>
                  </a:lnTo>
                  <a:lnTo>
                    <a:pt x="2008" y="1685"/>
                  </a:lnTo>
                  <a:lnTo>
                    <a:pt x="2008" y="1687"/>
                  </a:lnTo>
                  <a:lnTo>
                    <a:pt x="2008" y="1689"/>
                  </a:lnTo>
                  <a:lnTo>
                    <a:pt x="2008" y="1691"/>
                  </a:lnTo>
                  <a:lnTo>
                    <a:pt x="2008" y="1693"/>
                  </a:lnTo>
                  <a:lnTo>
                    <a:pt x="2008" y="1695"/>
                  </a:lnTo>
                  <a:lnTo>
                    <a:pt x="2008" y="1696"/>
                  </a:lnTo>
                  <a:lnTo>
                    <a:pt x="2010" y="1696"/>
                  </a:lnTo>
                  <a:lnTo>
                    <a:pt x="2012" y="1698"/>
                  </a:lnTo>
                  <a:lnTo>
                    <a:pt x="2012" y="1700"/>
                  </a:lnTo>
                  <a:lnTo>
                    <a:pt x="2013" y="1700"/>
                  </a:lnTo>
                  <a:lnTo>
                    <a:pt x="2013" y="1702"/>
                  </a:lnTo>
                  <a:lnTo>
                    <a:pt x="2015" y="1702"/>
                  </a:lnTo>
                  <a:lnTo>
                    <a:pt x="2017" y="1704"/>
                  </a:lnTo>
                  <a:lnTo>
                    <a:pt x="2017" y="1706"/>
                  </a:lnTo>
                  <a:lnTo>
                    <a:pt x="2019" y="1706"/>
                  </a:lnTo>
                  <a:lnTo>
                    <a:pt x="2021" y="1706"/>
                  </a:lnTo>
                  <a:lnTo>
                    <a:pt x="2023" y="1706"/>
                  </a:lnTo>
                  <a:lnTo>
                    <a:pt x="2023" y="1708"/>
                  </a:lnTo>
                  <a:lnTo>
                    <a:pt x="2025" y="1710"/>
                  </a:lnTo>
                  <a:lnTo>
                    <a:pt x="2027" y="1712"/>
                  </a:lnTo>
                  <a:lnTo>
                    <a:pt x="2027" y="1714"/>
                  </a:lnTo>
                  <a:lnTo>
                    <a:pt x="2027" y="1716"/>
                  </a:lnTo>
                  <a:lnTo>
                    <a:pt x="2027" y="1718"/>
                  </a:lnTo>
                  <a:lnTo>
                    <a:pt x="2027" y="1719"/>
                  </a:lnTo>
                  <a:lnTo>
                    <a:pt x="2027" y="1723"/>
                  </a:lnTo>
                  <a:lnTo>
                    <a:pt x="2029" y="1725"/>
                  </a:lnTo>
                  <a:lnTo>
                    <a:pt x="2029" y="1727"/>
                  </a:lnTo>
                  <a:lnTo>
                    <a:pt x="2031" y="1731"/>
                  </a:lnTo>
                  <a:lnTo>
                    <a:pt x="2033" y="1731"/>
                  </a:lnTo>
                  <a:lnTo>
                    <a:pt x="2033" y="1733"/>
                  </a:lnTo>
                  <a:lnTo>
                    <a:pt x="2035" y="1735"/>
                  </a:lnTo>
                  <a:lnTo>
                    <a:pt x="2035" y="1741"/>
                  </a:lnTo>
                  <a:lnTo>
                    <a:pt x="2031" y="1743"/>
                  </a:lnTo>
                  <a:lnTo>
                    <a:pt x="2031" y="1744"/>
                  </a:lnTo>
                  <a:lnTo>
                    <a:pt x="2029" y="1744"/>
                  </a:lnTo>
                  <a:lnTo>
                    <a:pt x="2027" y="1746"/>
                  </a:lnTo>
                  <a:lnTo>
                    <a:pt x="2029" y="1746"/>
                  </a:lnTo>
                  <a:lnTo>
                    <a:pt x="2029" y="1744"/>
                  </a:lnTo>
                  <a:lnTo>
                    <a:pt x="2029" y="1746"/>
                  </a:lnTo>
                  <a:lnTo>
                    <a:pt x="2033" y="1752"/>
                  </a:lnTo>
                  <a:lnTo>
                    <a:pt x="2033" y="1756"/>
                  </a:lnTo>
                  <a:lnTo>
                    <a:pt x="2035" y="1758"/>
                  </a:lnTo>
                  <a:lnTo>
                    <a:pt x="2035" y="1760"/>
                  </a:lnTo>
                  <a:lnTo>
                    <a:pt x="2035" y="1762"/>
                  </a:lnTo>
                  <a:lnTo>
                    <a:pt x="2035" y="1766"/>
                  </a:lnTo>
                  <a:lnTo>
                    <a:pt x="2033" y="1766"/>
                  </a:lnTo>
                  <a:lnTo>
                    <a:pt x="2031" y="1766"/>
                  </a:lnTo>
                  <a:lnTo>
                    <a:pt x="2029" y="1766"/>
                  </a:lnTo>
                  <a:lnTo>
                    <a:pt x="2029" y="1771"/>
                  </a:lnTo>
                  <a:lnTo>
                    <a:pt x="2027" y="1771"/>
                  </a:lnTo>
                  <a:lnTo>
                    <a:pt x="2025" y="1769"/>
                  </a:lnTo>
                  <a:lnTo>
                    <a:pt x="2021" y="1771"/>
                  </a:lnTo>
                  <a:lnTo>
                    <a:pt x="2017" y="1777"/>
                  </a:lnTo>
                  <a:lnTo>
                    <a:pt x="2015" y="1777"/>
                  </a:lnTo>
                  <a:lnTo>
                    <a:pt x="2013" y="1777"/>
                  </a:lnTo>
                  <a:lnTo>
                    <a:pt x="2012" y="1775"/>
                  </a:lnTo>
                  <a:lnTo>
                    <a:pt x="2010" y="1773"/>
                  </a:lnTo>
                  <a:lnTo>
                    <a:pt x="2008" y="1771"/>
                  </a:lnTo>
                  <a:lnTo>
                    <a:pt x="2006" y="1769"/>
                  </a:lnTo>
                  <a:lnTo>
                    <a:pt x="2004" y="1767"/>
                  </a:lnTo>
                  <a:lnTo>
                    <a:pt x="2002" y="1767"/>
                  </a:lnTo>
                  <a:lnTo>
                    <a:pt x="2000" y="1766"/>
                  </a:lnTo>
                  <a:lnTo>
                    <a:pt x="1996" y="1764"/>
                  </a:lnTo>
                  <a:lnTo>
                    <a:pt x="1994" y="1764"/>
                  </a:lnTo>
                  <a:lnTo>
                    <a:pt x="1990" y="1762"/>
                  </a:lnTo>
                  <a:lnTo>
                    <a:pt x="1983" y="1760"/>
                  </a:lnTo>
                  <a:lnTo>
                    <a:pt x="1979" y="1760"/>
                  </a:lnTo>
                  <a:lnTo>
                    <a:pt x="1977" y="1760"/>
                  </a:lnTo>
                  <a:lnTo>
                    <a:pt x="1977" y="1758"/>
                  </a:lnTo>
                  <a:lnTo>
                    <a:pt x="1975" y="1758"/>
                  </a:lnTo>
                  <a:lnTo>
                    <a:pt x="1973" y="1756"/>
                  </a:lnTo>
                  <a:lnTo>
                    <a:pt x="1971" y="1754"/>
                  </a:lnTo>
                  <a:lnTo>
                    <a:pt x="1969" y="1754"/>
                  </a:lnTo>
                  <a:lnTo>
                    <a:pt x="1967" y="1752"/>
                  </a:lnTo>
                  <a:lnTo>
                    <a:pt x="1966" y="1750"/>
                  </a:lnTo>
                  <a:lnTo>
                    <a:pt x="1966" y="1748"/>
                  </a:lnTo>
                  <a:lnTo>
                    <a:pt x="1964" y="1746"/>
                  </a:lnTo>
                  <a:lnTo>
                    <a:pt x="1964" y="1743"/>
                  </a:lnTo>
                  <a:lnTo>
                    <a:pt x="1962" y="1743"/>
                  </a:lnTo>
                  <a:lnTo>
                    <a:pt x="1962" y="1741"/>
                  </a:lnTo>
                  <a:lnTo>
                    <a:pt x="1960" y="1741"/>
                  </a:lnTo>
                  <a:lnTo>
                    <a:pt x="1960" y="1739"/>
                  </a:lnTo>
                  <a:lnTo>
                    <a:pt x="1958" y="1739"/>
                  </a:lnTo>
                  <a:lnTo>
                    <a:pt x="1956" y="1737"/>
                  </a:lnTo>
                  <a:lnTo>
                    <a:pt x="1950" y="1735"/>
                  </a:lnTo>
                  <a:lnTo>
                    <a:pt x="1944" y="1733"/>
                  </a:lnTo>
                  <a:lnTo>
                    <a:pt x="1942" y="1733"/>
                  </a:lnTo>
                  <a:lnTo>
                    <a:pt x="1939" y="1731"/>
                  </a:lnTo>
                  <a:lnTo>
                    <a:pt x="1937" y="1731"/>
                  </a:lnTo>
                  <a:lnTo>
                    <a:pt x="1937" y="1729"/>
                  </a:lnTo>
                  <a:lnTo>
                    <a:pt x="1933" y="1727"/>
                  </a:lnTo>
                  <a:lnTo>
                    <a:pt x="1931" y="1725"/>
                  </a:lnTo>
                  <a:lnTo>
                    <a:pt x="1929" y="1723"/>
                  </a:lnTo>
                  <a:lnTo>
                    <a:pt x="1927" y="1721"/>
                  </a:lnTo>
                  <a:lnTo>
                    <a:pt x="1923" y="1719"/>
                  </a:lnTo>
                  <a:lnTo>
                    <a:pt x="1921" y="1718"/>
                  </a:lnTo>
                  <a:lnTo>
                    <a:pt x="1919" y="1718"/>
                  </a:lnTo>
                  <a:lnTo>
                    <a:pt x="1918" y="1716"/>
                  </a:lnTo>
                  <a:lnTo>
                    <a:pt x="1916" y="1716"/>
                  </a:lnTo>
                  <a:lnTo>
                    <a:pt x="1916" y="1714"/>
                  </a:lnTo>
                  <a:lnTo>
                    <a:pt x="1912" y="1714"/>
                  </a:lnTo>
                  <a:lnTo>
                    <a:pt x="1908" y="1714"/>
                  </a:lnTo>
                  <a:lnTo>
                    <a:pt x="1904" y="1714"/>
                  </a:lnTo>
                  <a:lnTo>
                    <a:pt x="1902" y="1714"/>
                  </a:lnTo>
                  <a:lnTo>
                    <a:pt x="1900" y="1714"/>
                  </a:lnTo>
                  <a:lnTo>
                    <a:pt x="1894" y="1714"/>
                  </a:lnTo>
                  <a:lnTo>
                    <a:pt x="1889" y="1712"/>
                  </a:lnTo>
                  <a:lnTo>
                    <a:pt x="1887" y="1712"/>
                  </a:lnTo>
                  <a:lnTo>
                    <a:pt x="1885" y="1710"/>
                  </a:lnTo>
                  <a:lnTo>
                    <a:pt x="1883" y="1710"/>
                  </a:lnTo>
                  <a:lnTo>
                    <a:pt x="1881" y="1710"/>
                  </a:lnTo>
                  <a:lnTo>
                    <a:pt x="1879" y="1708"/>
                  </a:lnTo>
                  <a:lnTo>
                    <a:pt x="1877" y="1708"/>
                  </a:lnTo>
                  <a:lnTo>
                    <a:pt x="1875" y="1708"/>
                  </a:lnTo>
                  <a:lnTo>
                    <a:pt x="1873" y="1710"/>
                  </a:lnTo>
                  <a:lnTo>
                    <a:pt x="1871" y="1710"/>
                  </a:lnTo>
                  <a:lnTo>
                    <a:pt x="1870" y="1710"/>
                  </a:lnTo>
                  <a:lnTo>
                    <a:pt x="1868" y="1712"/>
                  </a:lnTo>
                  <a:lnTo>
                    <a:pt x="1862" y="1718"/>
                  </a:lnTo>
                  <a:lnTo>
                    <a:pt x="1860" y="1719"/>
                  </a:lnTo>
                  <a:lnTo>
                    <a:pt x="1858" y="1719"/>
                  </a:lnTo>
                  <a:lnTo>
                    <a:pt x="1856" y="1721"/>
                  </a:lnTo>
                  <a:lnTo>
                    <a:pt x="1854" y="1721"/>
                  </a:lnTo>
                  <a:lnTo>
                    <a:pt x="1852" y="1721"/>
                  </a:lnTo>
                  <a:lnTo>
                    <a:pt x="1848" y="1723"/>
                  </a:lnTo>
                  <a:lnTo>
                    <a:pt x="1847" y="1723"/>
                  </a:lnTo>
                  <a:lnTo>
                    <a:pt x="1843" y="1723"/>
                  </a:lnTo>
                  <a:lnTo>
                    <a:pt x="1841" y="1725"/>
                  </a:lnTo>
                  <a:lnTo>
                    <a:pt x="1837" y="1725"/>
                  </a:lnTo>
                  <a:lnTo>
                    <a:pt x="1835" y="1727"/>
                  </a:lnTo>
                  <a:lnTo>
                    <a:pt x="1833" y="1727"/>
                  </a:lnTo>
                  <a:lnTo>
                    <a:pt x="1831" y="1727"/>
                  </a:lnTo>
                  <a:lnTo>
                    <a:pt x="1827" y="1729"/>
                  </a:lnTo>
                  <a:lnTo>
                    <a:pt x="1825" y="1729"/>
                  </a:lnTo>
                  <a:lnTo>
                    <a:pt x="1823" y="1729"/>
                  </a:lnTo>
                  <a:lnTo>
                    <a:pt x="1822" y="1729"/>
                  </a:lnTo>
                  <a:lnTo>
                    <a:pt x="1820" y="1729"/>
                  </a:lnTo>
                  <a:lnTo>
                    <a:pt x="1816" y="1727"/>
                  </a:lnTo>
                  <a:lnTo>
                    <a:pt x="1812" y="1725"/>
                  </a:lnTo>
                  <a:lnTo>
                    <a:pt x="1810" y="1725"/>
                  </a:lnTo>
                  <a:lnTo>
                    <a:pt x="1808" y="1725"/>
                  </a:lnTo>
                  <a:lnTo>
                    <a:pt x="1806" y="1725"/>
                  </a:lnTo>
                  <a:lnTo>
                    <a:pt x="1804" y="1725"/>
                  </a:lnTo>
                  <a:lnTo>
                    <a:pt x="1802" y="1725"/>
                  </a:lnTo>
                  <a:lnTo>
                    <a:pt x="1800" y="1727"/>
                  </a:lnTo>
                  <a:lnTo>
                    <a:pt x="1799" y="1727"/>
                  </a:lnTo>
                  <a:lnTo>
                    <a:pt x="1797" y="1727"/>
                  </a:lnTo>
                  <a:lnTo>
                    <a:pt x="1797" y="1729"/>
                  </a:lnTo>
                  <a:lnTo>
                    <a:pt x="1795" y="1729"/>
                  </a:lnTo>
                  <a:lnTo>
                    <a:pt x="1793" y="1731"/>
                  </a:lnTo>
                  <a:lnTo>
                    <a:pt x="1791" y="1735"/>
                  </a:lnTo>
                  <a:lnTo>
                    <a:pt x="1789" y="1737"/>
                  </a:lnTo>
                  <a:lnTo>
                    <a:pt x="1787" y="1739"/>
                  </a:lnTo>
                  <a:lnTo>
                    <a:pt x="1785" y="1741"/>
                  </a:lnTo>
                  <a:lnTo>
                    <a:pt x="1783" y="1743"/>
                  </a:lnTo>
                  <a:lnTo>
                    <a:pt x="1781" y="1743"/>
                  </a:lnTo>
                  <a:lnTo>
                    <a:pt x="1777" y="1744"/>
                  </a:lnTo>
                  <a:lnTo>
                    <a:pt x="1775" y="1744"/>
                  </a:lnTo>
                  <a:lnTo>
                    <a:pt x="1774" y="1744"/>
                  </a:lnTo>
                  <a:lnTo>
                    <a:pt x="1772" y="1746"/>
                  </a:lnTo>
                  <a:lnTo>
                    <a:pt x="1768" y="1744"/>
                  </a:lnTo>
                  <a:lnTo>
                    <a:pt x="1766" y="1744"/>
                  </a:lnTo>
                  <a:lnTo>
                    <a:pt x="1762" y="1743"/>
                  </a:lnTo>
                  <a:lnTo>
                    <a:pt x="1762" y="1741"/>
                  </a:lnTo>
                  <a:lnTo>
                    <a:pt x="1758" y="1737"/>
                  </a:lnTo>
                  <a:lnTo>
                    <a:pt x="1754" y="1735"/>
                  </a:lnTo>
                  <a:lnTo>
                    <a:pt x="1752" y="1735"/>
                  </a:lnTo>
                  <a:lnTo>
                    <a:pt x="1751" y="1735"/>
                  </a:lnTo>
                  <a:lnTo>
                    <a:pt x="1749" y="1733"/>
                  </a:lnTo>
                  <a:lnTo>
                    <a:pt x="1745" y="1733"/>
                  </a:lnTo>
                  <a:lnTo>
                    <a:pt x="1743" y="1733"/>
                  </a:lnTo>
                  <a:lnTo>
                    <a:pt x="1739" y="1733"/>
                  </a:lnTo>
                  <a:lnTo>
                    <a:pt x="1735" y="1731"/>
                  </a:lnTo>
                  <a:lnTo>
                    <a:pt x="1733" y="1731"/>
                  </a:lnTo>
                  <a:lnTo>
                    <a:pt x="1731" y="1729"/>
                  </a:lnTo>
                  <a:lnTo>
                    <a:pt x="1728" y="1727"/>
                  </a:lnTo>
                  <a:lnTo>
                    <a:pt x="1724" y="1725"/>
                  </a:lnTo>
                  <a:lnTo>
                    <a:pt x="1722" y="1723"/>
                  </a:lnTo>
                  <a:lnTo>
                    <a:pt x="1718" y="1721"/>
                  </a:lnTo>
                  <a:lnTo>
                    <a:pt x="1716" y="1719"/>
                  </a:lnTo>
                  <a:lnTo>
                    <a:pt x="1716" y="1718"/>
                  </a:lnTo>
                  <a:lnTo>
                    <a:pt x="1714" y="1718"/>
                  </a:lnTo>
                  <a:lnTo>
                    <a:pt x="1710" y="1710"/>
                  </a:lnTo>
                  <a:lnTo>
                    <a:pt x="1708" y="1710"/>
                  </a:lnTo>
                  <a:lnTo>
                    <a:pt x="1706" y="1708"/>
                  </a:lnTo>
                  <a:lnTo>
                    <a:pt x="1704" y="1708"/>
                  </a:lnTo>
                  <a:lnTo>
                    <a:pt x="1703" y="1708"/>
                  </a:lnTo>
                  <a:lnTo>
                    <a:pt x="1701" y="1708"/>
                  </a:lnTo>
                  <a:lnTo>
                    <a:pt x="1699" y="1708"/>
                  </a:lnTo>
                  <a:lnTo>
                    <a:pt x="1697" y="1710"/>
                  </a:lnTo>
                  <a:lnTo>
                    <a:pt x="1695" y="1710"/>
                  </a:lnTo>
                  <a:lnTo>
                    <a:pt x="1695" y="1712"/>
                  </a:lnTo>
                  <a:lnTo>
                    <a:pt x="1693" y="1712"/>
                  </a:lnTo>
                  <a:lnTo>
                    <a:pt x="1693" y="1714"/>
                  </a:lnTo>
                  <a:lnTo>
                    <a:pt x="1691" y="1716"/>
                  </a:lnTo>
                  <a:lnTo>
                    <a:pt x="1689" y="1721"/>
                  </a:lnTo>
                  <a:lnTo>
                    <a:pt x="1687" y="1723"/>
                  </a:lnTo>
                  <a:lnTo>
                    <a:pt x="1685" y="1727"/>
                  </a:lnTo>
                  <a:lnTo>
                    <a:pt x="1683" y="1727"/>
                  </a:lnTo>
                  <a:lnTo>
                    <a:pt x="1683" y="1729"/>
                  </a:lnTo>
                  <a:lnTo>
                    <a:pt x="1681" y="1731"/>
                  </a:lnTo>
                  <a:lnTo>
                    <a:pt x="1680" y="1731"/>
                  </a:lnTo>
                  <a:lnTo>
                    <a:pt x="1678" y="1731"/>
                  </a:lnTo>
                  <a:lnTo>
                    <a:pt x="1676" y="1733"/>
                  </a:lnTo>
                  <a:lnTo>
                    <a:pt x="1674" y="1733"/>
                  </a:lnTo>
                  <a:lnTo>
                    <a:pt x="1672" y="1733"/>
                  </a:lnTo>
                  <a:lnTo>
                    <a:pt x="1670" y="1733"/>
                  </a:lnTo>
                  <a:lnTo>
                    <a:pt x="1668" y="1731"/>
                  </a:lnTo>
                  <a:lnTo>
                    <a:pt x="1666" y="1731"/>
                  </a:lnTo>
                  <a:lnTo>
                    <a:pt x="1664" y="1731"/>
                  </a:lnTo>
                  <a:lnTo>
                    <a:pt x="1662" y="1729"/>
                  </a:lnTo>
                  <a:lnTo>
                    <a:pt x="1658" y="1727"/>
                  </a:lnTo>
                  <a:lnTo>
                    <a:pt x="1656" y="1725"/>
                  </a:lnTo>
                  <a:lnTo>
                    <a:pt x="1653" y="1721"/>
                  </a:lnTo>
                  <a:lnTo>
                    <a:pt x="1651" y="1719"/>
                  </a:lnTo>
                  <a:lnTo>
                    <a:pt x="1649" y="1721"/>
                  </a:lnTo>
                  <a:lnTo>
                    <a:pt x="1649" y="1725"/>
                  </a:lnTo>
                  <a:lnTo>
                    <a:pt x="1645" y="1731"/>
                  </a:lnTo>
                  <a:lnTo>
                    <a:pt x="1643" y="1733"/>
                  </a:lnTo>
                  <a:lnTo>
                    <a:pt x="1641" y="1737"/>
                  </a:lnTo>
                  <a:lnTo>
                    <a:pt x="1639" y="1737"/>
                  </a:lnTo>
                  <a:lnTo>
                    <a:pt x="1639" y="1739"/>
                  </a:lnTo>
                  <a:lnTo>
                    <a:pt x="1639" y="1741"/>
                  </a:lnTo>
                  <a:lnTo>
                    <a:pt x="1637" y="1744"/>
                  </a:lnTo>
                  <a:lnTo>
                    <a:pt x="1635" y="1748"/>
                  </a:lnTo>
                  <a:lnTo>
                    <a:pt x="1633" y="1748"/>
                  </a:lnTo>
                  <a:lnTo>
                    <a:pt x="1630" y="1754"/>
                  </a:lnTo>
                  <a:lnTo>
                    <a:pt x="1628" y="1756"/>
                  </a:lnTo>
                  <a:lnTo>
                    <a:pt x="1626" y="1760"/>
                  </a:lnTo>
                  <a:lnTo>
                    <a:pt x="1624" y="1762"/>
                  </a:lnTo>
                  <a:lnTo>
                    <a:pt x="1624" y="1766"/>
                  </a:lnTo>
                  <a:lnTo>
                    <a:pt x="1622" y="1766"/>
                  </a:lnTo>
                  <a:lnTo>
                    <a:pt x="1620" y="1766"/>
                  </a:lnTo>
                  <a:lnTo>
                    <a:pt x="1620" y="1767"/>
                  </a:lnTo>
                  <a:lnTo>
                    <a:pt x="1620" y="1769"/>
                  </a:lnTo>
                  <a:lnTo>
                    <a:pt x="1620" y="1771"/>
                  </a:lnTo>
                  <a:lnTo>
                    <a:pt x="1616" y="1775"/>
                  </a:lnTo>
                  <a:lnTo>
                    <a:pt x="1614" y="1777"/>
                  </a:lnTo>
                  <a:lnTo>
                    <a:pt x="1614" y="1779"/>
                  </a:lnTo>
                  <a:lnTo>
                    <a:pt x="1612" y="1779"/>
                  </a:lnTo>
                  <a:lnTo>
                    <a:pt x="1610" y="1783"/>
                  </a:lnTo>
                  <a:lnTo>
                    <a:pt x="1609" y="1787"/>
                  </a:lnTo>
                  <a:lnTo>
                    <a:pt x="1609" y="1789"/>
                  </a:lnTo>
                  <a:lnTo>
                    <a:pt x="1609" y="1791"/>
                  </a:lnTo>
                  <a:lnTo>
                    <a:pt x="1609" y="1792"/>
                  </a:lnTo>
                  <a:lnTo>
                    <a:pt x="1607" y="1792"/>
                  </a:lnTo>
                  <a:lnTo>
                    <a:pt x="1605" y="1791"/>
                  </a:lnTo>
                  <a:lnTo>
                    <a:pt x="1603" y="1792"/>
                  </a:lnTo>
                  <a:lnTo>
                    <a:pt x="1601" y="1798"/>
                  </a:lnTo>
                  <a:lnTo>
                    <a:pt x="1593" y="1810"/>
                  </a:lnTo>
                  <a:lnTo>
                    <a:pt x="1591" y="1812"/>
                  </a:lnTo>
                  <a:lnTo>
                    <a:pt x="1591" y="1814"/>
                  </a:lnTo>
                  <a:lnTo>
                    <a:pt x="1589" y="1814"/>
                  </a:lnTo>
                  <a:lnTo>
                    <a:pt x="1589" y="1816"/>
                  </a:lnTo>
                  <a:lnTo>
                    <a:pt x="1591" y="1816"/>
                  </a:lnTo>
                  <a:lnTo>
                    <a:pt x="1591" y="1817"/>
                  </a:lnTo>
                  <a:lnTo>
                    <a:pt x="1589" y="1821"/>
                  </a:lnTo>
                  <a:lnTo>
                    <a:pt x="1589" y="1823"/>
                  </a:lnTo>
                  <a:lnTo>
                    <a:pt x="1587" y="1823"/>
                  </a:lnTo>
                  <a:lnTo>
                    <a:pt x="1587" y="1825"/>
                  </a:lnTo>
                  <a:lnTo>
                    <a:pt x="1585" y="1827"/>
                  </a:lnTo>
                  <a:lnTo>
                    <a:pt x="1584" y="1827"/>
                  </a:lnTo>
                  <a:lnTo>
                    <a:pt x="1582" y="1827"/>
                  </a:lnTo>
                  <a:lnTo>
                    <a:pt x="1580" y="1825"/>
                  </a:lnTo>
                  <a:lnTo>
                    <a:pt x="1578" y="1825"/>
                  </a:lnTo>
                  <a:lnTo>
                    <a:pt x="1576" y="1825"/>
                  </a:lnTo>
                  <a:lnTo>
                    <a:pt x="1574" y="1825"/>
                  </a:lnTo>
                  <a:lnTo>
                    <a:pt x="1574" y="1827"/>
                  </a:lnTo>
                  <a:lnTo>
                    <a:pt x="1572" y="1827"/>
                  </a:lnTo>
                  <a:lnTo>
                    <a:pt x="1572" y="1825"/>
                  </a:lnTo>
                  <a:lnTo>
                    <a:pt x="1570" y="1825"/>
                  </a:lnTo>
                  <a:lnTo>
                    <a:pt x="1568" y="1825"/>
                  </a:lnTo>
                  <a:lnTo>
                    <a:pt x="1566" y="1825"/>
                  </a:lnTo>
                  <a:lnTo>
                    <a:pt x="1564" y="1825"/>
                  </a:lnTo>
                  <a:lnTo>
                    <a:pt x="1564" y="1827"/>
                  </a:lnTo>
                  <a:lnTo>
                    <a:pt x="1564" y="1829"/>
                  </a:lnTo>
                  <a:lnTo>
                    <a:pt x="1562" y="1831"/>
                  </a:lnTo>
                  <a:lnTo>
                    <a:pt x="1562" y="1833"/>
                  </a:lnTo>
                  <a:lnTo>
                    <a:pt x="1562" y="1835"/>
                  </a:lnTo>
                  <a:lnTo>
                    <a:pt x="1561" y="1837"/>
                  </a:lnTo>
                  <a:lnTo>
                    <a:pt x="1561" y="1839"/>
                  </a:lnTo>
                  <a:lnTo>
                    <a:pt x="1559" y="1839"/>
                  </a:lnTo>
                  <a:lnTo>
                    <a:pt x="1559" y="1840"/>
                  </a:lnTo>
                  <a:lnTo>
                    <a:pt x="1557" y="1840"/>
                  </a:lnTo>
                  <a:lnTo>
                    <a:pt x="1557" y="1842"/>
                  </a:lnTo>
                  <a:lnTo>
                    <a:pt x="1555" y="1842"/>
                  </a:lnTo>
                  <a:lnTo>
                    <a:pt x="1553" y="1844"/>
                  </a:lnTo>
                  <a:lnTo>
                    <a:pt x="1551" y="1844"/>
                  </a:lnTo>
                  <a:lnTo>
                    <a:pt x="1549" y="1844"/>
                  </a:lnTo>
                  <a:lnTo>
                    <a:pt x="1547" y="1844"/>
                  </a:lnTo>
                  <a:lnTo>
                    <a:pt x="1545" y="1844"/>
                  </a:lnTo>
                  <a:lnTo>
                    <a:pt x="1543" y="1842"/>
                  </a:lnTo>
                  <a:lnTo>
                    <a:pt x="1541" y="1842"/>
                  </a:lnTo>
                  <a:lnTo>
                    <a:pt x="1539" y="1842"/>
                  </a:lnTo>
                  <a:lnTo>
                    <a:pt x="1537" y="1844"/>
                  </a:lnTo>
                  <a:lnTo>
                    <a:pt x="1536" y="1844"/>
                  </a:lnTo>
                  <a:lnTo>
                    <a:pt x="1534" y="1844"/>
                  </a:lnTo>
                  <a:lnTo>
                    <a:pt x="1534" y="1846"/>
                  </a:lnTo>
                  <a:lnTo>
                    <a:pt x="1532" y="1846"/>
                  </a:lnTo>
                  <a:lnTo>
                    <a:pt x="1532" y="1848"/>
                  </a:lnTo>
                  <a:lnTo>
                    <a:pt x="1532" y="1850"/>
                  </a:lnTo>
                  <a:lnTo>
                    <a:pt x="1532" y="1852"/>
                  </a:lnTo>
                  <a:lnTo>
                    <a:pt x="1532" y="1854"/>
                  </a:lnTo>
                  <a:lnTo>
                    <a:pt x="1532" y="1856"/>
                  </a:lnTo>
                  <a:lnTo>
                    <a:pt x="1534" y="1856"/>
                  </a:lnTo>
                  <a:lnTo>
                    <a:pt x="1536" y="1858"/>
                  </a:lnTo>
                  <a:lnTo>
                    <a:pt x="1537" y="1860"/>
                  </a:lnTo>
                  <a:lnTo>
                    <a:pt x="1539" y="1860"/>
                  </a:lnTo>
                  <a:lnTo>
                    <a:pt x="1539" y="1862"/>
                  </a:lnTo>
                  <a:lnTo>
                    <a:pt x="1541" y="1862"/>
                  </a:lnTo>
                  <a:lnTo>
                    <a:pt x="1539" y="1862"/>
                  </a:lnTo>
                  <a:lnTo>
                    <a:pt x="1539" y="1864"/>
                  </a:lnTo>
                  <a:lnTo>
                    <a:pt x="1537" y="1865"/>
                  </a:lnTo>
                  <a:lnTo>
                    <a:pt x="1536" y="1865"/>
                  </a:lnTo>
                  <a:lnTo>
                    <a:pt x="1532" y="1865"/>
                  </a:lnTo>
                  <a:lnTo>
                    <a:pt x="1530" y="1865"/>
                  </a:lnTo>
                  <a:lnTo>
                    <a:pt x="1528" y="1865"/>
                  </a:lnTo>
                  <a:lnTo>
                    <a:pt x="1528" y="1864"/>
                  </a:lnTo>
                  <a:lnTo>
                    <a:pt x="1526" y="1864"/>
                  </a:lnTo>
                  <a:lnTo>
                    <a:pt x="1524" y="1864"/>
                  </a:lnTo>
                  <a:lnTo>
                    <a:pt x="1522" y="1864"/>
                  </a:lnTo>
                  <a:lnTo>
                    <a:pt x="1520" y="1864"/>
                  </a:lnTo>
                  <a:lnTo>
                    <a:pt x="1518" y="1864"/>
                  </a:lnTo>
                  <a:lnTo>
                    <a:pt x="1516" y="1864"/>
                  </a:lnTo>
                  <a:lnTo>
                    <a:pt x="1514" y="1864"/>
                  </a:lnTo>
                  <a:lnTo>
                    <a:pt x="1511" y="1864"/>
                  </a:lnTo>
                  <a:lnTo>
                    <a:pt x="1509" y="1864"/>
                  </a:lnTo>
                  <a:lnTo>
                    <a:pt x="1507" y="1864"/>
                  </a:lnTo>
                  <a:lnTo>
                    <a:pt x="1505" y="1864"/>
                  </a:lnTo>
                  <a:lnTo>
                    <a:pt x="1503" y="1862"/>
                  </a:lnTo>
                  <a:lnTo>
                    <a:pt x="1501" y="1862"/>
                  </a:lnTo>
                  <a:lnTo>
                    <a:pt x="1499" y="1862"/>
                  </a:lnTo>
                  <a:lnTo>
                    <a:pt x="1497" y="1862"/>
                  </a:lnTo>
                  <a:lnTo>
                    <a:pt x="1495" y="1862"/>
                  </a:lnTo>
                  <a:lnTo>
                    <a:pt x="1493" y="1864"/>
                  </a:lnTo>
                  <a:lnTo>
                    <a:pt x="1491" y="1864"/>
                  </a:lnTo>
                  <a:lnTo>
                    <a:pt x="1490" y="1864"/>
                  </a:lnTo>
                  <a:lnTo>
                    <a:pt x="1490" y="1862"/>
                  </a:lnTo>
                  <a:lnTo>
                    <a:pt x="1488" y="1862"/>
                  </a:lnTo>
                  <a:lnTo>
                    <a:pt x="1486" y="1860"/>
                  </a:lnTo>
                  <a:lnTo>
                    <a:pt x="1484" y="1858"/>
                  </a:lnTo>
                  <a:lnTo>
                    <a:pt x="1482" y="1856"/>
                  </a:lnTo>
                  <a:lnTo>
                    <a:pt x="1480" y="1858"/>
                  </a:lnTo>
                  <a:lnTo>
                    <a:pt x="1480" y="1860"/>
                  </a:lnTo>
                  <a:lnTo>
                    <a:pt x="1482" y="1862"/>
                  </a:lnTo>
                  <a:lnTo>
                    <a:pt x="1482" y="1864"/>
                  </a:lnTo>
                  <a:lnTo>
                    <a:pt x="1484" y="1865"/>
                  </a:lnTo>
                  <a:lnTo>
                    <a:pt x="1484" y="1867"/>
                  </a:lnTo>
                  <a:lnTo>
                    <a:pt x="1484" y="1869"/>
                  </a:lnTo>
                  <a:lnTo>
                    <a:pt x="1484" y="1871"/>
                  </a:lnTo>
                  <a:lnTo>
                    <a:pt x="1484" y="1873"/>
                  </a:lnTo>
                  <a:lnTo>
                    <a:pt x="1484" y="1875"/>
                  </a:lnTo>
                  <a:lnTo>
                    <a:pt x="1484" y="1877"/>
                  </a:lnTo>
                  <a:lnTo>
                    <a:pt x="1484" y="1879"/>
                  </a:lnTo>
                  <a:lnTo>
                    <a:pt x="1484" y="1881"/>
                  </a:lnTo>
                  <a:lnTo>
                    <a:pt x="1486" y="1883"/>
                  </a:lnTo>
                  <a:lnTo>
                    <a:pt x="1488" y="1881"/>
                  </a:lnTo>
                  <a:lnTo>
                    <a:pt x="1490" y="1881"/>
                  </a:lnTo>
                  <a:lnTo>
                    <a:pt x="1490" y="1883"/>
                  </a:lnTo>
                  <a:lnTo>
                    <a:pt x="1491" y="1885"/>
                  </a:lnTo>
                  <a:lnTo>
                    <a:pt x="1493" y="1885"/>
                  </a:lnTo>
                  <a:lnTo>
                    <a:pt x="1497" y="1885"/>
                  </a:lnTo>
                  <a:lnTo>
                    <a:pt x="1499" y="1887"/>
                  </a:lnTo>
                  <a:lnTo>
                    <a:pt x="1501" y="1887"/>
                  </a:lnTo>
                  <a:lnTo>
                    <a:pt x="1503" y="1887"/>
                  </a:lnTo>
                  <a:lnTo>
                    <a:pt x="1505" y="1887"/>
                  </a:lnTo>
                  <a:lnTo>
                    <a:pt x="1511" y="1889"/>
                  </a:lnTo>
                  <a:lnTo>
                    <a:pt x="1509" y="1896"/>
                  </a:lnTo>
                  <a:lnTo>
                    <a:pt x="1509" y="1898"/>
                  </a:lnTo>
                  <a:lnTo>
                    <a:pt x="1509" y="1902"/>
                  </a:lnTo>
                  <a:lnTo>
                    <a:pt x="1507" y="1908"/>
                  </a:lnTo>
                  <a:lnTo>
                    <a:pt x="1505" y="1912"/>
                  </a:lnTo>
                  <a:lnTo>
                    <a:pt x="1505" y="1913"/>
                  </a:lnTo>
                  <a:lnTo>
                    <a:pt x="1505" y="1919"/>
                  </a:lnTo>
                  <a:lnTo>
                    <a:pt x="1499" y="1917"/>
                  </a:lnTo>
                  <a:lnTo>
                    <a:pt x="1493" y="1915"/>
                  </a:lnTo>
                  <a:lnTo>
                    <a:pt x="1488" y="1913"/>
                  </a:lnTo>
                  <a:lnTo>
                    <a:pt x="1486" y="1913"/>
                  </a:lnTo>
                  <a:lnTo>
                    <a:pt x="1482" y="1913"/>
                  </a:lnTo>
                  <a:lnTo>
                    <a:pt x="1478" y="1913"/>
                  </a:lnTo>
                  <a:lnTo>
                    <a:pt x="1476" y="1913"/>
                  </a:lnTo>
                  <a:lnTo>
                    <a:pt x="1470" y="1913"/>
                  </a:lnTo>
                  <a:lnTo>
                    <a:pt x="1466" y="1912"/>
                  </a:lnTo>
                  <a:lnTo>
                    <a:pt x="1461" y="1910"/>
                  </a:lnTo>
                  <a:lnTo>
                    <a:pt x="1455" y="1908"/>
                  </a:lnTo>
                  <a:lnTo>
                    <a:pt x="1447" y="1906"/>
                  </a:lnTo>
                  <a:lnTo>
                    <a:pt x="1445" y="1906"/>
                  </a:lnTo>
                  <a:lnTo>
                    <a:pt x="1442" y="1904"/>
                  </a:lnTo>
                  <a:lnTo>
                    <a:pt x="1438" y="1904"/>
                  </a:lnTo>
                  <a:lnTo>
                    <a:pt x="1432" y="1902"/>
                  </a:lnTo>
                  <a:lnTo>
                    <a:pt x="1430" y="1900"/>
                  </a:lnTo>
                  <a:lnTo>
                    <a:pt x="1428" y="1900"/>
                  </a:lnTo>
                  <a:lnTo>
                    <a:pt x="1422" y="1900"/>
                  </a:lnTo>
                  <a:lnTo>
                    <a:pt x="1420" y="1900"/>
                  </a:lnTo>
                  <a:lnTo>
                    <a:pt x="1419" y="1900"/>
                  </a:lnTo>
                  <a:lnTo>
                    <a:pt x="1417" y="1900"/>
                  </a:lnTo>
                  <a:lnTo>
                    <a:pt x="1415" y="1900"/>
                  </a:lnTo>
                  <a:lnTo>
                    <a:pt x="1413" y="1900"/>
                  </a:lnTo>
                  <a:lnTo>
                    <a:pt x="1409" y="1900"/>
                  </a:lnTo>
                  <a:lnTo>
                    <a:pt x="1407" y="1902"/>
                  </a:lnTo>
                  <a:lnTo>
                    <a:pt x="1405" y="1902"/>
                  </a:lnTo>
                  <a:lnTo>
                    <a:pt x="1403" y="1902"/>
                  </a:lnTo>
                  <a:lnTo>
                    <a:pt x="1399" y="1904"/>
                  </a:lnTo>
                  <a:lnTo>
                    <a:pt x="1395" y="1906"/>
                  </a:lnTo>
                  <a:lnTo>
                    <a:pt x="1394" y="1908"/>
                  </a:lnTo>
                  <a:lnTo>
                    <a:pt x="1390" y="1908"/>
                  </a:lnTo>
                  <a:lnTo>
                    <a:pt x="1386" y="1910"/>
                  </a:lnTo>
                  <a:lnTo>
                    <a:pt x="1384" y="1912"/>
                  </a:lnTo>
                  <a:lnTo>
                    <a:pt x="1382" y="1913"/>
                  </a:lnTo>
                  <a:lnTo>
                    <a:pt x="1382" y="1912"/>
                  </a:lnTo>
                  <a:lnTo>
                    <a:pt x="1380" y="1912"/>
                  </a:lnTo>
                  <a:lnTo>
                    <a:pt x="1378" y="1912"/>
                  </a:lnTo>
                  <a:lnTo>
                    <a:pt x="1376" y="1915"/>
                  </a:lnTo>
                  <a:lnTo>
                    <a:pt x="1374" y="1915"/>
                  </a:lnTo>
                  <a:lnTo>
                    <a:pt x="1372" y="1917"/>
                  </a:lnTo>
                  <a:lnTo>
                    <a:pt x="1371" y="1919"/>
                  </a:lnTo>
                  <a:lnTo>
                    <a:pt x="1369" y="1919"/>
                  </a:lnTo>
                  <a:lnTo>
                    <a:pt x="1369" y="1921"/>
                  </a:lnTo>
                  <a:lnTo>
                    <a:pt x="1367" y="1921"/>
                  </a:lnTo>
                  <a:lnTo>
                    <a:pt x="1367" y="1923"/>
                  </a:lnTo>
                  <a:lnTo>
                    <a:pt x="1365" y="1923"/>
                  </a:lnTo>
                  <a:lnTo>
                    <a:pt x="1363" y="1925"/>
                  </a:lnTo>
                  <a:lnTo>
                    <a:pt x="1361" y="1925"/>
                  </a:lnTo>
                  <a:lnTo>
                    <a:pt x="1361" y="1927"/>
                  </a:lnTo>
                  <a:lnTo>
                    <a:pt x="1359" y="1927"/>
                  </a:lnTo>
                  <a:lnTo>
                    <a:pt x="1357" y="1929"/>
                  </a:lnTo>
                  <a:lnTo>
                    <a:pt x="1355" y="1929"/>
                  </a:lnTo>
                  <a:lnTo>
                    <a:pt x="1355" y="1931"/>
                  </a:lnTo>
                  <a:lnTo>
                    <a:pt x="1353" y="1931"/>
                  </a:lnTo>
                  <a:lnTo>
                    <a:pt x="1351" y="1931"/>
                  </a:lnTo>
                  <a:lnTo>
                    <a:pt x="1349" y="1933"/>
                  </a:lnTo>
                  <a:lnTo>
                    <a:pt x="1347" y="1933"/>
                  </a:lnTo>
                  <a:lnTo>
                    <a:pt x="1346" y="1933"/>
                  </a:lnTo>
                  <a:lnTo>
                    <a:pt x="1344" y="1933"/>
                  </a:lnTo>
                  <a:lnTo>
                    <a:pt x="1342" y="1933"/>
                  </a:lnTo>
                  <a:lnTo>
                    <a:pt x="1340" y="1933"/>
                  </a:lnTo>
                  <a:lnTo>
                    <a:pt x="1336" y="1935"/>
                  </a:lnTo>
                  <a:lnTo>
                    <a:pt x="1334" y="1933"/>
                  </a:lnTo>
                  <a:lnTo>
                    <a:pt x="1332" y="1933"/>
                  </a:lnTo>
                  <a:lnTo>
                    <a:pt x="1328" y="1933"/>
                  </a:lnTo>
                  <a:lnTo>
                    <a:pt x="1328" y="1931"/>
                  </a:lnTo>
                  <a:lnTo>
                    <a:pt x="1326" y="1931"/>
                  </a:lnTo>
                  <a:lnTo>
                    <a:pt x="1321" y="1931"/>
                  </a:lnTo>
                  <a:lnTo>
                    <a:pt x="1319" y="1929"/>
                  </a:lnTo>
                  <a:lnTo>
                    <a:pt x="1315" y="1929"/>
                  </a:lnTo>
                  <a:lnTo>
                    <a:pt x="1311" y="1929"/>
                  </a:lnTo>
                  <a:lnTo>
                    <a:pt x="1307" y="1929"/>
                  </a:lnTo>
                  <a:lnTo>
                    <a:pt x="1303" y="1929"/>
                  </a:lnTo>
                  <a:lnTo>
                    <a:pt x="1298" y="1931"/>
                  </a:lnTo>
                  <a:lnTo>
                    <a:pt x="1290" y="1933"/>
                  </a:lnTo>
                  <a:lnTo>
                    <a:pt x="1284" y="1935"/>
                  </a:lnTo>
                  <a:lnTo>
                    <a:pt x="1282" y="1937"/>
                  </a:lnTo>
                  <a:lnTo>
                    <a:pt x="1278" y="1938"/>
                  </a:lnTo>
                  <a:lnTo>
                    <a:pt x="1275" y="1940"/>
                  </a:lnTo>
                  <a:lnTo>
                    <a:pt x="1273" y="1942"/>
                  </a:lnTo>
                  <a:lnTo>
                    <a:pt x="1271" y="1944"/>
                  </a:lnTo>
                  <a:lnTo>
                    <a:pt x="1271" y="1946"/>
                  </a:lnTo>
                  <a:lnTo>
                    <a:pt x="1269" y="1946"/>
                  </a:lnTo>
                  <a:lnTo>
                    <a:pt x="1267" y="1948"/>
                  </a:lnTo>
                  <a:lnTo>
                    <a:pt x="1267" y="1950"/>
                  </a:lnTo>
                  <a:lnTo>
                    <a:pt x="1265" y="1950"/>
                  </a:lnTo>
                  <a:lnTo>
                    <a:pt x="1263" y="1952"/>
                  </a:lnTo>
                  <a:lnTo>
                    <a:pt x="1261" y="1954"/>
                  </a:lnTo>
                  <a:lnTo>
                    <a:pt x="1261" y="1956"/>
                  </a:lnTo>
                  <a:lnTo>
                    <a:pt x="1259" y="1958"/>
                  </a:lnTo>
                  <a:lnTo>
                    <a:pt x="1259" y="1960"/>
                  </a:lnTo>
                  <a:lnTo>
                    <a:pt x="1257" y="1962"/>
                  </a:lnTo>
                  <a:lnTo>
                    <a:pt x="1257" y="1963"/>
                  </a:lnTo>
                  <a:lnTo>
                    <a:pt x="1255" y="1965"/>
                  </a:lnTo>
                  <a:lnTo>
                    <a:pt x="1257" y="1965"/>
                  </a:lnTo>
                  <a:lnTo>
                    <a:pt x="1255" y="1965"/>
                  </a:lnTo>
                  <a:lnTo>
                    <a:pt x="1255" y="1967"/>
                  </a:lnTo>
                  <a:lnTo>
                    <a:pt x="1255" y="1969"/>
                  </a:lnTo>
                  <a:lnTo>
                    <a:pt x="1255" y="1971"/>
                  </a:lnTo>
                  <a:lnTo>
                    <a:pt x="1253" y="1971"/>
                  </a:lnTo>
                  <a:lnTo>
                    <a:pt x="1253" y="1973"/>
                  </a:lnTo>
                  <a:lnTo>
                    <a:pt x="1253" y="1975"/>
                  </a:lnTo>
                  <a:lnTo>
                    <a:pt x="1253" y="1977"/>
                  </a:lnTo>
                  <a:lnTo>
                    <a:pt x="1252" y="1979"/>
                  </a:lnTo>
                  <a:lnTo>
                    <a:pt x="1250" y="1981"/>
                  </a:lnTo>
                  <a:lnTo>
                    <a:pt x="1248" y="1983"/>
                  </a:lnTo>
                  <a:lnTo>
                    <a:pt x="1248" y="1985"/>
                  </a:lnTo>
                  <a:lnTo>
                    <a:pt x="1246" y="1985"/>
                  </a:lnTo>
                  <a:lnTo>
                    <a:pt x="1246" y="1986"/>
                  </a:lnTo>
                  <a:lnTo>
                    <a:pt x="1244" y="1986"/>
                  </a:lnTo>
                  <a:lnTo>
                    <a:pt x="1244" y="1988"/>
                  </a:lnTo>
                  <a:lnTo>
                    <a:pt x="1244" y="1986"/>
                  </a:lnTo>
                  <a:lnTo>
                    <a:pt x="1244" y="1988"/>
                  </a:lnTo>
                  <a:lnTo>
                    <a:pt x="1242" y="1988"/>
                  </a:lnTo>
                  <a:lnTo>
                    <a:pt x="1242" y="1990"/>
                  </a:lnTo>
                  <a:lnTo>
                    <a:pt x="1238" y="1992"/>
                  </a:lnTo>
                  <a:lnTo>
                    <a:pt x="1236" y="1992"/>
                  </a:lnTo>
                  <a:lnTo>
                    <a:pt x="1236" y="1994"/>
                  </a:lnTo>
                  <a:lnTo>
                    <a:pt x="1234" y="1994"/>
                  </a:lnTo>
                  <a:lnTo>
                    <a:pt x="1234" y="1992"/>
                  </a:lnTo>
                  <a:lnTo>
                    <a:pt x="1234" y="1994"/>
                  </a:lnTo>
                  <a:lnTo>
                    <a:pt x="1234" y="1996"/>
                  </a:lnTo>
                  <a:lnTo>
                    <a:pt x="1232" y="1996"/>
                  </a:lnTo>
                  <a:lnTo>
                    <a:pt x="1234" y="1996"/>
                  </a:lnTo>
                  <a:lnTo>
                    <a:pt x="1232" y="1996"/>
                  </a:lnTo>
                  <a:lnTo>
                    <a:pt x="1230" y="1998"/>
                  </a:lnTo>
                  <a:lnTo>
                    <a:pt x="1230" y="2000"/>
                  </a:lnTo>
                  <a:lnTo>
                    <a:pt x="1228" y="2002"/>
                  </a:lnTo>
                  <a:lnTo>
                    <a:pt x="1227" y="2002"/>
                  </a:lnTo>
                  <a:lnTo>
                    <a:pt x="1228" y="2000"/>
                  </a:lnTo>
                  <a:lnTo>
                    <a:pt x="1227" y="2000"/>
                  </a:lnTo>
                  <a:lnTo>
                    <a:pt x="1225" y="2002"/>
                  </a:lnTo>
                  <a:lnTo>
                    <a:pt x="1223" y="2002"/>
                  </a:lnTo>
                  <a:lnTo>
                    <a:pt x="1221" y="2002"/>
                  </a:lnTo>
                  <a:lnTo>
                    <a:pt x="1219" y="2002"/>
                  </a:lnTo>
                  <a:lnTo>
                    <a:pt x="1219" y="2004"/>
                  </a:lnTo>
                  <a:lnTo>
                    <a:pt x="1217" y="2004"/>
                  </a:lnTo>
                  <a:lnTo>
                    <a:pt x="1215" y="2004"/>
                  </a:lnTo>
                  <a:lnTo>
                    <a:pt x="1215" y="2002"/>
                  </a:lnTo>
                  <a:lnTo>
                    <a:pt x="1213" y="2002"/>
                  </a:lnTo>
                  <a:lnTo>
                    <a:pt x="1213" y="2004"/>
                  </a:lnTo>
                  <a:lnTo>
                    <a:pt x="1211" y="2006"/>
                  </a:lnTo>
                  <a:lnTo>
                    <a:pt x="1211" y="2008"/>
                  </a:lnTo>
                  <a:lnTo>
                    <a:pt x="1211" y="2010"/>
                  </a:lnTo>
                  <a:lnTo>
                    <a:pt x="1209" y="2011"/>
                  </a:lnTo>
                  <a:lnTo>
                    <a:pt x="1211" y="2011"/>
                  </a:lnTo>
                  <a:lnTo>
                    <a:pt x="1205" y="2015"/>
                  </a:lnTo>
                  <a:lnTo>
                    <a:pt x="1204" y="2015"/>
                  </a:lnTo>
                  <a:lnTo>
                    <a:pt x="1200" y="2017"/>
                  </a:lnTo>
                  <a:lnTo>
                    <a:pt x="1196" y="2019"/>
                  </a:lnTo>
                  <a:lnTo>
                    <a:pt x="1198" y="2017"/>
                  </a:lnTo>
                  <a:lnTo>
                    <a:pt x="1198" y="2015"/>
                  </a:lnTo>
                  <a:lnTo>
                    <a:pt x="1196" y="2015"/>
                  </a:lnTo>
                  <a:lnTo>
                    <a:pt x="1194" y="2015"/>
                  </a:lnTo>
                  <a:lnTo>
                    <a:pt x="1192" y="2015"/>
                  </a:lnTo>
                  <a:lnTo>
                    <a:pt x="1190" y="2015"/>
                  </a:lnTo>
                  <a:lnTo>
                    <a:pt x="1188" y="2015"/>
                  </a:lnTo>
                  <a:lnTo>
                    <a:pt x="1186" y="2015"/>
                  </a:lnTo>
                  <a:lnTo>
                    <a:pt x="1186" y="2017"/>
                  </a:lnTo>
                  <a:lnTo>
                    <a:pt x="1186" y="2019"/>
                  </a:lnTo>
                  <a:lnTo>
                    <a:pt x="1184" y="2019"/>
                  </a:lnTo>
                  <a:lnTo>
                    <a:pt x="1186" y="2019"/>
                  </a:lnTo>
                  <a:lnTo>
                    <a:pt x="1186" y="2017"/>
                  </a:lnTo>
                  <a:lnTo>
                    <a:pt x="1186" y="2019"/>
                  </a:lnTo>
                  <a:lnTo>
                    <a:pt x="1188" y="2019"/>
                  </a:lnTo>
                  <a:lnTo>
                    <a:pt x="1190" y="2019"/>
                  </a:lnTo>
                  <a:lnTo>
                    <a:pt x="1190" y="2021"/>
                  </a:lnTo>
                  <a:lnTo>
                    <a:pt x="1188" y="2021"/>
                  </a:lnTo>
                  <a:lnTo>
                    <a:pt x="1190" y="2021"/>
                  </a:lnTo>
                  <a:lnTo>
                    <a:pt x="1188" y="2021"/>
                  </a:lnTo>
                  <a:lnTo>
                    <a:pt x="1181" y="2023"/>
                  </a:lnTo>
                  <a:lnTo>
                    <a:pt x="1181" y="2021"/>
                  </a:lnTo>
                  <a:lnTo>
                    <a:pt x="1182" y="2021"/>
                  </a:lnTo>
                  <a:lnTo>
                    <a:pt x="1182" y="2019"/>
                  </a:lnTo>
                  <a:lnTo>
                    <a:pt x="1182" y="2021"/>
                  </a:lnTo>
                  <a:lnTo>
                    <a:pt x="1181" y="2021"/>
                  </a:lnTo>
                  <a:lnTo>
                    <a:pt x="1179" y="2021"/>
                  </a:lnTo>
                  <a:lnTo>
                    <a:pt x="1177" y="2021"/>
                  </a:lnTo>
                  <a:lnTo>
                    <a:pt x="1177" y="2019"/>
                  </a:lnTo>
                  <a:lnTo>
                    <a:pt x="1179" y="2017"/>
                  </a:lnTo>
                  <a:lnTo>
                    <a:pt x="1179" y="2015"/>
                  </a:lnTo>
                  <a:lnTo>
                    <a:pt x="1181" y="2015"/>
                  </a:lnTo>
                  <a:lnTo>
                    <a:pt x="1181" y="2013"/>
                  </a:lnTo>
                  <a:lnTo>
                    <a:pt x="1181" y="2011"/>
                  </a:lnTo>
                  <a:lnTo>
                    <a:pt x="1181" y="2010"/>
                  </a:lnTo>
                  <a:lnTo>
                    <a:pt x="1181" y="2008"/>
                  </a:lnTo>
                  <a:lnTo>
                    <a:pt x="1181" y="2006"/>
                  </a:lnTo>
                  <a:lnTo>
                    <a:pt x="1181" y="2004"/>
                  </a:lnTo>
                  <a:lnTo>
                    <a:pt x="1181" y="2002"/>
                  </a:lnTo>
                  <a:lnTo>
                    <a:pt x="1181" y="2000"/>
                  </a:lnTo>
                  <a:lnTo>
                    <a:pt x="1182" y="2000"/>
                  </a:lnTo>
                  <a:lnTo>
                    <a:pt x="1182" y="1998"/>
                  </a:lnTo>
                  <a:lnTo>
                    <a:pt x="1182" y="2000"/>
                  </a:lnTo>
                  <a:lnTo>
                    <a:pt x="1184" y="2000"/>
                  </a:lnTo>
                  <a:lnTo>
                    <a:pt x="1184" y="1998"/>
                  </a:lnTo>
                  <a:lnTo>
                    <a:pt x="1186" y="1998"/>
                  </a:lnTo>
                  <a:lnTo>
                    <a:pt x="1188" y="1998"/>
                  </a:lnTo>
                  <a:lnTo>
                    <a:pt x="1186" y="2000"/>
                  </a:lnTo>
                  <a:lnTo>
                    <a:pt x="1188" y="1998"/>
                  </a:lnTo>
                  <a:lnTo>
                    <a:pt x="1188" y="1996"/>
                  </a:lnTo>
                  <a:lnTo>
                    <a:pt x="1188" y="1998"/>
                  </a:lnTo>
                  <a:lnTo>
                    <a:pt x="1188" y="1996"/>
                  </a:lnTo>
                  <a:lnTo>
                    <a:pt x="1190" y="1996"/>
                  </a:lnTo>
                  <a:lnTo>
                    <a:pt x="1192" y="1994"/>
                  </a:lnTo>
                  <a:lnTo>
                    <a:pt x="1194" y="1994"/>
                  </a:lnTo>
                  <a:lnTo>
                    <a:pt x="1194" y="1992"/>
                  </a:lnTo>
                  <a:lnTo>
                    <a:pt x="1196" y="1992"/>
                  </a:lnTo>
                  <a:lnTo>
                    <a:pt x="1196" y="1990"/>
                  </a:lnTo>
                  <a:lnTo>
                    <a:pt x="1194" y="1990"/>
                  </a:lnTo>
                  <a:lnTo>
                    <a:pt x="1194" y="1992"/>
                  </a:lnTo>
                  <a:lnTo>
                    <a:pt x="1192" y="1992"/>
                  </a:lnTo>
                  <a:lnTo>
                    <a:pt x="1190" y="1992"/>
                  </a:lnTo>
                  <a:lnTo>
                    <a:pt x="1190" y="1994"/>
                  </a:lnTo>
                  <a:lnTo>
                    <a:pt x="1190" y="1992"/>
                  </a:lnTo>
                  <a:lnTo>
                    <a:pt x="1188" y="1994"/>
                  </a:lnTo>
                  <a:lnTo>
                    <a:pt x="1186" y="1994"/>
                  </a:lnTo>
                  <a:lnTo>
                    <a:pt x="1184" y="1994"/>
                  </a:lnTo>
                  <a:lnTo>
                    <a:pt x="1184" y="1992"/>
                  </a:lnTo>
                  <a:lnTo>
                    <a:pt x="1182" y="1992"/>
                  </a:lnTo>
                  <a:lnTo>
                    <a:pt x="1182" y="1994"/>
                  </a:lnTo>
                  <a:lnTo>
                    <a:pt x="1181" y="1994"/>
                  </a:lnTo>
                  <a:lnTo>
                    <a:pt x="1181" y="1996"/>
                  </a:lnTo>
                  <a:lnTo>
                    <a:pt x="1179" y="1996"/>
                  </a:lnTo>
                  <a:lnTo>
                    <a:pt x="1179" y="1998"/>
                  </a:lnTo>
                  <a:lnTo>
                    <a:pt x="1177" y="1998"/>
                  </a:lnTo>
                  <a:lnTo>
                    <a:pt x="1177" y="2000"/>
                  </a:lnTo>
                  <a:lnTo>
                    <a:pt x="1175" y="2000"/>
                  </a:lnTo>
                  <a:lnTo>
                    <a:pt x="1175" y="2002"/>
                  </a:lnTo>
                  <a:lnTo>
                    <a:pt x="1175" y="2000"/>
                  </a:lnTo>
                  <a:lnTo>
                    <a:pt x="1175" y="2002"/>
                  </a:lnTo>
                  <a:lnTo>
                    <a:pt x="1175" y="2000"/>
                  </a:lnTo>
                  <a:lnTo>
                    <a:pt x="1175" y="2002"/>
                  </a:lnTo>
                  <a:lnTo>
                    <a:pt x="1173" y="2002"/>
                  </a:lnTo>
                  <a:lnTo>
                    <a:pt x="1173" y="2004"/>
                  </a:lnTo>
                  <a:lnTo>
                    <a:pt x="1171" y="2004"/>
                  </a:lnTo>
                  <a:lnTo>
                    <a:pt x="1171" y="2006"/>
                  </a:lnTo>
                  <a:lnTo>
                    <a:pt x="1171" y="2008"/>
                  </a:lnTo>
                  <a:lnTo>
                    <a:pt x="1169" y="2008"/>
                  </a:lnTo>
                  <a:lnTo>
                    <a:pt x="1169" y="2010"/>
                  </a:lnTo>
                  <a:lnTo>
                    <a:pt x="1167" y="2011"/>
                  </a:lnTo>
                  <a:lnTo>
                    <a:pt x="1167" y="2015"/>
                  </a:lnTo>
                  <a:lnTo>
                    <a:pt x="1167" y="2017"/>
                  </a:lnTo>
                  <a:lnTo>
                    <a:pt x="1167" y="2019"/>
                  </a:lnTo>
                  <a:lnTo>
                    <a:pt x="1165" y="2019"/>
                  </a:lnTo>
                  <a:lnTo>
                    <a:pt x="1165" y="2021"/>
                  </a:lnTo>
                  <a:lnTo>
                    <a:pt x="1165" y="2019"/>
                  </a:lnTo>
                  <a:lnTo>
                    <a:pt x="1163" y="2019"/>
                  </a:lnTo>
                  <a:lnTo>
                    <a:pt x="1163" y="2021"/>
                  </a:lnTo>
                  <a:lnTo>
                    <a:pt x="1161" y="2021"/>
                  </a:lnTo>
                  <a:lnTo>
                    <a:pt x="1161" y="2023"/>
                  </a:lnTo>
                  <a:lnTo>
                    <a:pt x="1163" y="2027"/>
                  </a:lnTo>
                  <a:lnTo>
                    <a:pt x="1163" y="2029"/>
                  </a:lnTo>
                  <a:lnTo>
                    <a:pt x="1161" y="2029"/>
                  </a:lnTo>
                  <a:lnTo>
                    <a:pt x="1159" y="2023"/>
                  </a:lnTo>
                  <a:lnTo>
                    <a:pt x="1157" y="2023"/>
                  </a:lnTo>
                  <a:lnTo>
                    <a:pt x="1157" y="2021"/>
                  </a:lnTo>
                  <a:lnTo>
                    <a:pt x="1159" y="2021"/>
                  </a:lnTo>
                  <a:lnTo>
                    <a:pt x="1157" y="2019"/>
                  </a:lnTo>
                  <a:lnTo>
                    <a:pt x="1156" y="2019"/>
                  </a:lnTo>
                  <a:lnTo>
                    <a:pt x="1156" y="2021"/>
                  </a:lnTo>
                  <a:lnTo>
                    <a:pt x="1156" y="2023"/>
                  </a:lnTo>
                  <a:lnTo>
                    <a:pt x="1156" y="2025"/>
                  </a:lnTo>
                  <a:lnTo>
                    <a:pt x="1156" y="2027"/>
                  </a:lnTo>
                  <a:lnTo>
                    <a:pt x="1156" y="2029"/>
                  </a:lnTo>
                  <a:lnTo>
                    <a:pt x="1157" y="2027"/>
                  </a:lnTo>
                  <a:lnTo>
                    <a:pt x="1157" y="2029"/>
                  </a:lnTo>
                  <a:lnTo>
                    <a:pt x="1156" y="2029"/>
                  </a:lnTo>
                  <a:lnTo>
                    <a:pt x="1156" y="2031"/>
                  </a:lnTo>
                  <a:lnTo>
                    <a:pt x="1154" y="2031"/>
                  </a:lnTo>
                  <a:lnTo>
                    <a:pt x="1152" y="2031"/>
                  </a:lnTo>
                  <a:lnTo>
                    <a:pt x="1150" y="2031"/>
                  </a:lnTo>
                  <a:lnTo>
                    <a:pt x="1150" y="2033"/>
                  </a:lnTo>
                  <a:lnTo>
                    <a:pt x="1150" y="2031"/>
                  </a:lnTo>
                  <a:lnTo>
                    <a:pt x="1150" y="2027"/>
                  </a:lnTo>
                  <a:lnTo>
                    <a:pt x="1152" y="2025"/>
                  </a:lnTo>
                  <a:lnTo>
                    <a:pt x="1150" y="2025"/>
                  </a:lnTo>
                  <a:lnTo>
                    <a:pt x="1150" y="2027"/>
                  </a:lnTo>
                  <a:lnTo>
                    <a:pt x="1150" y="2029"/>
                  </a:lnTo>
                  <a:lnTo>
                    <a:pt x="1148" y="2031"/>
                  </a:lnTo>
                  <a:lnTo>
                    <a:pt x="1150" y="2031"/>
                  </a:lnTo>
                  <a:lnTo>
                    <a:pt x="1150" y="2033"/>
                  </a:lnTo>
                  <a:lnTo>
                    <a:pt x="1148" y="2031"/>
                  </a:lnTo>
                  <a:lnTo>
                    <a:pt x="1148" y="2029"/>
                  </a:lnTo>
                  <a:lnTo>
                    <a:pt x="1150" y="2027"/>
                  </a:lnTo>
                  <a:lnTo>
                    <a:pt x="1148" y="2025"/>
                  </a:lnTo>
                  <a:lnTo>
                    <a:pt x="1144" y="2027"/>
                  </a:lnTo>
                  <a:lnTo>
                    <a:pt x="1142" y="2027"/>
                  </a:lnTo>
                  <a:lnTo>
                    <a:pt x="1140" y="2029"/>
                  </a:lnTo>
                  <a:lnTo>
                    <a:pt x="1134" y="2033"/>
                  </a:lnTo>
                  <a:lnTo>
                    <a:pt x="1131" y="2034"/>
                  </a:lnTo>
                  <a:lnTo>
                    <a:pt x="1129" y="2034"/>
                  </a:lnTo>
                  <a:lnTo>
                    <a:pt x="1125" y="2036"/>
                  </a:lnTo>
                  <a:lnTo>
                    <a:pt x="1121" y="2036"/>
                  </a:lnTo>
                  <a:lnTo>
                    <a:pt x="1121" y="2038"/>
                  </a:lnTo>
                  <a:lnTo>
                    <a:pt x="1119" y="2038"/>
                  </a:lnTo>
                  <a:lnTo>
                    <a:pt x="1117" y="2038"/>
                  </a:lnTo>
                  <a:lnTo>
                    <a:pt x="1117" y="2040"/>
                  </a:lnTo>
                  <a:lnTo>
                    <a:pt x="1115" y="2040"/>
                  </a:lnTo>
                  <a:lnTo>
                    <a:pt x="1113" y="2040"/>
                  </a:lnTo>
                  <a:lnTo>
                    <a:pt x="1111" y="2040"/>
                  </a:lnTo>
                  <a:lnTo>
                    <a:pt x="1111" y="2042"/>
                  </a:lnTo>
                  <a:lnTo>
                    <a:pt x="1111" y="2040"/>
                  </a:lnTo>
                  <a:lnTo>
                    <a:pt x="1109" y="2040"/>
                  </a:lnTo>
                  <a:lnTo>
                    <a:pt x="1108" y="2040"/>
                  </a:lnTo>
                  <a:lnTo>
                    <a:pt x="1106" y="2040"/>
                  </a:lnTo>
                  <a:lnTo>
                    <a:pt x="1106" y="2042"/>
                  </a:lnTo>
                  <a:lnTo>
                    <a:pt x="1104" y="2042"/>
                  </a:lnTo>
                  <a:lnTo>
                    <a:pt x="1102" y="2042"/>
                  </a:lnTo>
                  <a:lnTo>
                    <a:pt x="1100" y="2042"/>
                  </a:lnTo>
                  <a:lnTo>
                    <a:pt x="1100" y="2044"/>
                  </a:lnTo>
                  <a:lnTo>
                    <a:pt x="1098" y="2044"/>
                  </a:lnTo>
                  <a:lnTo>
                    <a:pt x="1096" y="2046"/>
                  </a:lnTo>
                  <a:lnTo>
                    <a:pt x="1094" y="2046"/>
                  </a:lnTo>
                  <a:lnTo>
                    <a:pt x="1092" y="2046"/>
                  </a:lnTo>
                  <a:lnTo>
                    <a:pt x="1092" y="2048"/>
                  </a:lnTo>
                  <a:lnTo>
                    <a:pt x="1090" y="2048"/>
                  </a:lnTo>
                  <a:lnTo>
                    <a:pt x="1088" y="2048"/>
                  </a:lnTo>
                  <a:lnTo>
                    <a:pt x="1088" y="2050"/>
                  </a:lnTo>
                  <a:lnTo>
                    <a:pt x="1086" y="2048"/>
                  </a:lnTo>
                  <a:lnTo>
                    <a:pt x="1086" y="2050"/>
                  </a:lnTo>
                  <a:lnTo>
                    <a:pt x="1085" y="2050"/>
                  </a:lnTo>
                  <a:lnTo>
                    <a:pt x="1085" y="2048"/>
                  </a:lnTo>
                  <a:lnTo>
                    <a:pt x="1083" y="2048"/>
                  </a:lnTo>
                  <a:lnTo>
                    <a:pt x="1081" y="2050"/>
                  </a:lnTo>
                  <a:lnTo>
                    <a:pt x="1079" y="2050"/>
                  </a:lnTo>
                  <a:lnTo>
                    <a:pt x="1077" y="2050"/>
                  </a:lnTo>
                  <a:lnTo>
                    <a:pt x="1073" y="2050"/>
                  </a:lnTo>
                  <a:lnTo>
                    <a:pt x="1071" y="2052"/>
                  </a:lnTo>
                  <a:lnTo>
                    <a:pt x="1069" y="2052"/>
                  </a:lnTo>
                  <a:lnTo>
                    <a:pt x="1067" y="2052"/>
                  </a:lnTo>
                  <a:lnTo>
                    <a:pt x="1065" y="2052"/>
                  </a:lnTo>
                  <a:lnTo>
                    <a:pt x="1063" y="2052"/>
                  </a:lnTo>
                  <a:lnTo>
                    <a:pt x="1062" y="2052"/>
                  </a:lnTo>
                  <a:lnTo>
                    <a:pt x="1063" y="2050"/>
                  </a:lnTo>
                  <a:lnTo>
                    <a:pt x="1062" y="2050"/>
                  </a:lnTo>
                  <a:lnTo>
                    <a:pt x="1062" y="2052"/>
                  </a:lnTo>
                  <a:lnTo>
                    <a:pt x="1062" y="2050"/>
                  </a:lnTo>
                  <a:lnTo>
                    <a:pt x="1060" y="2050"/>
                  </a:lnTo>
                  <a:lnTo>
                    <a:pt x="1058" y="2050"/>
                  </a:lnTo>
                  <a:lnTo>
                    <a:pt x="1058" y="2052"/>
                  </a:lnTo>
                  <a:lnTo>
                    <a:pt x="1058" y="2050"/>
                  </a:lnTo>
                  <a:lnTo>
                    <a:pt x="1056" y="2050"/>
                  </a:lnTo>
                  <a:lnTo>
                    <a:pt x="1056" y="2048"/>
                  </a:lnTo>
                  <a:lnTo>
                    <a:pt x="1054" y="2048"/>
                  </a:lnTo>
                  <a:lnTo>
                    <a:pt x="1052" y="2048"/>
                  </a:lnTo>
                  <a:lnTo>
                    <a:pt x="1050" y="2048"/>
                  </a:lnTo>
                  <a:lnTo>
                    <a:pt x="1050" y="2046"/>
                  </a:lnTo>
                  <a:lnTo>
                    <a:pt x="1048" y="2046"/>
                  </a:lnTo>
                  <a:lnTo>
                    <a:pt x="1048" y="2044"/>
                  </a:lnTo>
                  <a:lnTo>
                    <a:pt x="1046" y="2044"/>
                  </a:lnTo>
                  <a:lnTo>
                    <a:pt x="1046" y="2042"/>
                  </a:lnTo>
                  <a:lnTo>
                    <a:pt x="1044" y="2042"/>
                  </a:lnTo>
                  <a:lnTo>
                    <a:pt x="1042" y="2042"/>
                  </a:lnTo>
                  <a:lnTo>
                    <a:pt x="1040" y="2042"/>
                  </a:lnTo>
                  <a:lnTo>
                    <a:pt x="1038" y="2042"/>
                  </a:lnTo>
                  <a:lnTo>
                    <a:pt x="1038" y="2040"/>
                  </a:lnTo>
                  <a:lnTo>
                    <a:pt x="1037" y="2040"/>
                  </a:lnTo>
                  <a:lnTo>
                    <a:pt x="1038" y="2040"/>
                  </a:lnTo>
                  <a:lnTo>
                    <a:pt x="1037" y="2040"/>
                  </a:lnTo>
                  <a:lnTo>
                    <a:pt x="1035" y="2040"/>
                  </a:lnTo>
                  <a:lnTo>
                    <a:pt x="1033" y="2038"/>
                  </a:lnTo>
                  <a:lnTo>
                    <a:pt x="1033" y="2036"/>
                  </a:lnTo>
                  <a:lnTo>
                    <a:pt x="1033" y="2038"/>
                  </a:lnTo>
                  <a:lnTo>
                    <a:pt x="1031" y="2038"/>
                  </a:lnTo>
                  <a:lnTo>
                    <a:pt x="1031" y="2036"/>
                  </a:lnTo>
                  <a:lnTo>
                    <a:pt x="1029" y="2036"/>
                  </a:lnTo>
                  <a:lnTo>
                    <a:pt x="1029" y="2034"/>
                  </a:lnTo>
                  <a:lnTo>
                    <a:pt x="1027" y="2034"/>
                  </a:lnTo>
                  <a:lnTo>
                    <a:pt x="1025" y="2034"/>
                  </a:lnTo>
                  <a:lnTo>
                    <a:pt x="1023" y="2034"/>
                  </a:lnTo>
                  <a:lnTo>
                    <a:pt x="1023" y="2033"/>
                  </a:lnTo>
                  <a:lnTo>
                    <a:pt x="1019" y="2033"/>
                  </a:lnTo>
                  <a:lnTo>
                    <a:pt x="1017" y="2031"/>
                  </a:lnTo>
                  <a:lnTo>
                    <a:pt x="1017" y="2029"/>
                  </a:lnTo>
                  <a:lnTo>
                    <a:pt x="1017" y="2031"/>
                  </a:lnTo>
                  <a:lnTo>
                    <a:pt x="1015" y="2031"/>
                  </a:lnTo>
                  <a:lnTo>
                    <a:pt x="1014" y="2031"/>
                  </a:lnTo>
                  <a:lnTo>
                    <a:pt x="1014" y="2029"/>
                  </a:lnTo>
                  <a:lnTo>
                    <a:pt x="1012" y="2029"/>
                  </a:lnTo>
                  <a:lnTo>
                    <a:pt x="1010" y="2029"/>
                  </a:lnTo>
                  <a:lnTo>
                    <a:pt x="1010" y="2027"/>
                  </a:lnTo>
                  <a:lnTo>
                    <a:pt x="1012" y="2027"/>
                  </a:lnTo>
                  <a:lnTo>
                    <a:pt x="1010" y="2027"/>
                  </a:lnTo>
                  <a:lnTo>
                    <a:pt x="1010" y="2029"/>
                  </a:lnTo>
                  <a:lnTo>
                    <a:pt x="1006" y="2029"/>
                  </a:lnTo>
                  <a:lnTo>
                    <a:pt x="1004" y="2027"/>
                  </a:lnTo>
                  <a:lnTo>
                    <a:pt x="1004" y="2025"/>
                  </a:lnTo>
                  <a:lnTo>
                    <a:pt x="1004" y="2023"/>
                  </a:lnTo>
                  <a:lnTo>
                    <a:pt x="1004" y="2027"/>
                  </a:lnTo>
                  <a:lnTo>
                    <a:pt x="1004" y="2029"/>
                  </a:lnTo>
                  <a:lnTo>
                    <a:pt x="1004" y="2027"/>
                  </a:lnTo>
                  <a:lnTo>
                    <a:pt x="1002" y="2027"/>
                  </a:lnTo>
                  <a:lnTo>
                    <a:pt x="1000" y="2027"/>
                  </a:lnTo>
                  <a:lnTo>
                    <a:pt x="998" y="2027"/>
                  </a:lnTo>
                  <a:lnTo>
                    <a:pt x="998" y="2025"/>
                  </a:lnTo>
                  <a:lnTo>
                    <a:pt x="998" y="2023"/>
                  </a:lnTo>
                  <a:lnTo>
                    <a:pt x="996" y="2023"/>
                  </a:lnTo>
                  <a:lnTo>
                    <a:pt x="994" y="2023"/>
                  </a:lnTo>
                  <a:lnTo>
                    <a:pt x="992" y="2023"/>
                  </a:lnTo>
                  <a:lnTo>
                    <a:pt x="990" y="2023"/>
                  </a:lnTo>
                  <a:lnTo>
                    <a:pt x="990" y="2025"/>
                  </a:lnTo>
                  <a:lnTo>
                    <a:pt x="992" y="2025"/>
                  </a:lnTo>
                  <a:lnTo>
                    <a:pt x="992" y="2027"/>
                  </a:lnTo>
                  <a:lnTo>
                    <a:pt x="990" y="2027"/>
                  </a:lnTo>
                  <a:lnTo>
                    <a:pt x="989" y="2025"/>
                  </a:lnTo>
                  <a:lnTo>
                    <a:pt x="987" y="2025"/>
                  </a:lnTo>
                  <a:lnTo>
                    <a:pt x="985" y="2025"/>
                  </a:lnTo>
                  <a:lnTo>
                    <a:pt x="983" y="2023"/>
                  </a:lnTo>
                  <a:lnTo>
                    <a:pt x="981" y="2023"/>
                  </a:lnTo>
                  <a:lnTo>
                    <a:pt x="979" y="2023"/>
                  </a:lnTo>
                  <a:lnTo>
                    <a:pt x="979" y="2021"/>
                  </a:lnTo>
                  <a:lnTo>
                    <a:pt x="977" y="2021"/>
                  </a:lnTo>
                  <a:lnTo>
                    <a:pt x="975" y="2021"/>
                  </a:lnTo>
                  <a:lnTo>
                    <a:pt x="973" y="2021"/>
                  </a:lnTo>
                  <a:lnTo>
                    <a:pt x="973" y="2019"/>
                  </a:lnTo>
                  <a:lnTo>
                    <a:pt x="971" y="2019"/>
                  </a:lnTo>
                  <a:lnTo>
                    <a:pt x="969" y="2019"/>
                  </a:lnTo>
                  <a:lnTo>
                    <a:pt x="967" y="2021"/>
                  </a:lnTo>
                  <a:lnTo>
                    <a:pt x="969" y="2019"/>
                  </a:lnTo>
                  <a:lnTo>
                    <a:pt x="969" y="2017"/>
                  </a:lnTo>
                  <a:lnTo>
                    <a:pt x="967" y="2019"/>
                  </a:lnTo>
                  <a:lnTo>
                    <a:pt x="967" y="2021"/>
                  </a:lnTo>
                  <a:lnTo>
                    <a:pt x="966" y="2021"/>
                  </a:lnTo>
                  <a:lnTo>
                    <a:pt x="967" y="2019"/>
                  </a:lnTo>
                  <a:lnTo>
                    <a:pt x="966" y="2017"/>
                  </a:lnTo>
                  <a:lnTo>
                    <a:pt x="964" y="2017"/>
                  </a:lnTo>
                  <a:lnTo>
                    <a:pt x="962" y="2015"/>
                  </a:lnTo>
                  <a:lnTo>
                    <a:pt x="960" y="2015"/>
                  </a:lnTo>
                  <a:lnTo>
                    <a:pt x="960" y="2013"/>
                  </a:lnTo>
                  <a:lnTo>
                    <a:pt x="958" y="2015"/>
                  </a:lnTo>
                  <a:lnTo>
                    <a:pt x="958" y="2017"/>
                  </a:lnTo>
                  <a:lnTo>
                    <a:pt x="956" y="2017"/>
                  </a:lnTo>
                  <a:lnTo>
                    <a:pt x="954" y="2015"/>
                  </a:lnTo>
                  <a:lnTo>
                    <a:pt x="952" y="2015"/>
                  </a:lnTo>
                  <a:lnTo>
                    <a:pt x="952" y="2013"/>
                  </a:lnTo>
                  <a:lnTo>
                    <a:pt x="954" y="2013"/>
                  </a:lnTo>
                  <a:lnTo>
                    <a:pt x="952" y="2013"/>
                  </a:lnTo>
                  <a:lnTo>
                    <a:pt x="954" y="2015"/>
                  </a:lnTo>
                  <a:lnTo>
                    <a:pt x="956" y="2015"/>
                  </a:lnTo>
                  <a:lnTo>
                    <a:pt x="956" y="2013"/>
                  </a:lnTo>
                  <a:lnTo>
                    <a:pt x="958" y="2011"/>
                  </a:lnTo>
                  <a:lnTo>
                    <a:pt x="956" y="2011"/>
                  </a:lnTo>
                  <a:lnTo>
                    <a:pt x="954" y="2010"/>
                  </a:lnTo>
                  <a:lnTo>
                    <a:pt x="952" y="2010"/>
                  </a:lnTo>
                  <a:lnTo>
                    <a:pt x="950" y="2008"/>
                  </a:lnTo>
                  <a:lnTo>
                    <a:pt x="948" y="2006"/>
                  </a:lnTo>
                  <a:lnTo>
                    <a:pt x="941" y="2002"/>
                  </a:lnTo>
                  <a:lnTo>
                    <a:pt x="941" y="2000"/>
                  </a:lnTo>
                  <a:lnTo>
                    <a:pt x="931" y="1994"/>
                  </a:lnTo>
                  <a:lnTo>
                    <a:pt x="929" y="1994"/>
                  </a:lnTo>
                  <a:lnTo>
                    <a:pt x="929" y="1992"/>
                  </a:lnTo>
                  <a:lnTo>
                    <a:pt x="923" y="1990"/>
                  </a:lnTo>
                  <a:lnTo>
                    <a:pt x="925" y="1990"/>
                  </a:lnTo>
                  <a:lnTo>
                    <a:pt x="925" y="1988"/>
                  </a:lnTo>
                  <a:lnTo>
                    <a:pt x="923" y="1990"/>
                  </a:lnTo>
                  <a:lnTo>
                    <a:pt x="923" y="1988"/>
                  </a:lnTo>
                  <a:lnTo>
                    <a:pt x="921" y="1988"/>
                  </a:lnTo>
                  <a:lnTo>
                    <a:pt x="918" y="1985"/>
                  </a:lnTo>
                  <a:lnTo>
                    <a:pt x="914" y="1983"/>
                  </a:lnTo>
                  <a:lnTo>
                    <a:pt x="912" y="1981"/>
                  </a:lnTo>
                  <a:lnTo>
                    <a:pt x="910" y="1981"/>
                  </a:lnTo>
                  <a:lnTo>
                    <a:pt x="910" y="1979"/>
                  </a:lnTo>
                  <a:lnTo>
                    <a:pt x="908" y="1979"/>
                  </a:lnTo>
                  <a:lnTo>
                    <a:pt x="906" y="1977"/>
                  </a:lnTo>
                  <a:lnTo>
                    <a:pt x="904" y="1977"/>
                  </a:lnTo>
                  <a:lnTo>
                    <a:pt x="902" y="1977"/>
                  </a:lnTo>
                  <a:lnTo>
                    <a:pt x="902" y="1975"/>
                  </a:lnTo>
                  <a:lnTo>
                    <a:pt x="902" y="1977"/>
                  </a:lnTo>
                  <a:lnTo>
                    <a:pt x="895" y="1973"/>
                  </a:lnTo>
                  <a:lnTo>
                    <a:pt x="895" y="1971"/>
                  </a:lnTo>
                  <a:lnTo>
                    <a:pt x="893" y="1971"/>
                  </a:lnTo>
                  <a:lnTo>
                    <a:pt x="891" y="1969"/>
                  </a:lnTo>
                  <a:lnTo>
                    <a:pt x="885" y="1967"/>
                  </a:lnTo>
                  <a:lnTo>
                    <a:pt x="885" y="1965"/>
                  </a:lnTo>
                  <a:lnTo>
                    <a:pt x="885" y="1963"/>
                  </a:lnTo>
                  <a:lnTo>
                    <a:pt x="885" y="1965"/>
                  </a:lnTo>
                  <a:lnTo>
                    <a:pt x="885" y="1967"/>
                  </a:lnTo>
                  <a:lnTo>
                    <a:pt x="885" y="1965"/>
                  </a:lnTo>
                  <a:lnTo>
                    <a:pt x="883" y="1965"/>
                  </a:lnTo>
                  <a:lnTo>
                    <a:pt x="881" y="1965"/>
                  </a:lnTo>
                  <a:lnTo>
                    <a:pt x="879" y="1963"/>
                  </a:lnTo>
                  <a:lnTo>
                    <a:pt x="877" y="1963"/>
                  </a:lnTo>
                  <a:lnTo>
                    <a:pt x="875" y="1963"/>
                  </a:lnTo>
                  <a:lnTo>
                    <a:pt x="873" y="1962"/>
                  </a:lnTo>
                  <a:lnTo>
                    <a:pt x="872" y="1962"/>
                  </a:lnTo>
                  <a:lnTo>
                    <a:pt x="870" y="1960"/>
                  </a:lnTo>
                  <a:lnTo>
                    <a:pt x="868" y="1960"/>
                  </a:lnTo>
                  <a:lnTo>
                    <a:pt x="866" y="1958"/>
                  </a:lnTo>
                  <a:lnTo>
                    <a:pt x="864" y="1958"/>
                  </a:lnTo>
                  <a:lnTo>
                    <a:pt x="862" y="1958"/>
                  </a:lnTo>
                  <a:lnTo>
                    <a:pt x="862" y="1956"/>
                  </a:lnTo>
                  <a:lnTo>
                    <a:pt x="862" y="1958"/>
                  </a:lnTo>
                  <a:lnTo>
                    <a:pt x="868" y="1960"/>
                  </a:lnTo>
                  <a:lnTo>
                    <a:pt x="868" y="1958"/>
                  </a:lnTo>
                  <a:lnTo>
                    <a:pt x="862" y="1956"/>
                  </a:lnTo>
                  <a:lnTo>
                    <a:pt x="862" y="1958"/>
                  </a:lnTo>
                  <a:lnTo>
                    <a:pt x="862" y="1956"/>
                  </a:lnTo>
                  <a:lnTo>
                    <a:pt x="860" y="1956"/>
                  </a:lnTo>
                  <a:lnTo>
                    <a:pt x="858" y="1956"/>
                  </a:lnTo>
                  <a:lnTo>
                    <a:pt x="858" y="1954"/>
                  </a:lnTo>
                  <a:lnTo>
                    <a:pt x="856" y="1954"/>
                  </a:lnTo>
                  <a:lnTo>
                    <a:pt x="856" y="1956"/>
                  </a:lnTo>
                  <a:lnTo>
                    <a:pt x="854" y="1954"/>
                  </a:lnTo>
                  <a:lnTo>
                    <a:pt x="852" y="1954"/>
                  </a:lnTo>
                  <a:lnTo>
                    <a:pt x="850" y="1954"/>
                  </a:lnTo>
                  <a:lnTo>
                    <a:pt x="848" y="1952"/>
                  </a:lnTo>
                  <a:lnTo>
                    <a:pt x="847" y="1952"/>
                  </a:lnTo>
                  <a:lnTo>
                    <a:pt x="845" y="1950"/>
                  </a:lnTo>
                  <a:lnTo>
                    <a:pt x="845" y="1948"/>
                  </a:lnTo>
                  <a:lnTo>
                    <a:pt x="843" y="1950"/>
                  </a:lnTo>
                  <a:lnTo>
                    <a:pt x="841" y="1950"/>
                  </a:lnTo>
                  <a:lnTo>
                    <a:pt x="841" y="1948"/>
                  </a:lnTo>
                  <a:lnTo>
                    <a:pt x="839" y="1948"/>
                  </a:lnTo>
                  <a:lnTo>
                    <a:pt x="841" y="1948"/>
                  </a:lnTo>
                  <a:lnTo>
                    <a:pt x="839" y="1948"/>
                  </a:lnTo>
                  <a:lnTo>
                    <a:pt x="839" y="1950"/>
                  </a:lnTo>
                  <a:lnTo>
                    <a:pt x="839" y="1948"/>
                  </a:lnTo>
                  <a:lnTo>
                    <a:pt x="837" y="1948"/>
                  </a:lnTo>
                  <a:lnTo>
                    <a:pt x="837" y="1946"/>
                  </a:lnTo>
                  <a:lnTo>
                    <a:pt x="835" y="1946"/>
                  </a:lnTo>
                  <a:lnTo>
                    <a:pt x="837" y="1948"/>
                  </a:lnTo>
                  <a:lnTo>
                    <a:pt x="835" y="1946"/>
                  </a:lnTo>
                  <a:lnTo>
                    <a:pt x="835" y="1948"/>
                  </a:lnTo>
                  <a:lnTo>
                    <a:pt x="835" y="1946"/>
                  </a:lnTo>
                  <a:lnTo>
                    <a:pt x="833" y="1946"/>
                  </a:lnTo>
                  <a:lnTo>
                    <a:pt x="833" y="1944"/>
                  </a:lnTo>
                  <a:lnTo>
                    <a:pt x="831" y="1944"/>
                  </a:lnTo>
                  <a:lnTo>
                    <a:pt x="829" y="1944"/>
                  </a:lnTo>
                  <a:lnTo>
                    <a:pt x="829" y="1942"/>
                  </a:lnTo>
                  <a:lnTo>
                    <a:pt x="827" y="1942"/>
                  </a:lnTo>
                  <a:lnTo>
                    <a:pt x="827" y="1940"/>
                  </a:lnTo>
                  <a:lnTo>
                    <a:pt x="829" y="1940"/>
                  </a:lnTo>
                  <a:lnTo>
                    <a:pt x="831" y="1940"/>
                  </a:lnTo>
                  <a:lnTo>
                    <a:pt x="831" y="1938"/>
                  </a:lnTo>
                  <a:lnTo>
                    <a:pt x="833" y="1938"/>
                  </a:lnTo>
                  <a:lnTo>
                    <a:pt x="837" y="1938"/>
                  </a:lnTo>
                  <a:lnTo>
                    <a:pt x="837" y="1937"/>
                  </a:lnTo>
                  <a:lnTo>
                    <a:pt x="837" y="1935"/>
                  </a:lnTo>
                  <a:lnTo>
                    <a:pt x="837" y="1937"/>
                  </a:lnTo>
                  <a:lnTo>
                    <a:pt x="835" y="1937"/>
                  </a:lnTo>
                  <a:lnTo>
                    <a:pt x="835" y="1938"/>
                  </a:lnTo>
                  <a:lnTo>
                    <a:pt x="833" y="1938"/>
                  </a:lnTo>
                  <a:lnTo>
                    <a:pt x="831" y="1937"/>
                  </a:lnTo>
                  <a:lnTo>
                    <a:pt x="833" y="1937"/>
                  </a:lnTo>
                  <a:lnTo>
                    <a:pt x="833" y="1935"/>
                  </a:lnTo>
                  <a:lnTo>
                    <a:pt x="833" y="1937"/>
                  </a:lnTo>
                  <a:lnTo>
                    <a:pt x="831" y="1937"/>
                  </a:lnTo>
                  <a:lnTo>
                    <a:pt x="833" y="1938"/>
                  </a:lnTo>
                  <a:lnTo>
                    <a:pt x="831" y="1938"/>
                  </a:lnTo>
                  <a:lnTo>
                    <a:pt x="831" y="1940"/>
                  </a:lnTo>
                  <a:lnTo>
                    <a:pt x="829" y="1940"/>
                  </a:lnTo>
                  <a:lnTo>
                    <a:pt x="827" y="1940"/>
                  </a:lnTo>
                  <a:lnTo>
                    <a:pt x="825" y="1940"/>
                  </a:lnTo>
                  <a:lnTo>
                    <a:pt x="824" y="1938"/>
                  </a:lnTo>
                  <a:lnTo>
                    <a:pt x="825" y="1937"/>
                  </a:lnTo>
                  <a:lnTo>
                    <a:pt x="827" y="1937"/>
                  </a:lnTo>
                  <a:lnTo>
                    <a:pt x="825" y="1937"/>
                  </a:lnTo>
                  <a:lnTo>
                    <a:pt x="824" y="1938"/>
                  </a:lnTo>
                  <a:lnTo>
                    <a:pt x="824" y="1937"/>
                  </a:lnTo>
                  <a:lnTo>
                    <a:pt x="822" y="1937"/>
                  </a:lnTo>
                  <a:lnTo>
                    <a:pt x="822" y="1935"/>
                  </a:lnTo>
                  <a:lnTo>
                    <a:pt x="820" y="1935"/>
                  </a:lnTo>
                  <a:lnTo>
                    <a:pt x="820" y="1933"/>
                  </a:lnTo>
                  <a:lnTo>
                    <a:pt x="820" y="1931"/>
                  </a:lnTo>
                  <a:lnTo>
                    <a:pt x="818" y="1931"/>
                  </a:lnTo>
                  <a:lnTo>
                    <a:pt x="818" y="1929"/>
                  </a:lnTo>
                  <a:lnTo>
                    <a:pt x="818" y="1927"/>
                  </a:lnTo>
                  <a:lnTo>
                    <a:pt x="816" y="1927"/>
                  </a:lnTo>
                  <a:lnTo>
                    <a:pt x="816" y="1925"/>
                  </a:lnTo>
                  <a:lnTo>
                    <a:pt x="814" y="1923"/>
                  </a:lnTo>
                  <a:lnTo>
                    <a:pt x="814" y="1921"/>
                  </a:lnTo>
                  <a:lnTo>
                    <a:pt x="814" y="1919"/>
                  </a:lnTo>
                  <a:lnTo>
                    <a:pt x="814" y="1917"/>
                  </a:lnTo>
                  <a:lnTo>
                    <a:pt x="812" y="1917"/>
                  </a:lnTo>
                  <a:lnTo>
                    <a:pt x="812" y="1919"/>
                  </a:lnTo>
                  <a:lnTo>
                    <a:pt x="810" y="1919"/>
                  </a:lnTo>
                  <a:lnTo>
                    <a:pt x="812" y="1921"/>
                  </a:lnTo>
                  <a:lnTo>
                    <a:pt x="810" y="1921"/>
                  </a:lnTo>
                  <a:lnTo>
                    <a:pt x="810" y="1919"/>
                  </a:lnTo>
                  <a:lnTo>
                    <a:pt x="812" y="1919"/>
                  </a:lnTo>
                  <a:lnTo>
                    <a:pt x="812" y="1917"/>
                  </a:lnTo>
                  <a:lnTo>
                    <a:pt x="814" y="1917"/>
                  </a:lnTo>
                  <a:lnTo>
                    <a:pt x="814" y="1919"/>
                  </a:lnTo>
                  <a:lnTo>
                    <a:pt x="816" y="1919"/>
                  </a:lnTo>
                  <a:lnTo>
                    <a:pt x="814" y="1919"/>
                  </a:lnTo>
                  <a:lnTo>
                    <a:pt x="814" y="1921"/>
                  </a:lnTo>
                  <a:lnTo>
                    <a:pt x="816" y="1923"/>
                  </a:lnTo>
                  <a:lnTo>
                    <a:pt x="814" y="1921"/>
                  </a:lnTo>
                  <a:lnTo>
                    <a:pt x="816" y="1921"/>
                  </a:lnTo>
                  <a:lnTo>
                    <a:pt x="816" y="1919"/>
                  </a:lnTo>
                  <a:lnTo>
                    <a:pt x="816" y="1921"/>
                  </a:lnTo>
                  <a:lnTo>
                    <a:pt x="818" y="1921"/>
                  </a:lnTo>
                  <a:lnTo>
                    <a:pt x="820" y="1921"/>
                  </a:lnTo>
                  <a:lnTo>
                    <a:pt x="820" y="1923"/>
                  </a:lnTo>
                  <a:lnTo>
                    <a:pt x="820" y="1921"/>
                  </a:lnTo>
                  <a:lnTo>
                    <a:pt x="820" y="1923"/>
                  </a:lnTo>
                  <a:lnTo>
                    <a:pt x="822" y="1923"/>
                  </a:lnTo>
                  <a:lnTo>
                    <a:pt x="822" y="1925"/>
                  </a:lnTo>
                  <a:lnTo>
                    <a:pt x="822" y="1927"/>
                  </a:lnTo>
                  <a:lnTo>
                    <a:pt x="822" y="1929"/>
                  </a:lnTo>
                  <a:lnTo>
                    <a:pt x="820" y="1929"/>
                  </a:lnTo>
                  <a:lnTo>
                    <a:pt x="822" y="1929"/>
                  </a:lnTo>
                  <a:lnTo>
                    <a:pt x="822" y="1931"/>
                  </a:lnTo>
                  <a:lnTo>
                    <a:pt x="822" y="1933"/>
                  </a:lnTo>
                  <a:lnTo>
                    <a:pt x="824" y="1933"/>
                  </a:lnTo>
                  <a:lnTo>
                    <a:pt x="825" y="1933"/>
                  </a:lnTo>
                  <a:lnTo>
                    <a:pt x="827" y="1933"/>
                  </a:lnTo>
                  <a:lnTo>
                    <a:pt x="827" y="1935"/>
                  </a:lnTo>
                  <a:lnTo>
                    <a:pt x="827" y="1933"/>
                  </a:lnTo>
                  <a:lnTo>
                    <a:pt x="825" y="1933"/>
                  </a:lnTo>
                  <a:lnTo>
                    <a:pt x="824" y="1933"/>
                  </a:lnTo>
                  <a:lnTo>
                    <a:pt x="822" y="1933"/>
                  </a:lnTo>
                  <a:lnTo>
                    <a:pt x="822" y="1931"/>
                  </a:lnTo>
                  <a:lnTo>
                    <a:pt x="822" y="1929"/>
                  </a:lnTo>
                  <a:lnTo>
                    <a:pt x="824" y="1929"/>
                  </a:lnTo>
                  <a:lnTo>
                    <a:pt x="822" y="1929"/>
                  </a:lnTo>
                  <a:lnTo>
                    <a:pt x="822" y="1927"/>
                  </a:lnTo>
                  <a:lnTo>
                    <a:pt x="824" y="1927"/>
                  </a:lnTo>
                  <a:lnTo>
                    <a:pt x="825" y="1927"/>
                  </a:lnTo>
                  <a:lnTo>
                    <a:pt x="825" y="1929"/>
                  </a:lnTo>
                  <a:lnTo>
                    <a:pt x="825" y="1927"/>
                  </a:lnTo>
                  <a:lnTo>
                    <a:pt x="827" y="1927"/>
                  </a:lnTo>
                  <a:lnTo>
                    <a:pt x="827" y="1929"/>
                  </a:lnTo>
                  <a:lnTo>
                    <a:pt x="827" y="1927"/>
                  </a:lnTo>
                  <a:lnTo>
                    <a:pt x="825" y="1927"/>
                  </a:lnTo>
                  <a:lnTo>
                    <a:pt x="827" y="1925"/>
                  </a:lnTo>
                  <a:lnTo>
                    <a:pt x="829" y="1925"/>
                  </a:lnTo>
                  <a:lnTo>
                    <a:pt x="829" y="1927"/>
                  </a:lnTo>
                  <a:lnTo>
                    <a:pt x="829" y="1925"/>
                  </a:lnTo>
                  <a:lnTo>
                    <a:pt x="827" y="1925"/>
                  </a:lnTo>
                  <a:lnTo>
                    <a:pt x="825" y="1927"/>
                  </a:lnTo>
                  <a:lnTo>
                    <a:pt x="825" y="1929"/>
                  </a:lnTo>
                  <a:lnTo>
                    <a:pt x="825" y="1927"/>
                  </a:lnTo>
                  <a:lnTo>
                    <a:pt x="825" y="1925"/>
                  </a:lnTo>
                  <a:lnTo>
                    <a:pt x="824" y="1925"/>
                  </a:lnTo>
                  <a:lnTo>
                    <a:pt x="824" y="1927"/>
                  </a:lnTo>
                  <a:lnTo>
                    <a:pt x="822" y="1927"/>
                  </a:lnTo>
                  <a:lnTo>
                    <a:pt x="822" y="1925"/>
                  </a:lnTo>
                  <a:lnTo>
                    <a:pt x="822" y="1923"/>
                  </a:lnTo>
                  <a:lnTo>
                    <a:pt x="822" y="1921"/>
                  </a:lnTo>
                  <a:lnTo>
                    <a:pt x="824" y="1921"/>
                  </a:lnTo>
                  <a:lnTo>
                    <a:pt x="825" y="1921"/>
                  </a:lnTo>
                  <a:lnTo>
                    <a:pt x="825" y="1923"/>
                  </a:lnTo>
                  <a:lnTo>
                    <a:pt x="825" y="1921"/>
                  </a:lnTo>
                  <a:lnTo>
                    <a:pt x="824" y="1921"/>
                  </a:lnTo>
                  <a:lnTo>
                    <a:pt x="825" y="1919"/>
                  </a:lnTo>
                  <a:lnTo>
                    <a:pt x="827" y="1917"/>
                  </a:lnTo>
                  <a:lnTo>
                    <a:pt x="829" y="1917"/>
                  </a:lnTo>
                  <a:lnTo>
                    <a:pt x="831" y="1917"/>
                  </a:lnTo>
                  <a:lnTo>
                    <a:pt x="829" y="1919"/>
                  </a:lnTo>
                  <a:lnTo>
                    <a:pt x="831" y="1921"/>
                  </a:lnTo>
                  <a:lnTo>
                    <a:pt x="829" y="1919"/>
                  </a:lnTo>
                  <a:lnTo>
                    <a:pt x="831" y="1917"/>
                  </a:lnTo>
                  <a:lnTo>
                    <a:pt x="829" y="1917"/>
                  </a:lnTo>
                  <a:lnTo>
                    <a:pt x="829" y="1915"/>
                  </a:lnTo>
                  <a:lnTo>
                    <a:pt x="827" y="1915"/>
                  </a:lnTo>
                  <a:lnTo>
                    <a:pt x="825" y="1913"/>
                  </a:lnTo>
                  <a:lnTo>
                    <a:pt x="825" y="1915"/>
                  </a:lnTo>
                  <a:lnTo>
                    <a:pt x="824" y="1915"/>
                  </a:lnTo>
                  <a:lnTo>
                    <a:pt x="822" y="1915"/>
                  </a:lnTo>
                  <a:lnTo>
                    <a:pt x="822" y="1913"/>
                  </a:lnTo>
                  <a:lnTo>
                    <a:pt x="820" y="1913"/>
                  </a:lnTo>
                  <a:lnTo>
                    <a:pt x="818" y="1913"/>
                  </a:lnTo>
                  <a:lnTo>
                    <a:pt x="818" y="1912"/>
                  </a:lnTo>
                  <a:lnTo>
                    <a:pt x="816" y="1912"/>
                  </a:lnTo>
                  <a:lnTo>
                    <a:pt x="814" y="1912"/>
                  </a:lnTo>
                  <a:lnTo>
                    <a:pt x="814" y="1910"/>
                  </a:lnTo>
                  <a:lnTo>
                    <a:pt x="812" y="1908"/>
                  </a:lnTo>
                  <a:lnTo>
                    <a:pt x="812" y="1906"/>
                  </a:lnTo>
                  <a:lnTo>
                    <a:pt x="812" y="1904"/>
                  </a:lnTo>
                  <a:lnTo>
                    <a:pt x="814" y="1904"/>
                  </a:lnTo>
                  <a:lnTo>
                    <a:pt x="814" y="1902"/>
                  </a:lnTo>
                  <a:lnTo>
                    <a:pt x="812" y="1904"/>
                  </a:lnTo>
                  <a:lnTo>
                    <a:pt x="810" y="1906"/>
                  </a:lnTo>
                  <a:lnTo>
                    <a:pt x="810" y="1904"/>
                  </a:lnTo>
                  <a:lnTo>
                    <a:pt x="810" y="1902"/>
                  </a:lnTo>
                  <a:lnTo>
                    <a:pt x="808" y="1902"/>
                  </a:lnTo>
                  <a:lnTo>
                    <a:pt x="806" y="1900"/>
                  </a:lnTo>
                  <a:lnTo>
                    <a:pt x="808" y="1900"/>
                  </a:lnTo>
                  <a:lnTo>
                    <a:pt x="806" y="1898"/>
                  </a:lnTo>
                  <a:lnTo>
                    <a:pt x="808" y="1898"/>
                  </a:lnTo>
                  <a:lnTo>
                    <a:pt x="806" y="1898"/>
                  </a:lnTo>
                  <a:lnTo>
                    <a:pt x="804" y="1898"/>
                  </a:lnTo>
                  <a:lnTo>
                    <a:pt x="804" y="1896"/>
                  </a:lnTo>
                  <a:lnTo>
                    <a:pt x="804" y="1894"/>
                  </a:lnTo>
                  <a:lnTo>
                    <a:pt x="806" y="1894"/>
                  </a:lnTo>
                  <a:lnTo>
                    <a:pt x="804" y="1896"/>
                  </a:lnTo>
                  <a:lnTo>
                    <a:pt x="804" y="1898"/>
                  </a:lnTo>
                  <a:lnTo>
                    <a:pt x="804" y="1896"/>
                  </a:lnTo>
                  <a:lnTo>
                    <a:pt x="804" y="1898"/>
                  </a:lnTo>
                  <a:lnTo>
                    <a:pt x="802" y="1896"/>
                  </a:lnTo>
                  <a:lnTo>
                    <a:pt x="802" y="1894"/>
                  </a:lnTo>
                  <a:lnTo>
                    <a:pt x="800" y="1894"/>
                  </a:lnTo>
                  <a:lnTo>
                    <a:pt x="802" y="1894"/>
                  </a:lnTo>
                  <a:lnTo>
                    <a:pt x="800" y="1894"/>
                  </a:lnTo>
                  <a:lnTo>
                    <a:pt x="802" y="1894"/>
                  </a:lnTo>
                  <a:lnTo>
                    <a:pt x="802" y="1892"/>
                  </a:lnTo>
                  <a:lnTo>
                    <a:pt x="800" y="1892"/>
                  </a:lnTo>
                  <a:lnTo>
                    <a:pt x="799" y="1892"/>
                  </a:lnTo>
                  <a:lnTo>
                    <a:pt x="799" y="1890"/>
                  </a:lnTo>
                  <a:lnTo>
                    <a:pt x="799" y="1889"/>
                  </a:lnTo>
                  <a:lnTo>
                    <a:pt x="799" y="1890"/>
                  </a:lnTo>
                  <a:lnTo>
                    <a:pt x="799" y="1892"/>
                  </a:lnTo>
                  <a:lnTo>
                    <a:pt x="797" y="1892"/>
                  </a:lnTo>
                  <a:lnTo>
                    <a:pt x="797" y="1890"/>
                  </a:lnTo>
                  <a:lnTo>
                    <a:pt x="795" y="1890"/>
                  </a:lnTo>
                  <a:lnTo>
                    <a:pt x="793" y="1890"/>
                  </a:lnTo>
                  <a:lnTo>
                    <a:pt x="793" y="1889"/>
                  </a:lnTo>
                  <a:lnTo>
                    <a:pt x="793" y="1890"/>
                  </a:lnTo>
                  <a:lnTo>
                    <a:pt x="793" y="1889"/>
                  </a:lnTo>
                  <a:lnTo>
                    <a:pt x="791" y="1887"/>
                  </a:lnTo>
                  <a:lnTo>
                    <a:pt x="791" y="1885"/>
                  </a:lnTo>
                  <a:lnTo>
                    <a:pt x="793" y="1883"/>
                  </a:lnTo>
                  <a:lnTo>
                    <a:pt x="791" y="1883"/>
                  </a:lnTo>
                  <a:lnTo>
                    <a:pt x="791" y="1885"/>
                  </a:lnTo>
                  <a:lnTo>
                    <a:pt x="791" y="1887"/>
                  </a:lnTo>
                  <a:lnTo>
                    <a:pt x="789" y="1887"/>
                  </a:lnTo>
                  <a:lnTo>
                    <a:pt x="787" y="1887"/>
                  </a:lnTo>
                  <a:lnTo>
                    <a:pt x="785" y="1887"/>
                  </a:lnTo>
                  <a:lnTo>
                    <a:pt x="785" y="1885"/>
                  </a:lnTo>
                  <a:lnTo>
                    <a:pt x="785" y="1883"/>
                  </a:lnTo>
                  <a:lnTo>
                    <a:pt x="785" y="1885"/>
                  </a:lnTo>
                  <a:lnTo>
                    <a:pt x="783" y="1885"/>
                  </a:lnTo>
                  <a:lnTo>
                    <a:pt x="785" y="1887"/>
                  </a:lnTo>
                  <a:lnTo>
                    <a:pt x="783" y="1885"/>
                  </a:lnTo>
                  <a:lnTo>
                    <a:pt x="779" y="1885"/>
                  </a:lnTo>
                  <a:lnTo>
                    <a:pt x="777" y="1885"/>
                  </a:lnTo>
                  <a:lnTo>
                    <a:pt x="776" y="1885"/>
                  </a:lnTo>
                  <a:lnTo>
                    <a:pt x="777" y="1885"/>
                  </a:lnTo>
                  <a:lnTo>
                    <a:pt x="776" y="1885"/>
                  </a:lnTo>
                  <a:lnTo>
                    <a:pt x="774" y="1883"/>
                  </a:lnTo>
                  <a:lnTo>
                    <a:pt x="774" y="1881"/>
                  </a:lnTo>
                  <a:lnTo>
                    <a:pt x="772" y="1879"/>
                  </a:lnTo>
                  <a:lnTo>
                    <a:pt x="770" y="1877"/>
                  </a:lnTo>
                  <a:lnTo>
                    <a:pt x="768" y="1875"/>
                  </a:lnTo>
                  <a:lnTo>
                    <a:pt x="768" y="1873"/>
                  </a:lnTo>
                  <a:lnTo>
                    <a:pt x="766" y="1871"/>
                  </a:lnTo>
                  <a:lnTo>
                    <a:pt x="764" y="1869"/>
                  </a:lnTo>
                  <a:lnTo>
                    <a:pt x="764" y="1867"/>
                  </a:lnTo>
                  <a:lnTo>
                    <a:pt x="764" y="1865"/>
                  </a:lnTo>
                  <a:lnTo>
                    <a:pt x="762" y="1864"/>
                  </a:lnTo>
                  <a:lnTo>
                    <a:pt x="758" y="1862"/>
                  </a:lnTo>
                  <a:lnTo>
                    <a:pt x="756" y="1860"/>
                  </a:lnTo>
                  <a:lnTo>
                    <a:pt x="756" y="1858"/>
                  </a:lnTo>
                  <a:lnTo>
                    <a:pt x="754" y="1858"/>
                  </a:lnTo>
                  <a:lnTo>
                    <a:pt x="753" y="1856"/>
                  </a:lnTo>
                  <a:lnTo>
                    <a:pt x="751" y="1858"/>
                  </a:lnTo>
                  <a:lnTo>
                    <a:pt x="749" y="1858"/>
                  </a:lnTo>
                  <a:lnTo>
                    <a:pt x="747" y="1858"/>
                  </a:lnTo>
                  <a:lnTo>
                    <a:pt x="745" y="1856"/>
                  </a:lnTo>
                  <a:lnTo>
                    <a:pt x="743" y="1856"/>
                  </a:lnTo>
                  <a:lnTo>
                    <a:pt x="741" y="1856"/>
                  </a:lnTo>
                  <a:lnTo>
                    <a:pt x="739" y="1856"/>
                  </a:lnTo>
                  <a:lnTo>
                    <a:pt x="739" y="1858"/>
                  </a:lnTo>
                  <a:lnTo>
                    <a:pt x="739" y="1860"/>
                  </a:lnTo>
                  <a:lnTo>
                    <a:pt x="737" y="1860"/>
                  </a:lnTo>
                  <a:lnTo>
                    <a:pt x="737" y="1858"/>
                  </a:lnTo>
                  <a:lnTo>
                    <a:pt x="735" y="1858"/>
                  </a:lnTo>
                  <a:lnTo>
                    <a:pt x="733" y="1860"/>
                  </a:lnTo>
                  <a:lnTo>
                    <a:pt x="731" y="1860"/>
                  </a:lnTo>
                  <a:lnTo>
                    <a:pt x="729" y="1858"/>
                  </a:lnTo>
                  <a:lnTo>
                    <a:pt x="729" y="1860"/>
                  </a:lnTo>
                  <a:lnTo>
                    <a:pt x="729" y="1858"/>
                  </a:lnTo>
                  <a:lnTo>
                    <a:pt x="729" y="1856"/>
                  </a:lnTo>
                  <a:lnTo>
                    <a:pt x="729" y="1854"/>
                  </a:lnTo>
                  <a:lnTo>
                    <a:pt x="731" y="1854"/>
                  </a:lnTo>
                  <a:lnTo>
                    <a:pt x="731" y="1852"/>
                  </a:lnTo>
                  <a:lnTo>
                    <a:pt x="731" y="1850"/>
                  </a:lnTo>
                  <a:lnTo>
                    <a:pt x="731" y="1848"/>
                  </a:lnTo>
                  <a:lnTo>
                    <a:pt x="731" y="1846"/>
                  </a:lnTo>
                  <a:lnTo>
                    <a:pt x="731" y="1848"/>
                  </a:lnTo>
                  <a:lnTo>
                    <a:pt x="731" y="1846"/>
                  </a:lnTo>
                  <a:lnTo>
                    <a:pt x="731" y="1844"/>
                  </a:lnTo>
                  <a:lnTo>
                    <a:pt x="731" y="1846"/>
                  </a:lnTo>
                  <a:lnTo>
                    <a:pt x="731" y="1848"/>
                  </a:lnTo>
                  <a:lnTo>
                    <a:pt x="729" y="1848"/>
                  </a:lnTo>
                  <a:lnTo>
                    <a:pt x="729" y="1850"/>
                  </a:lnTo>
                  <a:lnTo>
                    <a:pt x="729" y="1852"/>
                  </a:lnTo>
                  <a:lnTo>
                    <a:pt x="729" y="1854"/>
                  </a:lnTo>
                  <a:lnTo>
                    <a:pt x="729" y="1858"/>
                  </a:lnTo>
                  <a:lnTo>
                    <a:pt x="729" y="1860"/>
                  </a:lnTo>
                  <a:lnTo>
                    <a:pt x="729" y="1858"/>
                  </a:lnTo>
                  <a:lnTo>
                    <a:pt x="728" y="1858"/>
                  </a:lnTo>
                  <a:lnTo>
                    <a:pt x="726" y="1856"/>
                  </a:lnTo>
                  <a:lnTo>
                    <a:pt x="724" y="1856"/>
                  </a:lnTo>
                  <a:lnTo>
                    <a:pt x="724" y="1858"/>
                  </a:lnTo>
                  <a:lnTo>
                    <a:pt x="724" y="1856"/>
                  </a:lnTo>
                  <a:lnTo>
                    <a:pt x="724" y="1854"/>
                  </a:lnTo>
                  <a:lnTo>
                    <a:pt x="726" y="1852"/>
                  </a:lnTo>
                  <a:lnTo>
                    <a:pt x="726" y="1850"/>
                  </a:lnTo>
                  <a:lnTo>
                    <a:pt x="724" y="1850"/>
                  </a:lnTo>
                  <a:lnTo>
                    <a:pt x="726" y="1848"/>
                  </a:lnTo>
                  <a:lnTo>
                    <a:pt x="724" y="1848"/>
                  </a:lnTo>
                  <a:lnTo>
                    <a:pt x="722" y="1850"/>
                  </a:lnTo>
                  <a:lnTo>
                    <a:pt x="722" y="1852"/>
                  </a:lnTo>
                  <a:lnTo>
                    <a:pt x="722" y="1854"/>
                  </a:lnTo>
                  <a:lnTo>
                    <a:pt x="720" y="1856"/>
                  </a:lnTo>
                  <a:lnTo>
                    <a:pt x="722" y="1856"/>
                  </a:lnTo>
                  <a:lnTo>
                    <a:pt x="722" y="1858"/>
                  </a:lnTo>
                  <a:lnTo>
                    <a:pt x="720" y="1856"/>
                  </a:lnTo>
                  <a:lnTo>
                    <a:pt x="720" y="1854"/>
                  </a:lnTo>
                  <a:lnTo>
                    <a:pt x="720" y="1852"/>
                  </a:lnTo>
                  <a:lnTo>
                    <a:pt x="720" y="1850"/>
                  </a:lnTo>
                  <a:lnTo>
                    <a:pt x="720" y="1848"/>
                  </a:lnTo>
                  <a:lnTo>
                    <a:pt x="718" y="1848"/>
                  </a:lnTo>
                  <a:lnTo>
                    <a:pt x="718" y="1846"/>
                  </a:lnTo>
                  <a:lnTo>
                    <a:pt x="716" y="1846"/>
                  </a:lnTo>
                  <a:lnTo>
                    <a:pt x="714" y="1846"/>
                  </a:lnTo>
                  <a:lnTo>
                    <a:pt x="712" y="1846"/>
                  </a:lnTo>
                  <a:lnTo>
                    <a:pt x="710" y="1846"/>
                  </a:lnTo>
                  <a:lnTo>
                    <a:pt x="708" y="1846"/>
                  </a:lnTo>
                  <a:lnTo>
                    <a:pt x="708" y="1844"/>
                  </a:lnTo>
                  <a:lnTo>
                    <a:pt x="706" y="1844"/>
                  </a:lnTo>
                  <a:lnTo>
                    <a:pt x="705" y="1844"/>
                  </a:lnTo>
                  <a:lnTo>
                    <a:pt x="706" y="1844"/>
                  </a:lnTo>
                  <a:lnTo>
                    <a:pt x="706" y="1846"/>
                  </a:lnTo>
                  <a:lnTo>
                    <a:pt x="708" y="1846"/>
                  </a:lnTo>
                  <a:lnTo>
                    <a:pt x="708" y="1848"/>
                  </a:lnTo>
                  <a:lnTo>
                    <a:pt x="708" y="1846"/>
                  </a:lnTo>
                  <a:lnTo>
                    <a:pt x="706" y="1846"/>
                  </a:lnTo>
                  <a:lnTo>
                    <a:pt x="705" y="1846"/>
                  </a:lnTo>
                  <a:lnTo>
                    <a:pt x="705" y="1844"/>
                  </a:lnTo>
                  <a:lnTo>
                    <a:pt x="703" y="1844"/>
                  </a:lnTo>
                  <a:lnTo>
                    <a:pt x="701" y="1844"/>
                  </a:lnTo>
                  <a:lnTo>
                    <a:pt x="701" y="1842"/>
                  </a:lnTo>
                  <a:lnTo>
                    <a:pt x="701" y="1840"/>
                  </a:lnTo>
                  <a:lnTo>
                    <a:pt x="699" y="1840"/>
                  </a:lnTo>
                  <a:lnTo>
                    <a:pt x="697" y="1839"/>
                  </a:lnTo>
                  <a:lnTo>
                    <a:pt x="697" y="1837"/>
                  </a:lnTo>
                  <a:lnTo>
                    <a:pt x="695" y="1837"/>
                  </a:lnTo>
                  <a:lnTo>
                    <a:pt x="693" y="1835"/>
                  </a:lnTo>
                  <a:lnTo>
                    <a:pt x="693" y="1833"/>
                  </a:lnTo>
                  <a:lnTo>
                    <a:pt x="691" y="1833"/>
                  </a:lnTo>
                  <a:lnTo>
                    <a:pt x="691" y="1831"/>
                  </a:lnTo>
                  <a:lnTo>
                    <a:pt x="687" y="1825"/>
                  </a:lnTo>
                  <a:lnTo>
                    <a:pt x="685" y="1825"/>
                  </a:lnTo>
                  <a:lnTo>
                    <a:pt x="685" y="1823"/>
                  </a:lnTo>
                  <a:lnTo>
                    <a:pt x="683" y="1823"/>
                  </a:lnTo>
                  <a:lnTo>
                    <a:pt x="672" y="1829"/>
                  </a:lnTo>
                  <a:lnTo>
                    <a:pt x="670" y="1829"/>
                  </a:lnTo>
                  <a:lnTo>
                    <a:pt x="668" y="1831"/>
                  </a:lnTo>
                  <a:lnTo>
                    <a:pt x="666" y="1829"/>
                  </a:lnTo>
                  <a:lnTo>
                    <a:pt x="670" y="1827"/>
                  </a:lnTo>
                  <a:lnTo>
                    <a:pt x="670" y="1825"/>
                  </a:lnTo>
                  <a:lnTo>
                    <a:pt x="672" y="1825"/>
                  </a:lnTo>
                  <a:lnTo>
                    <a:pt x="676" y="1823"/>
                  </a:lnTo>
                  <a:lnTo>
                    <a:pt x="680" y="1821"/>
                  </a:lnTo>
                  <a:lnTo>
                    <a:pt x="680" y="1819"/>
                  </a:lnTo>
                  <a:lnTo>
                    <a:pt x="681" y="1817"/>
                  </a:lnTo>
                  <a:lnTo>
                    <a:pt x="681" y="1816"/>
                  </a:lnTo>
                  <a:lnTo>
                    <a:pt x="681" y="1814"/>
                  </a:lnTo>
                  <a:lnTo>
                    <a:pt x="681" y="1812"/>
                  </a:lnTo>
                  <a:lnTo>
                    <a:pt x="680" y="1810"/>
                  </a:lnTo>
                  <a:lnTo>
                    <a:pt x="678" y="1806"/>
                  </a:lnTo>
                  <a:lnTo>
                    <a:pt x="678" y="1804"/>
                  </a:lnTo>
                  <a:lnTo>
                    <a:pt x="676" y="1802"/>
                  </a:lnTo>
                  <a:lnTo>
                    <a:pt x="674" y="1800"/>
                  </a:lnTo>
                  <a:lnTo>
                    <a:pt x="674" y="1796"/>
                  </a:lnTo>
                  <a:lnTo>
                    <a:pt x="672" y="1796"/>
                  </a:lnTo>
                  <a:lnTo>
                    <a:pt x="672" y="1794"/>
                  </a:lnTo>
                  <a:lnTo>
                    <a:pt x="672" y="1792"/>
                  </a:lnTo>
                  <a:lnTo>
                    <a:pt x="670" y="1789"/>
                  </a:lnTo>
                  <a:lnTo>
                    <a:pt x="668" y="1787"/>
                  </a:lnTo>
                  <a:lnTo>
                    <a:pt x="666" y="1785"/>
                  </a:lnTo>
                  <a:lnTo>
                    <a:pt x="664" y="1781"/>
                  </a:lnTo>
                  <a:lnTo>
                    <a:pt x="664" y="1779"/>
                  </a:lnTo>
                  <a:lnTo>
                    <a:pt x="662" y="1777"/>
                  </a:lnTo>
                  <a:lnTo>
                    <a:pt x="658" y="1771"/>
                  </a:lnTo>
                  <a:lnTo>
                    <a:pt x="657" y="1769"/>
                  </a:lnTo>
                  <a:lnTo>
                    <a:pt x="657" y="1766"/>
                  </a:lnTo>
                  <a:lnTo>
                    <a:pt x="655" y="1766"/>
                  </a:lnTo>
                  <a:lnTo>
                    <a:pt x="655" y="1764"/>
                  </a:lnTo>
                  <a:lnTo>
                    <a:pt x="653" y="1762"/>
                  </a:lnTo>
                  <a:lnTo>
                    <a:pt x="653" y="1760"/>
                  </a:lnTo>
                  <a:lnTo>
                    <a:pt x="651" y="1760"/>
                  </a:lnTo>
                  <a:lnTo>
                    <a:pt x="651" y="1758"/>
                  </a:lnTo>
                  <a:lnTo>
                    <a:pt x="651" y="1756"/>
                  </a:lnTo>
                  <a:lnTo>
                    <a:pt x="651" y="1754"/>
                  </a:lnTo>
                  <a:lnTo>
                    <a:pt x="653" y="1754"/>
                  </a:lnTo>
                  <a:lnTo>
                    <a:pt x="653" y="1752"/>
                  </a:lnTo>
                  <a:lnTo>
                    <a:pt x="655" y="1750"/>
                  </a:lnTo>
                  <a:lnTo>
                    <a:pt x="655" y="1748"/>
                  </a:lnTo>
                  <a:lnTo>
                    <a:pt x="657" y="1746"/>
                  </a:lnTo>
                  <a:lnTo>
                    <a:pt x="658" y="1746"/>
                  </a:lnTo>
                  <a:lnTo>
                    <a:pt x="658" y="1744"/>
                  </a:lnTo>
                  <a:lnTo>
                    <a:pt x="660" y="1743"/>
                  </a:lnTo>
                  <a:lnTo>
                    <a:pt x="662" y="1741"/>
                  </a:lnTo>
                  <a:lnTo>
                    <a:pt x="662" y="1739"/>
                  </a:lnTo>
                  <a:lnTo>
                    <a:pt x="664" y="1739"/>
                  </a:lnTo>
                  <a:lnTo>
                    <a:pt x="664" y="1737"/>
                  </a:lnTo>
                  <a:lnTo>
                    <a:pt x="666" y="1737"/>
                  </a:lnTo>
                  <a:lnTo>
                    <a:pt x="666" y="1735"/>
                  </a:lnTo>
                  <a:lnTo>
                    <a:pt x="668" y="1733"/>
                  </a:lnTo>
                  <a:lnTo>
                    <a:pt x="668" y="1731"/>
                  </a:lnTo>
                  <a:lnTo>
                    <a:pt x="670" y="1731"/>
                  </a:lnTo>
                  <a:lnTo>
                    <a:pt x="670" y="1729"/>
                  </a:lnTo>
                  <a:lnTo>
                    <a:pt x="670" y="1731"/>
                  </a:lnTo>
                  <a:lnTo>
                    <a:pt x="668" y="1733"/>
                  </a:lnTo>
                  <a:lnTo>
                    <a:pt x="668" y="1735"/>
                  </a:lnTo>
                  <a:lnTo>
                    <a:pt x="666" y="1735"/>
                  </a:lnTo>
                  <a:lnTo>
                    <a:pt x="666" y="1737"/>
                  </a:lnTo>
                  <a:lnTo>
                    <a:pt x="664" y="1737"/>
                  </a:lnTo>
                  <a:lnTo>
                    <a:pt x="664" y="1739"/>
                  </a:lnTo>
                  <a:lnTo>
                    <a:pt x="666" y="1739"/>
                  </a:lnTo>
                  <a:lnTo>
                    <a:pt x="666" y="1737"/>
                  </a:lnTo>
                  <a:lnTo>
                    <a:pt x="668" y="1735"/>
                  </a:lnTo>
                  <a:lnTo>
                    <a:pt x="668" y="1733"/>
                  </a:lnTo>
                  <a:lnTo>
                    <a:pt x="670" y="1733"/>
                  </a:lnTo>
                  <a:lnTo>
                    <a:pt x="670" y="1731"/>
                  </a:lnTo>
                  <a:lnTo>
                    <a:pt x="672" y="1731"/>
                  </a:lnTo>
                  <a:lnTo>
                    <a:pt x="674" y="1729"/>
                  </a:lnTo>
                  <a:lnTo>
                    <a:pt x="672" y="1729"/>
                  </a:lnTo>
                  <a:lnTo>
                    <a:pt x="672" y="1727"/>
                  </a:lnTo>
                  <a:lnTo>
                    <a:pt x="674" y="1725"/>
                  </a:lnTo>
                  <a:lnTo>
                    <a:pt x="674" y="1723"/>
                  </a:lnTo>
                  <a:lnTo>
                    <a:pt x="676" y="1723"/>
                  </a:lnTo>
                  <a:lnTo>
                    <a:pt x="676" y="1721"/>
                  </a:lnTo>
                  <a:lnTo>
                    <a:pt x="676" y="1723"/>
                  </a:lnTo>
                  <a:lnTo>
                    <a:pt x="674" y="1723"/>
                  </a:lnTo>
                  <a:lnTo>
                    <a:pt x="676" y="1725"/>
                  </a:lnTo>
                  <a:lnTo>
                    <a:pt x="678" y="1725"/>
                  </a:lnTo>
                  <a:lnTo>
                    <a:pt x="678" y="1723"/>
                  </a:lnTo>
                  <a:lnTo>
                    <a:pt x="678" y="1721"/>
                  </a:lnTo>
                  <a:lnTo>
                    <a:pt x="678" y="1719"/>
                  </a:lnTo>
                  <a:lnTo>
                    <a:pt x="676" y="1718"/>
                  </a:lnTo>
                  <a:lnTo>
                    <a:pt x="676" y="1716"/>
                  </a:lnTo>
                  <a:lnTo>
                    <a:pt x="678" y="1718"/>
                  </a:lnTo>
                  <a:lnTo>
                    <a:pt x="680" y="1719"/>
                  </a:lnTo>
                  <a:lnTo>
                    <a:pt x="680" y="1721"/>
                  </a:lnTo>
                  <a:lnTo>
                    <a:pt x="680" y="1719"/>
                  </a:lnTo>
                  <a:lnTo>
                    <a:pt x="676" y="1716"/>
                  </a:lnTo>
                  <a:lnTo>
                    <a:pt x="674" y="1714"/>
                  </a:lnTo>
                  <a:lnTo>
                    <a:pt x="672" y="1712"/>
                  </a:lnTo>
                  <a:lnTo>
                    <a:pt x="672" y="1710"/>
                  </a:lnTo>
                  <a:lnTo>
                    <a:pt x="668" y="1708"/>
                  </a:lnTo>
                  <a:lnTo>
                    <a:pt x="666" y="1708"/>
                  </a:lnTo>
                  <a:lnTo>
                    <a:pt x="664" y="1706"/>
                  </a:lnTo>
                  <a:lnTo>
                    <a:pt x="662" y="1708"/>
                  </a:lnTo>
                  <a:lnTo>
                    <a:pt x="660" y="1708"/>
                  </a:lnTo>
                  <a:lnTo>
                    <a:pt x="658" y="1708"/>
                  </a:lnTo>
                  <a:lnTo>
                    <a:pt x="657" y="1708"/>
                  </a:lnTo>
                  <a:lnTo>
                    <a:pt x="657" y="1710"/>
                  </a:lnTo>
                  <a:lnTo>
                    <a:pt x="655" y="1710"/>
                  </a:lnTo>
                  <a:lnTo>
                    <a:pt x="653" y="1710"/>
                  </a:lnTo>
                  <a:lnTo>
                    <a:pt x="655" y="1710"/>
                  </a:lnTo>
                  <a:lnTo>
                    <a:pt x="655" y="1712"/>
                  </a:lnTo>
                  <a:lnTo>
                    <a:pt x="653" y="1712"/>
                  </a:lnTo>
                  <a:lnTo>
                    <a:pt x="647" y="1710"/>
                  </a:lnTo>
                  <a:lnTo>
                    <a:pt x="643" y="1712"/>
                  </a:lnTo>
                  <a:lnTo>
                    <a:pt x="641" y="1712"/>
                  </a:lnTo>
                  <a:lnTo>
                    <a:pt x="639" y="1712"/>
                  </a:lnTo>
                  <a:lnTo>
                    <a:pt x="639" y="1714"/>
                  </a:lnTo>
                  <a:lnTo>
                    <a:pt x="637" y="1714"/>
                  </a:lnTo>
                  <a:lnTo>
                    <a:pt x="635" y="1714"/>
                  </a:lnTo>
                  <a:lnTo>
                    <a:pt x="634" y="1714"/>
                  </a:lnTo>
                  <a:lnTo>
                    <a:pt x="632" y="1714"/>
                  </a:lnTo>
                  <a:lnTo>
                    <a:pt x="632" y="1716"/>
                  </a:lnTo>
                  <a:lnTo>
                    <a:pt x="634" y="1716"/>
                  </a:lnTo>
                  <a:lnTo>
                    <a:pt x="634" y="1718"/>
                  </a:lnTo>
                  <a:lnTo>
                    <a:pt x="635" y="1718"/>
                  </a:lnTo>
                  <a:lnTo>
                    <a:pt x="637" y="1719"/>
                  </a:lnTo>
                  <a:lnTo>
                    <a:pt x="637" y="1721"/>
                  </a:lnTo>
                  <a:lnTo>
                    <a:pt x="635" y="1721"/>
                  </a:lnTo>
                  <a:lnTo>
                    <a:pt x="637" y="1721"/>
                  </a:lnTo>
                  <a:lnTo>
                    <a:pt x="637" y="1719"/>
                  </a:lnTo>
                  <a:lnTo>
                    <a:pt x="637" y="1721"/>
                  </a:lnTo>
                  <a:lnTo>
                    <a:pt x="639" y="1721"/>
                  </a:lnTo>
                  <a:lnTo>
                    <a:pt x="637" y="1721"/>
                  </a:lnTo>
                  <a:lnTo>
                    <a:pt x="635" y="1721"/>
                  </a:lnTo>
                  <a:lnTo>
                    <a:pt x="635" y="1719"/>
                  </a:lnTo>
                  <a:lnTo>
                    <a:pt x="635" y="1718"/>
                  </a:lnTo>
                  <a:lnTo>
                    <a:pt x="634" y="1718"/>
                  </a:lnTo>
                  <a:lnTo>
                    <a:pt x="632" y="1716"/>
                  </a:lnTo>
                  <a:lnTo>
                    <a:pt x="630" y="1716"/>
                  </a:lnTo>
                  <a:lnTo>
                    <a:pt x="630" y="1714"/>
                  </a:lnTo>
                  <a:lnTo>
                    <a:pt x="628" y="1714"/>
                  </a:lnTo>
                  <a:lnTo>
                    <a:pt x="626" y="1714"/>
                  </a:lnTo>
                  <a:lnTo>
                    <a:pt x="628" y="1714"/>
                  </a:lnTo>
                  <a:lnTo>
                    <a:pt x="624" y="1712"/>
                  </a:lnTo>
                  <a:lnTo>
                    <a:pt x="624" y="1714"/>
                  </a:lnTo>
                  <a:lnTo>
                    <a:pt x="626" y="1714"/>
                  </a:lnTo>
                  <a:lnTo>
                    <a:pt x="626" y="1716"/>
                  </a:lnTo>
                  <a:lnTo>
                    <a:pt x="624" y="1714"/>
                  </a:lnTo>
                  <a:lnTo>
                    <a:pt x="626" y="1716"/>
                  </a:lnTo>
                  <a:lnTo>
                    <a:pt x="628" y="1716"/>
                  </a:lnTo>
                  <a:lnTo>
                    <a:pt x="626" y="1716"/>
                  </a:lnTo>
                  <a:lnTo>
                    <a:pt x="624" y="1716"/>
                  </a:lnTo>
                  <a:lnTo>
                    <a:pt x="624" y="1714"/>
                  </a:lnTo>
                  <a:lnTo>
                    <a:pt x="624" y="1712"/>
                  </a:lnTo>
                  <a:lnTo>
                    <a:pt x="622" y="1710"/>
                  </a:lnTo>
                  <a:lnTo>
                    <a:pt x="620" y="1708"/>
                  </a:lnTo>
                  <a:lnTo>
                    <a:pt x="620" y="1706"/>
                  </a:lnTo>
                  <a:lnTo>
                    <a:pt x="618" y="1706"/>
                  </a:lnTo>
                  <a:lnTo>
                    <a:pt x="616" y="1704"/>
                  </a:lnTo>
                  <a:lnTo>
                    <a:pt x="616" y="1702"/>
                  </a:lnTo>
                  <a:lnTo>
                    <a:pt x="614" y="1700"/>
                  </a:lnTo>
                  <a:lnTo>
                    <a:pt x="614" y="1698"/>
                  </a:lnTo>
                  <a:lnTo>
                    <a:pt x="614" y="1696"/>
                  </a:lnTo>
                  <a:lnTo>
                    <a:pt x="612" y="1695"/>
                  </a:lnTo>
                  <a:lnTo>
                    <a:pt x="612" y="1693"/>
                  </a:lnTo>
                  <a:lnTo>
                    <a:pt x="612" y="1691"/>
                  </a:lnTo>
                  <a:lnTo>
                    <a:pt x="612" y="1689"/>
                  </a:lnTo>
                  <a:lnTo>
                    <a:pt x="610" y="1689"/>
                  </a:lnTo>
                  <a:lnTo>
                    <a:pt x="610" y="1687"/>
                  </a:lnTo>
                  <a:lnTo>
                    <a:pt x="610" y="1685"/>
                  </a:lnTo>
                  <a:lnTo>
                    <a:pt x="610" y="1683"/>
                  </a:lnTo>
                  <a:lnTo>
                    <a:pt x="609" y="1679"/>
                  </a:lnTo>
                  <a:lnTo>
                    <a:pt x="609" y="1677"/>
                  </a:lnTo>
                  <a:lnTo>
                    <a:pt x="609" y="1675"/>
                  </a:lnTo>
                  <a:lnTo>
                    <a:pt x="607" y="1673"/>
                  </a:lnTo>
                  <a:lnTo>
                    <a:pt x="607" y="1671"/>
                  </a:lnTo>
                  <a:lnTo>
                    <a:pt x="607" y="1670"/>
                  </a:lnTo>
                  <a:lnTo>
                    <a:pt x="607" y="1668"/>
                  </a:lnTo>
                  <a:lnTo>
                    <a:pt x="605" y="1666"/>
                  </a:lnTo>
                  <a:lnTo>
                    <a:pt x="605" y="1662"/>
                  </a:lnTo>
                  <a:lnTo>
                    <a:pt x="603" y="1662"/>
                  </a:lnTo>
                  <a:lnTo>
                    <a:pt x="603" y="1660"/>
                  </a:lnTo>
                  <a:lnTo>
                    <a:pt x="601" y="1658"/>
                  </a:lnTo>
                  <a:lnTo>
                    <a:pt x="601" y="1656"/>
                  </a:lnTo>
                  <a:lnTo>
                    <a:pt x="601" y="1654"/>
                  </a:lnTo>
                  <a:lnTo>
                    <a:pt x="601" y="1652"/>
                  </a:lnTo>
                  <a:lnTo>
                    <a:pt x="601" y="1650"/>
                  </a:lnTo>
                  <a:lnTo>
                    <a:pt x="601" y="1648"/>
                  </a:lnTo>
                  <a:lnTo>
                    <a:pt x="603" y="1646"/>
                  </a:lnTo>
                  <a:lnTo>
                    <a:pt x="603" y="1645"/>
                  </a:lnTo>
                  <a:lnTo>
                    <a:pt x="605" y="1643"/>
                  </a:lnTo>
                  <a:lnTo>
                    <a:pt x="605" y="1641"/>
                  </a:lnTo>
                  <a:lnTo>
                    <a:pt x="607" y="1639"/>
                  </a:lnTo>
                  <a:lnTo>
                    <a:pt x="607" y="1637"/>
                  </a:lnTo>
                  <a:lnTo>
                    <a:pt x="610" y="1635"/>
                  </a:lnTo>
                  <a:lnTo>
                    <a:pt x="610" y="1633"/>
                  </a:lnTo>
                  <a:lnTo>
                    <a:pt x="612" y="1631"/>
                  </a:lnTo>
                  <a:lnTo>
                    <a:pt x="612" y="1629"/>
                  </a:lnTo>
                  <a:lnTo>
                    <a:pt x="614" y="1629"/>
                  </a:lnTo>
                  <a:lnTo>
                    <a:pt x="614" y="1627"/>
                  </a:lnTo>
                  <a:lnTo>
                    <a:pt x="614" y="1625"/>
                  </a:lnTo>
                  <a:lnTo>
                    <a:pt x="616" y="1625"/>
                  </a:lnTo>
                  <a:lnTo>
                    <a:pt x="618" y="1625"/>
                  </a:lnTo>
                  <a:lnTo>
                    <a:pt x="618" y="1623"/>
                  </a:lnTo>
                  <a:lnTo>
                    <a:pt x="620" y="1623"/>
                  </a:lnTo>
                  <a:lnTo>
                    <a:pt x="622" y="1622"/>
                  </a:lnTo>
                  <a:lnTo>
                    <a:pt x="622" y="1620"/>
                  </a:lnTo>
                  <a:lnTo>
                    <a:pt x="624" y="1620"/>
                  </a:lnTo>
                  <a:lnTo>
                    <a:pt x="624" y="1618"/>
                  </a:lnTo>
                  <a:lnTo>
                    <a:pt x="626" y="1618"/>
                  </a:lnTo>
                  <a:lnTo>
                    <a:pt x="630" y="1616"/>
                  </a:lnTo>
                  <a:lnTo>
                    <a:pt x="634" y="1616"/>
                  </a:lnTo>
                  <a:lnTo>
                    <a:pt x="637" y="1614"/>
                  </a:lnTo>
                  <a:lnTo>
                    <a:pt x="641" y="1614"/>
                  </a:lnTo>
                  <a:lnTo>
                    <a:pt x="645" y="1614"/>
                  </a:lnTo>
                  <a:lnTo>
                    <a:pt x="649" y="1616"/>
                  </a:lnTo>
                  <a:lnTo>
                    <a:pt x="655" y="1620"/>
                  </a:lnTo>
                  <a:lnTo>
                    <a:pt x="658" y="1620"/>
                  </a:lnTo>
                  <a:lnTo>
                    <a:pt x="660" y="1620"/>
                  </a:lnTo>
                  <a:lnTo>
                    <a:pt x="662" y="1618"/>
                  </a:lnTo>
                  <a:lnTo>
                    <a:pt x="666" y="1618"/>
                  </a:lnTo>
                  <a:lnTo>
                    <a:pt x="668" y="1618"/>
                  </a:lnTo>
                  <a:lnTo>
                    <a:pt x="670" y="1618"/>
                  </a:lnTo>
                  <a:lnTo>
                    <a:pt x="670" y="1620"/>
                  </a:lnTo>
                  <a:lnTo>
                    <a:pt x="670" y="1622"/>
                  </a:lnTo>
                  <a:lnTo>
                    <a:pt x="672" y="1622"/>
                  </a:lnTo>
                  <a:lnTo>
                    <a:pt x="674" y="1623"/>
                  </a:lnTo>
                  <a:lnTo>
                    <a:pt x="678" y="1625"/>
                  </a:lnTo>
                  <a:lnTo>
                    <a:pt x="680" y="1625"/>
                  </a:lnTo>
                  <a:lnTo>
                    <a:pt x="683" y="1627"/>
                  </a:lnTo>
                  <a:lnTo>
                    <a:pt x="689" y="1629"/>
                  </a:lnTo>
                  <a:lnTo>
                    <a:pt x="693" y="1633"/>
                  </a:lnTo>
                  <a:lnTo>
                    <a:pt x="695" y="1633"/>
                  </a:lnTo>
                  <a:lnTo>
                    <a:pt x="699" y="1635"/>
                  </a:lnTo>
                  <a:lnTo>
                    <a:pt x="701" y="1637"/>
                  </a:lnTo>
                  <a:lnTo>
                    <a:pt x="703" y="1637"/>
                  </a:lnTo>
                  <a:lnTo>
                    <a:pt x="705" y="1639"/>
                  </a:lnTo>
                  <a:lnTo>
                    <a:pt x="705" y="1641"/>
                  </a:lnTo>
                  <a:lnTo>
                    <a:pt x="706" y="1643"/>
                  </a:lnTo>
                  <a:lnTo>
                    <a:pt x="706" y="1646"/>
                  </a:lnTo>
                  <a:lnTo>
                    <a:pt x="706" y="1650"/>
                  </a:lnTo>
                  <a:lnTo>
                    <a:pt x="706" y="1652"/>
                  </a:lnTo>
                  <a:lnTo>
                    <a:pt x="705" y="1652"/>
                  </a:lnTo>
                  <a:lnTo>
                    <a:pt x="703" y="1652"/>
                  </a:lnTo>
                  <a:lnTo>
                    <a:pt x="701" y="1646"/>
                  </a:lnTo>
                  <a:lnTo>
                    <a:pt x="699" y="1645"/>
                  </a:lnTo>
                  <a:lnTo>
                    <a:pt x="693" y="1646"/>
                  </a:lnTo>
                  <a:lnTo>
                    <a:pt x="691" y="1646"/>
                  </a:lnTo>
                  <a:lnTo>
                    <a:pt x="683" y="1645"/>
                  </a:lnTo>
                  <a:lnTo>
                    <a:pt x="681" y="1643"/>
                  </a:lnTo>
                  <a:lnTo>
                    <a:pt x="680" y="1643"/>
                  </a:lnTo>
                  <a:lnTo>
                    <a:pt x="676" y="1641"/>
                  </a:lnTo>
                  <a:lnTo>
                    <a:pt x="674" y="1639"/>
                  </a:lnTo>
                  <a:lnTo>
                    <a:pt x="666" y="1635"/>
                  </a:lnTo>
                  <a:lnTo>
                    <a:pt x="662" y="1633"/>
                  </a:lnTo>
                  <a:lnTo>
                    <a:pt x="655" y="1631"/>
                  </a:lnTo>
                  <a:lnTo>
                    <a:pt x="649" y="1627"/>
                  </a:lnTo>
                  <a:lnTo>
                    <a:pt x="645" y="1625"/>
                  </a:lnTo>
                  <a:lnTo>
                    <a:pt x="643" y="1625"/>
                  </a:lnTo>
                  <a:lnTo>
                    <a:pt x="641" y="1625"/>
                  </a:lnTo>
                  <a:lnTo>
                    <a:pt x="639" y="1623"/>
                  </a:lnTo>
                  <a:lnTo>
                    <a:pt x="637" y="1623"/>
                  </a:lnTo>
                  <a:lnTo>
                    <a:pt x="639" y="1623"/>
                  </a:lnTo>
                  <a:lnTo>
                    <a:pt x="637" y="1622"/>
                  </a:lnTo>
                  <a:lnTo>
                    <a:pt x="635" y="1622"/>
                  </a:lnTo>
                  <a:lnTo>
                    <a:pt x="634" y="1622"/>
                  </a:lnTo>
                  <a:lnTo>
                    <a:pt x="632" y="1622"/>
                  </a:lnTo>
                  <a:lnTo>
                    <a:pt x="630" y="1622"/>
                  </a:lnTo>
                  <a:lnTo>
                    <a:pt x="628" y="1622"/>
                  </a:lnTo>
                  <a:lnTo>
                    <a:pt x="624" y="1623"/>
                  </a:lnTo>
                  <a:lnTo>
                    <a:pt x="622" y="1625"/>
                  </a:lnTo>
                  <a:lnTo>
                    <a:pt x="622" y="1627"/>
                  </a:lnTo>
                  <a:lnTo>
                    <a:pt x="620" y="1629"/>
                  </a:lnTo>
                  <a:lnTo>
                    <a:pt x="618" y="1629"/>
                  </a:lnTo>
                  <a:lnTo>
                    <a:pt x="618" y="1631"/>
                  </a:lnTo>
                  <a:lnTo>
                    <a:pt x="614" y="1635"/>
                  </a:lnTo>
                  <a:lnTo>
                    <a:pt x="616" y="1635"/>
                  </a:lnTo>
                  <a:lnTo>
                    <a:pt x="618" y="1637"/>
                  </a:lnTo>
                  <a:lnTo>
                    <a:pt x="620" y="1639"/>
                  </a:lnTo>
                  <a:lnTo>
                    <a:pt x="616" y="1639"/>
                  </a:lnTo>
                  <a:lnTo>
                    <a:pt x="614" y="1639"/>
                  </a:lnTo>
                  <a:lnTo>
                    <a:pt x="612" y="1637"/>
                  </a:lnTo>
                  <a:lnTo>
                    <a:pt x="610" y="1641"/>
                  </a:lnTo>
                  <a:lnTo>
                    <a:pt x="609" y="1645"/>
                  </a:lnTo>
                  <a:lnTo>
                    <a:pt x="609" y="1646"/>
                  </a:lnTo>
                  <a:lnTo>
                    <a:pt x="607" y="1648"/>
                  </a:lnTo>
                  <a:lnTo>
                    <a:pt x="607" y="1650"/>
                  </a:lnTo>
                  <a:lnTo>
                    <a:pt x="607" y="1652"/>
                  </a:lnTo>
                  <a:lnTo>
                    <a:pt x="607" y="1654"/>
                  </a:lnTo>
                  <a:lnTo>
                    <a:pt x="607" y="1656"/>
                  </a:lnTo>
                  <a:lnTo>
                    <a:pt x="607" y="1658"/>
                  </a:lnTo>
                  <a:lnTo>
                    <a:pt x="607" y="1660"/>
                  </a:lnTo>
                  <a:lnTo>
                    <a:pt x="607" y="1662"/>
                  </a:lnTo>
                  <a:lnTo>
                    <a:pt x="609" y="1662"/>
                  </a:lnTo>
                  <a:lnTo>
                    <a:pt x="609" y="1664"/>
                  </a:lnTo>
                  <a:lnTo>
                    <a:pt x="609" y="1666"/>
                  </a:lnTo>
                  <a:lnTo>
                    <a:pt x="610" y="1666"/>
                  </a:lnTo>
                  <a:lnTo>
                    <a:pt x="609" y="1666"/>
                  </a:lnTo>
                  <a:lnTo>
                    <a:pt x="609" y="1668"/>
                  </a:lnTo>
                  <a:lnTo>
                    <a:pt x="610" y="1670"/>
                  </a:lnTo>
                  <a:lnTo>
                    <a:pt x="614" y="1668"/>
                  </a:lnTo>
                  <a:lnTo>
                    <a:pt x="614" y="1666"/>
                  </a:lnTo>
                  <a:lnTo>
                    <a:pt x="618" y="1664"/>
                  </a:lnTo>
                  <a:lnTo>
                    <a:pt x="618" y="1662"/>
                  </a:lnTo>
                  <a:lnTo>
                    <a:pt x="618" y="1660"/>
                  </a:lnTo>
                  <a:lnTo>
                    <a:pt x="622" y="1658"/>
                  </a:lnTo>
                  <a:lnTo>
                    <a:pt x="622" y="1656"/>
                  </a:lnTo>
                  <a:lnTo>
                    <a:pt x="624" y="1654"/>
                  </a:lnTo>
                  <a:lnTo>
                    <a:pt x="626" y="1652"/>
                  </a:lnTo>
                  <a:lnTo>
                    <a:pt x="626" y="1650"/>
                  </a:lnTo>
                  <a:lnTo>
                    <a:pt x="628" y="1650"/>
                  </a:lnTo>
                  <a:lnTo>
                    <a:pt x="630" y="1648"/>
                  </a:lnTo>
                  <a:lnTo>
                    <a:pt x="632" y="1648"/>
                  </a:lnTo>
                  <a:lnTo>
                    <a:pt x="632" y="1650"/>
                  </a:lnTo>
                  <a:lnTo>
                    <a:pt x="634" y="1650"/>
                  </a:lnTo>
                  <a:lnTo>
                    <a:pt x="634" y="1652"/>
                  </a:lnTo>
                  <a:lnTo>
                    <a:pt x="632" y="1654"/>
                  </a:lnTo>
                  <a:lnTo>
                    <a:pt x="634" y="1656"/>
                  </a:lnTo>
                  <a:lnTo>
                    <a:pt x="634" y="1658"/>
                  </a:lnTo>
                  <a:lnTo>
                    <a:pt x="632" y="1658"/>
                  </a:lnTo>
                  <a:lnTo>
                    <a:pt x="632" y="1660"/>
                  </a:lnTo>
                  <a:lnTo>
                    <a:pt x="630" y="1660"/>
                  </a:lnTo>
                  <a:lnTo>
                    <a:pt x="630" y="1662"/>
                  </a:lnTo>
                  <a:lnTo>
                    <a:pt x="630" y="1664"/>
                  </a:lnTo>
                  <a:lnTo>
                    <a:pt x="628" y="1666"/>
                  </a:lnTo>
                  <a:lnTo>
                    <a:pt x="626" y="1666"/>
                  </a:lnTo>
                  <a:lnTo>
                    <a:pt x="626" y="1668"/>
                  </a:lnTo>
                  <a:lnTo>
                    <a:pt x="624" y="1670"/>
                  </a:lnTo>
                  <a:lnTo>
                    <a:pt x="624" y="1671"/>
                  </a:lnTo>
                  <a:lnTo>
                    <a:pt x="622" y="1671"/>
                  </a:lnTo>
                  <a:lnTo>
                    <a:pt x="622" y="1673"/>
                  </a:lnTo>
                  <a:lnTo>
                    <a:pt x="620" y="1673"/>
                  </a:lnTo>
                  <a:lnTo>
                    <a:pt x="620" y="1675"/>
                  </a:lnTo>
                  <a:lnTo>
                    <a:pt x="618" y="1675"/>
                  </a:lnTo>
                  <a:lnTo>
                    <a:pt x="618" y="1677"/>
                  </a:lnTo>
                  <a:lnTo>
                    <a:pt x="616" y="1679"/>
                  </a:lnTo>
                  <a:lnTo>
                    <a:pt x="616" y="1681"/>
                  </a:lnTo>
                  <a:lnTo>
                    <a:pt x="616" y="1683"/>
                  </a:lnTo>
                  <a:lnTo>
                    <a:pt x="618" y="1683"/>
                  </a:lnTo>
                  <a:lnTo>
                    <a:pt x="618" y="1681"/>
                  </a:lnTo>
                  <a:lnTo>
                    <a:pt x="622" y="1679"/>
                  </a:lnTo>
                  <a:lnTo>
                    <a:pt x="624" y="1675"/>
                  </a:lnTo>
                  <a:lnTo>
                    <a:pt x="628" y="1671"/>
                  </a:lnTo>
                  <a:lnTo>
                    <a:pt x="630" y="1670"/>
                  </a:lnTo>
                  <a:lnTo>
                    <a:pt x="630" y="1668"/>
                  </a:lnTo>
                  <a:lnTo>
                    <a:pt x="632" y="1668"/>
                  </a:lnTo>
                  <a:lnTo>
                    <a:pt x="632" y="1666"/>
                  </a:lnTo>
                  <a:lnTo>
                    <a:pt x="634" y="1664"/>
                  </a:lnTo>
                  <a:lnTo>
                    <a:pt x="635" y="1662"/>
                  </a:lnTo>
                  <a:lnTo>
                    <a:pt x="637" y="1660"/>
                  </a:lnTo>
                  <a:lnTo>
                    <a:pt x="637" y="1658"/>
                  </a:lnTo>
                  <a:lnTo>
                    <a:pt x="639" y="1658"/>
                  </a:lnTo>
                  <a:lnTo>
                    <a:pt x="641" y="1656"/>
                  </a:lnTo>
                  <a:lnTo>
                    <a:pt x="643" y="1656"/>
                  </a:lnTo>
                  <a:lnTo>
                    <a:pt x="643" y="1658"/>
                  </a:lnTo>
                  <a:lnTo>
                    <a:pt x="645" y="1658"/>
                  </a:lnTo>
                  <a:lnTo>
                    <a:pt x="645" y="1660"/>
                  </a:lnTo>
                  <a:lnTo>
                    <a:pt x="647" y="1658"/>
                  </a:lnTo>
                  <a:lnTo>
                    <a:pt x="649" y="1658"/>
                  </a:lnTo>
                  <a:lnTo>
                    <a:pt x="647" y="1654"/>
                  </a:lnTo>
                  <a:lnTo>
                    <a:pt x="647" y="1652"/>
                  </a:lnTo>
                  <a:lnTo>
                    <a:pt x="649" y="1652"/>
                  </a:lnTo>
                  <a:lnTo>
                    <a:pt x="647" y="1652"/>
                  </a:lnTo>
                  <a:lnTo>
                    <a:pt x="645" y="1652"/>
                  </a:lnTo>
                  <a:lnTo>
                    <a:pt x="643" y="1652"/>
                  </a:lnTo>
                  <a:lnTo>
                    <a:pt x="639" y="1650"/>
                  </a:lnTo>
                  <a:lnTo>
                    <a:pt x="639" y="1648"/>
                  </a:lnTo>
                  <a:lnTo>
                    <a:pt x="637" y="1648"/>
                  </a:lnTo>
                  <a:lnTo>
                    <a:pt x="637" y="1643"/>
                  </a:lnTo>
                  <a:lnTo>
                    <a:pt x="639" y="1641"/>
                  </a:lnTo>
                  <a:lnTo>
                    <a:pt x="639" y="1639"/>
                  </a:lnTo>
                  <a:lnTo>
                    <a:pt x="639" y="1637"/>
                  </a:lnTo>
                  <a:lnTo>
                    <a:pt x="641" y="1635"/>
                  </a:lnTo>
                  <a:lnTo>
                    <a:pt x="643" y="1635"/>
                  </a:lnTo>
                  <a:lnTo>
                    <a:pt x="645" y="1635"/>
                  </a:lnTo>
                  <a:lnTo>
                    <a:pt x="647" y="1635"/>
                  </a:lnTo>
                  <a:lnTo>
                    <a:pt x="657" y="1639"/>
                  </a:lnTo>
                  <a:lnTo>
                    <a:pt x="658" y="1641"/>
                  </a:lnTo>
                  <a:lnTo>
                    <a:pt x="662" y="1643"/>
                  </a:lnTo>
                  <a:lnTo>
                    <a:pt x="668" y="1645"/>
                  </a:lnTo>
                  <a:lnTo>
                    <a:pt x="672" y="1646"/>
                  </a:lnTo>
                  <a:lnTo>
                    <a:pt x="676" y="1648"/>
                  </a:lnTo>
                  <a:lnTo>
                    <a:pt x="681" y="1650"/>
                  </a:lnTo>
                  <a:lnTo>
                    <a:pt x="680" y="1656"/>
                  </a:lnTo>
                  <a:lnTo>
                    <a:pt x="674" y="1656"/>
                  </a:lnTo>
                  <a:lnTo>
                    <a:pt x="662" y="1650"/>
                  </a:lnTo>
                  <a:lnTo>
                    <a:pt x="660" y="1648"/>
                  </a:lnTo>
                  <a:lnTo>
                    <a:pt x="658" y="1650"/>
                  </a:lnTo>
                  <a:lnTo>
                    <a:pt x="660" y="1652"/>
                  </a:lnTo>
                  <a:lnTo>
                    <a:pt x="660" y="1656"/>
                  </a:lnTo>
                  <a:lnTo>
                    <a:pt x="662" y="1654"/>
                  </a:lnTo>
                  <a:lnTo>
                    <a:pt x="662" y="1656"/>
                  </a:lnTo>
                  <a:lnTo>
                    <a:pt x="664" y="1658"/>
                  </a:lnTo>
                  <a:lnTo>
                    <a:pt x="662" y="1660"/>
                  </a:lnTo>
                  <a:lnTo>
                    <a:pt x="664" y="1660"/>
                  </a:lnTo>
                  <a:lnTo>
                    <a:pt x="668" y="1660"/>
                  </a:lnTo>
                  <a:lnTo>
                    <a:pt x="697" y="1658"/>
                  </a:lnTo>
                  <a:lnTo>
                    <a:pt x="697" y="1660"/>
                  </a:lnTo>
                  <a:lnTo>
                    <a:pt x="701" y="1671"/>
                  </a:lnTo>
                  <a:lnTo>
                    <a:pt x="666" y="1675"/>
                  </a:lnTo>
                  <a:lnTo>
                    <a:pt x="668" y="1679"/>
                  </a:lnTo>
                  <a:lnTo>
                    <a:pt x="701" y="1675"/>
                  </a:lnTo>
                  <a:lnTo>
                    <a:pt x="701" y="1677"/>
                  </a:lnTo>
                  <a:lnTo>
                    <a:pt x="693" y="1685"/>
                  </a:lnTo>
                  <a:lnTo>
                    <a:pt x="674" y="1691"/>
                  </a:lnTo>
                  <a:lnTo>
                    <a:pt x="666" y="1693"/>
                  </a:lnTo>
                  <a:lnTo>
                    <a:pt x="660" y="1673"/>
                  </a:lnTo>
                  <a:lnTo>
                    <a:pt x="658" y="1673"/>
                  </a:lnTo>
                  <a:lnTo>
                    <a:pt x="658" y="1675"/>
                  </a:lnTo>
                  <a:lnTo>
                    <a:pt x="660" y="1679"/>
                  </a:lnTo>
                  <a:lnTo>
                    <a:pt x="658" y="1681"/>
                  </a:lnTo>
                  <a:lnTo>
                    <a:pt x="660" y="1683"/>
                  </a:lnTo>
                  <a:lnTo>
                    <a:pt x="660" y="1685"/>
                  </a:lnTo>
                  <a:lnTo>
                    <a:pt x="664" y="1698"/>
                  </a:lnTo>
                  <a:lnTo>
                    <a:pt x="666" y="1700"/>
                  </a:lnTo>
                  <a:lnTo>
                    <a:pt x="668" y="1698"/>
                  </a:lnTo>
                  <a:lnTo>
                    <a:pt x="668" y="1700"/>
                  </a:lnTo>
                  <a:lnTo>
                    <a:pt x="670" y="1700"/>
                  </a:lnTo>
                  <a:lnTo>
                    <a:pt x="693" y="1693"/>
                  </a:lnTo>
                  <a:lnTo>
                    <a:pt x="695" y="1693"/>
                  </a:lnTo>
                  <a:lnTo>
                    <a:pt x="701" y="1691"/>
                  </a:lnTo>
                  <a:lnTo>
                    <a:pt x="705" y="1691"/>
                  </a:lnTo>
                  <a:lnTo>
                    <a:pt x="706" y="1687"/>
                  </a:lnTo>
                  <a:lnTo>
                    <a:pt x="705" y="1683"/>
                  </a:lnTo>
                  <a:lnTo>
                    <a:pt x="705" y="1681"/>
                  </a:lnTo>
                  <a:lnTo>
                    <a:pt x="706" y="1677"/>
                  </a:lnTo>
                  <a:lnTo>
                    <a:pt x="710" y="1681"/>
                  </a:lnTo>
                  <a:lnTo>
                    <a:pt x="712" y="1683"/>
                  </a:lnTo>
                  <a:lnTo>
                    <a:pt x="714" y="1681"/>
                  </a:lnTo>
                  <a:lnTo>
                    <a:pt x="714" y="1679"/>
                  </a:lnTo>
                  <a:lnTo>
                    <a:pt x="716" y="1677"/>
                  </a:lnTo>
                  <a:lnTo>
                    <a:pt x="710" y="1668"/>
                  </a:lnTo>
                  <a:lnTo>
                    <a:pt x="710" y="1664"/>
                  </a:lnTo>
                  <a:lnTo>
                    <a:pt x="710" y="1662"/>
                  </a:lnTo>
                  <a:lnTo>
                    <a:pt x="712" y="1660"/>
                  </a:lnTo>
                  <a:lnTo>
                    <a:pt x="714" y="1660"/>
                  </a:lnTo>
                  <a:lnTo>
                    <a:pt x="714" y="1658"/>
                  </a:lnTo>
                  <a:lnTo>
                    <a:pt x="714" y="1656"/>
                  </a:lnTo>
                  <a:lnTo>
                    <a:pt x="718" y="1658"/>
                  </a:lnTo>
                  <a:lnTo>
                    <a:pt x="718" y="1656"/>
                  </a:lnTo>
                  <a:lnTo>
                    <a:pt x="714" y="1652"/>
                  </a:lnTo>
                  <a:lnTo>
                    <a:pt x="716" y="1650"/>
                  </a:lnTo>
                  <a:lnTo>
                    <a:pt x="716" y="1648"/>
                  </a:lnTo>
                  <a:lnTo>
                    <a:pt x="720" y="1646"/>
                  </a:lnTo>
                  <a:lnTo>
                    <a:pt x="726" y="1650"/>
                  </a:lnTo>
                  <a:lnTo>
                    <a:pt x="728" y="1650"/>
                  </a:lnTo>
                  <a:lnTo>
                    <a:pt x="728" y="1652"/>
                  </a:lnTo>
                  <a:lnTo>
                    <a:pt x="737" y="1658"/>
                  </a:lnTo>
                  <a:lnTo>
                    <a:pt x="741" y="1658"/>
                  </a:lnTo>
                  <a:lnTo>
                    <a:pt x="743" y="1660"/>
                  </a:lnTo>
                  <a:lnTo>
                    <a:pt x="743" y="1664"/>
                  </a:lnTo>
                  <a:lnTo>
                    <a:pt x="741" y="1660"/>
                  </a:lnTo>
                  <a:lnTo>
                    <a:pt x="741" y="1662"/>
                  </a:lnTo>
                  <a:lnTo>
                    <a:pt x="741" y="1666"/>
                  </a:lnTo>
                  <a:lnTo>
                    <a:pt x="743" y="1668"/>
                  </a:lnTo>
                  <a:lnTo>
                    <a:pt x="741" y="1673"/>
                  </a:lnTo>
                  <a:lnTo>
                    <a:pt x="741" y="1675"/>
                  </a:lnTo>
                  <a:lnTo>
                    <a:pt x="741" y="1679"/>
                  </a:lnTo>
                  <a:lnTo>
                    <a:pt x="743" y="1679"/>
                  </a:lnTo>
                  <a:lnTo>
                    <a:pt x="743" y="1687"/>
                  </a:lnTo>
                  <a:lnTo>
                    <a:pt x="745" y="1687"/>
                  </a:lnTo>
                  <a:lnTo>
                    <a:pt x="747" y="1687"/>
                  </a:lnTo>
                  <a:lnTo>
                    <a:pt x="747" y="1685"/>
                  </a:lnTo>
                  <a:lnTo>
                    <a:pt x="745" y="1685"/>
                  </a:lnTo>
                  <a:lnTo>
                    <a:pt x="747" y="1685"/>
                  </a:lnTo>
                  <a:lnTo>
                    <a:pt x="747" y="1683"/>
                  </a:lnTo>
                  <a:lnTo>
                    <a:pt x="747" y="1677"/>
                  </a:lnTo>
                  <a:lnTo>
                    <a:pt x="747" y="1675"/>
                  </a:lnTo>
                  <a:lnTo>
                    <a:pt x="749" y="1675"/>
                  </a:lnTo>
                  <a:lnTo>
                    <a:pt x="749" y="1671"/>
                  </a:lnTo>
                  <a:lnTo>
                    <a:pt x="749" y="1670"/>
                  </a:lnTo>
                  <a:lnTo>
                    <a:pt x="749" y="1666"/>
                  </a:lnTo>
                  <a:lnTo>
                    <a:pt x="751" y="1666"/>
                  </a:lnTo>
                  <a:lnTo>
                    <a:pt x="753" y="1668"/>
                  </a:lnTo>
                  <a:lnTo>
                    <a:pt x="753" y="1670"/>
                  </a:lnTo>
                  <a:lnTo>
                    <a:pt x="753" y="1671"/>
                  </a:lnTo>
                  <a:lnTo>
                    <a:pt x="753" y="1675"/>
                  </a:lnTo>
                  <a:lnTo>
                    <a:pt x="756" y="1675"/>
                  </a:lnTo>
                  <a:lnTo>
                    <a:pt x="762" y="1681"/>
                  </a:lnTo>
                  <a:lnTo>
                    <a:pt x="762" y="1677"/>
                  </a:lnTo>
                  <a:lnTo>
                    <a:pt x="764" y="1677"/>
                  </a:lnTo>
                  <a:lnTo>
                    <a:pt x="764" y="1679"/>
                  </a:lnTo>
                  <a:lnTo>
                    <a:pt x="766" y="1679"/>
                  </a:lnTo>
                  <a:lnTo>
                    <a:pt x="770" y="1681"/>
                  </a:lnTo>
                  <a:lnTo>
                    <a:pt x="770" y="1687"/>
                  </a:lnTo>
                  <a:lnTo>
                    <a:pt x="770" y="1689"/>
                  </a:lnTo>
                  <a:lnTo>
                    <a:pt x="770" y="1695"/>
                  </a:lnTo>
                  <a:lnTo>
                    <a:pt x="772" y="1695"/>
                  </a:lnTo>
                  <a:lnTo>
                    <a:pt x="774" y="1695"/>
                  </a:lnTo>
                  <a:lnTo>
                    <a:pt x="776" y="1695"/>
                  </a:lnTo>
                  <a:lnTo>
                    <a:pt x="776" y="1696"/>
                  </a:lnTo>
                  <a:lnTo>
                    <a:pt x="777" y="1696"/>
                  </a:lnTo>
                  <a:lnTo>
                    <a:pt x="781" y="1696"/>
                  </a:lnTo>
                  <a:lnTo>
                    <a:pt x="781" y="1695"/>
                  </a:lnTo>
                  <a:lnTo>
                    <a:pt x="785" y="1696"/>
                  </a:lnTo>
                  <a:lnTo>
                    <a:pt x="785" y="1698"/>
                  </a:lnTo>
                  <a:lnTo>
                    <a:pt x="789" y="1702"/>
                  </a:lnTo>
                  <a:lnTo>
                    <a:pt x="793" y="1704"/>
                  </a:lnTo>
                  <a:lnTo>
                    <a:pt x="795" y="1706"/>
                  </a:lnTo>
                  <a:lnTo>
                    <a:pt x="795" y="1708"/>
                  </a:lnTo>
                  <a:lnTo>
                    <a:pt x="800" y="1714"/>
                  </a:lnTo>
                  <a:lnTo>
                    <a:pt x="800" y="1716"/>
                  </a:lnTo>
                  <a:lnTo>
                    <a:pt x="800" y="1718"/>
                  </a:lnTo>
                  <a:lnTo>
                    <a:pt x="800" y="1719"/>
                  </a:lnTo>
                  <a:lnTo>
                    <a:pt x="800" y="1718"/>
                  </a:lnTo>
                  <a:lnTo>
                    <a:pt x="800" y="1719"/>
                  </a:lnTo>
                  <a:lnTo>
                    <a:pt x="800" y="1725"/>
                  </a:lnTo>
                  <a:lnTo>
                    <a:pt x="804" y="1725"/>
                  </a:lnTo>
                  <a:lnTo>
                    <a:pt x="804" y="1731"/>
                  </a:lnTo>
                  <a:lnTo>
                    <a:pt x="808" y="1731"/>
                  </a:lnTo>
                  <a:lnTo>
                    <a:pt x="816" y="1733"/>
                  </a:lnTo>
                  <a:lnTo>
                    <a:pt x="818" y="1731"/>
                  </a:lnTo>
                  <a:lnTo>
                    <a:pt x="820" y="1735"/>
                  </a:lnTo>
                  <a:lnTo>
                    <a:pt x="822" y="1739"/>
                  </a:lnTo>
                  <a:lnTo>
                    <a:pt x="822" y="1741"/>
                  </a:lnTo>
                  <a:lnTo>
                    <a:pt x="822" y="1752"/>
                  </a:lnTo>
                  <a:lnTo>
                    <a:pt x="822" y="1754"/>
                  </a:lnTo>
                  <a:lnTo>
                    <a:pt x="824" y="1756"/>
                  </a:lnTo>
                  <a:lnTo>
                    <a:pt x="824" y="1760"/>
                  </a:lnTo>
                  <a:lnTo>
                    <a:pt x="824" y="1762"/>
                  </a:lnTo>
                  <a:lnTo>
                    <a:pt x="825" y="1762"/>
                  </a:lnTo>
                  <a:lnTo>
                    <a:pt x="825" y="1764"/>
                  </a:lnTo>
                  <a:lnTo>
                    <a:pt x="827" y="1764"/>
                  </a:lnTo>
                  <a:lnTo>
                    <a:pt x="827" y="1762"/>
                  </a:lnTo>
                  <a:lnTo>
                    <a:pt x="829" y="1762"/>
                  </a:lnTo>
                  <a:lnTo>
                    <a:pt x="831" y="1762"/>
                  </a:lnTo>
                  <a:lnTo>
                    <a:pt x="835" y="1764"/>
                  </a:lnTo>
                  <a:lnTo>
                    <a:pt x="843" y="1766"/>
                  </a:lnTo>
                  <a:lnTo>
                    <a:pt x="845" y="1764"/>
                  </a:lnTo>
                  <a:lnTo>
                    <a:pt x="833" y="1760"/>
                  </a:lnTo>
                  <a:lnTo>
                    <a:pt x="829" y="1758"/>
                  </a:lnTo>
                  <a:lnTo>
                    <a:pt x="827" y="1758"/>
                  </a:lnTo>
                  <a:lnTo>
                    <a:pt x="825" y="1754"/>
                  </a:lnTo>
                  <a:lnTo>
                    <a:pt x="825" y="1752"/>
                  </a:lnTo>
                  <a:lnTo>
                    <a:pt x="825" y="1748"/>
                  </a:lnTo>
                  <a:lnTo>
                    <a:pt x="825" y="1746"/>
                  </a:lnTo>
                  <a:lnTo>
                    <a:pt x="824" y="1746"/>
                  </a:lnTo>
                  <a:lnTo>
                    <a:pt x="824" y="1739"/>
                  </a:lnTo>
                  <a:lnTo>
                    <a:pt x="824" y="1737"/>
                  </a:lnTo>
                  <a:lnTo>
                    <a:pt x="824" y="1735"/>
                  </a:lnTo>
                  <a:lnTo>
                    <a:pt x="822" y="1733"/>
                  </a:lnTo>
                  <a:lnTo>
                    <a:pt x="822" y="1731"/>
                  </a:lnTo>
                  <a:lnTo>
                    <a:pt x="820" y="1727"/>
                  </a:lnTo>
                  <a:lnTo>
                    <a:pt x="820" y="1725"/>
                  </a:lnTo>
                  <a:lnTo>
                    <a:pt x="820" y="1723"/>
                  </a:lnTo>
                  <a:lnTo>
                    <a:pt x="820" y="1721"/>
                  </a:lnTo>
                  <a:lnTo>
                    <a:pt x="810" y="1714"/>
                  </a:lnTo>
                  <a:lnTo>
                    <a:pt x="806" y="1710"/>
                  </a:lnTo>
                  <a:lnTo>
                    <a:pt x="793" y="1696"/>
                  </a:lnTo>
                  <a:lnTo>
                    <a:pt x="777" y="1681"/>
                  </a:lnTo>
                  <a:lnTo>
                    <a:pt x="776" y="1681"/>
                  </a:lnTo>
                  <a:lnTo>
                    <a:pt x="772" y="1677"/>
                  </a:lnTo>
                  <a:lnTo>
                    <a:pt x="770" y="1677"/>
                  </a:lnTo>
                  <a:lnTo>
                    <a:pt x="770" y="1675"/>
                  </a:lnTo>
                  <a:lnTo>
                    <a:pt x="768" y="1675"/>
                  </a:lnTo>
                  <a:lnTo>
                    <a:pt x="768" y="1673"/>
                  </a:lnTo>
                  <a:lnTo>
                    <a:pt x="758" y="1664"/>
                  </a:lnTo>
                  <a:lnTo>
                    <a:pt x="756" y="1664"/>
                  </a:lnTo>
                  <a:lnTo>
                    <a:pt x="754" y="1662"/>
                  </a:lnTo>
                  <a:lnTo>
                    <a:pt x="753" y="1662"/>
                  </a:lnTo>
                  <a:lnTo>
                    <a:pt x="751" y="1660"/>
                  </a:lnTo>
                  <a:lnTo>
                    <a:pt x="749" y="1656"/>
                  </a:lnTo>
                  <a:lnTo>
                    <a:pt x="747" y="1656"/>
                  </a:lnTo>
                  <a:lnTo>
                    <a:pt x="745" y="1654"/>
                  </a:lnTo>
                  <a:lnTo>
                    <a:pt x="743" y="1650"/>
                  </a:lnTo>
                  <a:lnTo>
                    <a:pt x="743" y="1648"/>
                  </a:lnTo>
                  <a:lnTo>
                    <a:pt x="743" y="1646"/>
                  </a:lnTo>
                  <a:lnTo>
                    <a:pt x="745" y="1648"/>
                  </a:lnTo>
                  <a:lnTo>
                    <a:pt x="751" y="1654"/>
                  </a:lnTo>
                  <a:lnTo>
                    <a:pt x="753" y="1656"/>
                  </a:lnTo>
                  <a:lnTo>
                    <a:pt x="754" y="1658"/>
                  </a:lnTo>
                  <a:lnTo>
                    <a:pt x="756" y="1660"/>
                  </a:lnTo>
                  <a:lnTo>
                    <a:pt x="758" y="1658"/>
                  </a:lnTo>
                  <a:lnTo>
                    <a:pt x="756" y="1660"/>
                  </a:lnTo>
                  <a:lnTo>
                    <a:pt x="758" y="1662"/>
                  </a:lnTo>
                  <a:lnTo>
                    <a:pt x="760" y="1662"/>
                  </a:lnTo>
                  <a:lnTo>
                    <a:pt x="760" y="1664"/>
                  </a:lnTo>
                  <a:lnTo>
                    <a:pt x="762" y="1666"/>
                  </a:lnTo>
                  <a:lnTo>
                    <a:pt x="764" y="1664"/>
                  </a:lnTo>
                  <a:lnTo>
                    <a:pt x="762" y="1666"/>
                  </a:lnTo>
                  <a:lnTo>
                    <a:pt x="764" y="1668"/>
                  </a:lnTo>
                  <a:lnTo>
                    <a:pt x="766" y="1668"/>
                  </a:lnTo>
                  <a:lnTo>
                    <a:pt x="766" y="1670"/>
                  </a:lnTo>
                  <a:lnTo>
                    <a:pt x="768" y="1671"/>
                  </a:lnTo>
                  <a:lnTo>
                    <a:pt x="768" y="1670"/>
                  </a:lnTo>
                  <a:lnTo>
                    <a:pt x="768" y="1671"/>
                  </a:lnTo>
                  <a:lnTo>
                    <a:pt x="770" y="1671"/>
                  </a:lnTo>
                  <a:lnTo>
                    <a:pt x="770" y="1673"/>
                  </a:lnTo>
                  <a:lnTo>
                    <a:pt x="772" y="1673"/>
                  </a:lnTo>
                  <a:lnTo>
                    <a:pt x="776" y="1677"/>
                  </a:lnTo>
                  <a:lnTo>
                    <a:pt x="776" y="1679"/>
                  </a:lnTo>
                  <a:lnTo>
                    <a:pt x="779" y="1681"/>
                  </a:lnTo>
                  <a:lnTo>
                    <a:pt x="781" y="1683"/>
                  </a:lnTo>
                  <a:lnTo>
                    <a:pt x="781" y="1685"/>
                  </a:lnTo>
                  <a:lnTo>
                    <a:pt x="785" y="1687"/>
                  </a:lnTo>
                  <a:lnTo>
                    <a:pt x="787" y="1689"/>
                  </a:lnTo>
                  <a:lnTo>
                    <a:pt x="789" y="1691"/>
                  </a:lnTo>
                  <a:lnTo>
                    <a:pt x="789" y="1693"/>
                  </a:lnTo>
                  <a:lnTo>
                    <a:pt x="789" y="1691"/>
                  </a:lnTo>
                  <a:lnTo>
                    <a:pt x="791" y="1691"/>
                  </a:lnTo>
                  <a:lnTo>
                    <a:pt x="789" y="1693"/>
                  </a:lnTo>
                  <a:lnTo>
                    <a:pt x="793" y="1695"/>
                  </a:lnTo>
                  <a:lnTo>
                    <a:pt x="795" y="1696"/>
                  </a:lnTo>
                  <a:lnTo>
                    <a:pt x="797" y="1696"/>
                  </a:lnTo>
                  <a:lnTo>
                    <a:pt x="797" y="1695"/>
                  </a:lnTo>
                  <a:lnTo>
                    <a:pt x="797" y="1696"/>
                  </a:lnTo>
                  <a:lnTo>
                    <a:pt x="799" y="1698"/>
                  </a:lnTo>
                  <a:lnTo>
                    <a:pt x="800" y="1698"/>
                  </a:lnTo>
                  <a:lnTo>
                    <a:pt x="799" y="1698"/>
                  </a:lnTo>
                  <a:lnTo>
                    <a:pt x="802" y="1700"/>
                  </a:lnTo>
                  <a:lnTo>
                    <a:pt x="804" y="1702"/>
                  </a:lnTo>
                  <a:lnTo>
                    <a:pt x="806" y="1702"/>
                  </a:lnTo>
                  <a:lnTo>
                    <a:pt x="806" y="1704"/>
                  </a:lnTo>
                  <a:lnTo>
                    <a:pt x="812" y="1708"/>
                  </a:lnTo>
                  <a:lnTo>
                    <a:pt x="812" y="1706"/>
                  </a:lnTo>
                  <a:lnTo>
                    <a:pt x="812" y="1708"/>
                  </a:lnTo>
                  <a:lnTo>
                    <a:pt x="814" y="1710"/>
                  </a:lnTo>
                  <a:lnTo>
                    <a:pt x="818" y="1712"/>
                  </a:lnTo>
                  <a:lnTo>
                    <a:pt x="820" y="1714"/>
                  </a:lnTo>
                  <a:lnTo>
                    <a:pt x="822" y="1718"/>
                  </a:lnTo>
                  <a:lnTo>
                    <a:pt x="822" y="1716"/>
                  </a:lnTo>
                  <a:lnTo>
                    <a:pt x="822" y="1718"/>
                  </a:lnTo>
                  <a:lnTo>
                    <a:pt x="824" y="1718"/>
                  </a:lnTo>
                  <a:lnTo>
                    <a:pt x="824" y="1719"/>
                  </a:lnTo>
                  <a:lnTo>
                    <a:pt x="824" y="1721"/>
                  </a:lnTo>
                  <a:lnTo>
                    <a:pt x="824" y="1723"/>
                  </a:lnTo>
                  <a:lnTo>
                    <a:pt x="825" y="1721"/>
                  </a:lnTo>
                  <a:lnTo>
                    <a:pt x="824" y="1723"/>
                  </a:lnTo>
                  <a:lnTo>
                    <a:pt x="825" y="1723"/>
                  </a:lnTo>
                  <a:lnTo>
                    <a:pt x="825" y="1725"/>
                  </a:lnTo>
                  <a:lnTo>
                    <a:pt x="825" y="1727"/>
                  </a:lnTo>
                  <a:lnTo>
                    <a:pt x="827" y="1729"/>
                  </a:lnTo>
                  <a:lnTo>
                    <a:pt x="829" y="1729"/>
                  </a:lnTo>
                  <a:lnTo>
                    <a:pt x="827" y="1731"/>
                  </a:lnTo>
                  <a:lnTo>
                    <a:pt x="829" y="1731"/>
                  </a:lnTo>
                  <a:lnTo>
                    <a:pt x="831" y="1733"/>
                  </a:lnTo>
                  <a:lnTo>
                    <a:pt x="831" y="1731"/>
                  </a:lnTo>
                  <a:lnTo>
                    <a:pt x="831" y="1733"/>
                  </a:lnTo>
                  <a:lnTo>
                    <a:pt x="833" y="1735"/>
                  </a:lnTo>
                  <a:lnTo>
                    <a:pt x="835" y="1735"/>
                  </a:lnTo>
                  <a:lnTo>
                    <a:pt x="837" y="1737"/>
                  </a:lnTo>
                  <a:lnTo>
                    <a:pt x="839" y="1737"/>
                  </a:lnTo>
                  <a:lnTo>
                    <a:pt x="839" y="1739"/>
                  </a:lnTo>
                  <a:lnTo>
                    <a:pt x="841" y="1741"/>
                  </a:lnTo>
                  <a:lnTo>
                    <a:pt x="843" y="1741"/>
                  </a:lnTo>
                  <a:lnTo>
                    <a:pt x="845" y="1743"/>
                  </a:lnTo>
                  <a:lnTo>
                    <a:pt x="847" y="1743"/>
                  </a:lnTo>
                  <a:lnTo>
                    <a:pt x="848" y="1744"/>
                  </a:lnTo>
                  <a:lnTo>
                    <a:pt x="850" y="1746"/>
                  </a:lnTo>
                  <a:lnTo>
                    <a:pt x="852" y="1746"/>
                  </a:lnTo>
                  <a:lnTo>
                    <a:pt x="852" y="1748"/>
                  </a:lnTo>
                  <a:lnTo>
                    <a:pt x="854" y="1748"/>
                  </a:lnTo>
                  <a:lnTo>
                    <a:pt x="854" y="1750"/>
                  </a:lnTo>
                  <a:lnTo>
                    <a:pt x="856" y="1752"/>
                  </a:lnTo>
                  <a:lnTo>
                    <a:pt x="858" y="1752"/>
                  </a:lnTo>
                  <a:lnTo>
                    <a:pt x="860" y="1754"/>
                  </a:lnTo>
                  <a:lnTo>
                    <a:pt x="862" y="1756"/>
                  </a:lnTo>
                  <a:lnTo>
                    <a:pt x="868" y="1760"/>
                  </a:lnTo>
                  <a:lnTo>
                    <a:pt x="872" y="1762"/>
                  </a:lnTo>
                  <a:lnTo>
                    <a:pt x="873" y="1762"/>
                  </a:lnTo>
                  <a:lnTo>
                    <a:pt x="875" y="1764"/>
                  </a:lnTo>
                  <a:lnTo>
                    <a:pt x="881" y="1766"/>
                  </a:lnTo>
                  <a:lnTo>
                    <a:pt x="883" y="1766"/>
                  </a:lnTo>
                  <a:lnTo>
                    <a:pt x="885" y="1767"/>
                  </a:lnTo>
                  <a:lnTo>
                    <a:pt x="887" y="1769"/>
                  </a:lnTo>
                  <a:lnTo>
                    <a:pt x="889" y="1771"/>
                  </a:lnTo>
                  <a:lnTo>
                    <a:pt x="891" y="1771"/>
                  </a:lnTo>
                  <a:lnTo>
                    <a:pt x="889" y="1771"/>
                  </a:lnTo>
                  <a:lnTo>
                    <a:pt x="887" y="1769"/>
                  </a:lnTo>
                  <a:lnTo>
                    <a:pt x="881" y="1771"/>
                  </a:lnTo>
                  <a:lnTo>
                    <a:pt x="881" y="1773"/>
                  </a:lnTo>
                  <a:lnTo>
                    <a:pt x="885" y="1771"/>
                  </a:lnTo>
                  <a:lnTo>
                    <a:pt x="885" y="1773"/>
                  </a:lnTo>
                  <a:lnTo>
                    <a:pt x="885" y="1775"/>
                  </a:lnTo>
                  <a:lnTo>
                    <a:pt x="879" y="1775"/>
                  </a:lnTo>
                  <a:lnTo>
                    <a:pt x="877" y="1771"/>
                  </a:lnTo>
                  <a:lnTo>
                    <a:pt x="875" y="1771"/>
                  </a:lnTo>
                  <a:lnTo>
                    <a:pt x="873" y="1769"/>
                  </a:lnTo>
                  <a:lnTo>
                    <a:pt x="873" y="1767"/>
                  </a:lnTo>
                  <a:lnTo>
                    <a:pt x="872" y="1767"/>
                  </a:lnTo>
                  <a:lnTo>
                    <a:pt x="872" y="1773"/>
                  </a:lnTo>
                  <a:lnTo>
                    <a:pt x="873" y="1773"/>
                  </a:lnTo>
                  <a:lnTo>
                    <a:pt x="873" y="1777"/>
                  </a:lnTo>
                  <a:lnTo>
                    <a:pt x="872" y="1777"/>
                  </a:lnTo>
                  <a:lnTo>
                    <a:pt x="872" y="1773"/>
                  </a:lnTo>
                  <a:lnTo>
                    <a:pt x="870" y="1773"/>
                  </a:lnTo>
                  <a:lnTo>
                    <a:pt x="870" y="1775"/>
                  </a:lnTo>
                  <a:lnTo>
                    <a:pt x="870" y="1777"/>
                  </a:lnTo>
                  <a:lnTo>
                    <a:pt x="866" y="1777"/>
                  </a:lnTo>
                  <a:lnTo>
                    <a:pt x="864" y="1767"/>
                  </a:lnTo>
                  <a:lnTo>
                    <a:pt x="866" y="1767"/>
                  </a:lnTo>
                  <a:lnTo>
                    <a:pt x="866" y="1766"/>
                  </a:lnTo>
                  <a:lnTo>
                    <a:pt x="864" y="1766"/>
                  </a:lnTo>
                  <a:lnTo>
                    <a:pt x="864" y="1764"/>
                  </a:lnTo>
                  <a:lnTo>
                    <a:pt x="866" y="1764"/>
                  </a:lnTo>
                  <a:lnTo>
                    <a:pt x="864" y="1764"/>
                  </a:lnTo>
                  <a:lnTo>
                    <a:pt x="862" y="1764"/>
                  </a:lnTo>
                  <a:lnTo>
                    <a:pt x="860" y="1764"/>
                  </a:lnTo>
                  <a:lnTo>
                    <a:pt x="860" y="1767"/>
                  </a:lnTo>
                  <a:lnTo>
                    <a:pt x="862" y="1777"/>
                  </a:lnTo>
                  <a:lnTo>
                    <a:pt x="864" y="1779"/>
                  </a:lnTo>
                  <a:lnTo>
                    <a:pt x="860" y="1779"/>
                  </a:lnTo>
                  <a:lnTo>
                    <a:pt x="852" y="1781"/>
                  </a:lnTo>
                  <a:lnTo>
                    <a:pt x="854" y="1781"/>
                  </a:lnTo>
                  <a:lnTo>
                    <a:pt x="854" y="1783"/>
                  </a:lnTo>
                  <a:lnTo>
                    <a:pt x="854" y="1785"/>
                  </a:lnTo>
                  <a:lnTo>
                    <a:pt x="856" y="1785"/>
                  </a:lnTo>
                  <a:lnTo>
                    <a:pt x="856" y="1787"/>
                  </a:lnTo>
                  <a:lnTo>
                    <a:pt x="862" y="1785"/>
                  </a:lnTo>
                  <a:lnTo>
                    <a:pt x="862" y="1787"/>
                  </a:lnTo>
                  <a:lnTo>
                    <a:pt x="860" y="1789"/>
                  </a:lnTo>
                  <a:lnTo>
                    <a:pt x="862" y="1789"/>
                  </a:lnTo>
                  <a:lnTo>
                    <a:pt x="860" y="1789"/>
                  </a:lnTo>
                  <a:lnTo>
                    <a:pt x="860" y="1791"/>
                  </a:lnTo>
                  <a:lnTo>
                    <a:pt x="860" y="1792"/>
                  </a:lnTo>
                  <a:lnTo>
                    <a:pt x="858" y="1792"/>
                  </a:lnTo>
                  <a:lnTo>
                    <a:pt x="860" y="1792"/>
                  </a:lnTo>
                  <a:lnTo>
                    <a:pt x="858" y="1794"/>
                  </a:lnTo>
                  <a:lnTo>
                    <a:pt x="858" y="1796"/>
                  </a:lnTo>
                  <a:lnTo>
                    <a:pt x="860" y="1798"/>
                  </a:lnTo>
                  <a:lnTo>
                    <a:pt x="860" y="1796"/>
                  </a:lnTo>
                  <a:lnTo>
                    <a:pt x="862" y="1794"/>
                  </a:lnTo>
                  <a:lnTo>
                    <a:pt x="862" y="1791"/>
                  </a:lnTo>
                  <a:lnTo>
                    <a:pt x="864" y="1791"/>
                  </a:lnTo>
                  <a:lnTo>
                    <a:pt x="866" y="1783"/>
                  </a:lnTo>
                  <a:lnTo>
                    <a:pt x="868" y="1783"/>
                  </a:lnTo>
                  <a:lnTo>
                    <a:pt x="870" y="1781"/>
                  </a:lnTo>
                  <a:lnTo>
                    <a:pt x="873" y="1781"/>
                  </a:lnTo>
                  <a:lnTo>
                    <a:pt x="875" y="1781"/>
                  </a:lnTo>
                  <a:lnTo>
                    <a:pt x="881" y="1781"/>
                  </a:lnTo>
                  <a:lnTo>
                    <a:pt x="881" y="1779"/>
                  </a:lnTo>
                  <a:lnTo>
                    <a:pt x="883" y="1779"/>
                  </a:lnTo>
                  <a:lnTo>
                    <a:pt x="887" y="1777"/>
                  </a:lnTo>
                  <a:lnTo>
                    <a:pt x="891" y="1777"/>
                  </a:lnTo>
                  <a:lnTo>
                    <a:pt x="891" y="1781"/>
                  </a:lnTo>
                  <a:lnTo>
                    <a:pt x="889" y="1783"/>
                  </a:lnTo>
                  <a:lnTo>
                    <a:pt x="889" y="1785"/>
                  </a:lnTo>
                  <a:lnTo>
                    <a:pt x="881" y="1787"/>
                  </a:lnTo>
                  <a:lnTo>
                    <a:pt x="877" y="1789"/>
                  </a:lnTo>
                  <a:lnTo>
                    <a:pt x="875" y="1789"/>
                  </a:lnTo>
                  <a:lnTo>
                    <a:pt x="875" y="1792"/>
                  </a:lnTo>
                  <a:lnTo>
                    <a:pt x="877" y="1792"/>
                  </a:lnTo>
                  <a:lnTo>
                    <a:pt x="879" y="1791"/>
                  </a:lnTo>
                  <a:lnTo>
                    <a:pt x="887" y="1789"/>
                  </a:lnTo>
                  <a:lnTo>
                    <a:pt x="891" y="1791"/>
                  </a:lnTo>
                  <a:lnTo>
                    <a:pt x="891" y="1794"/>
                  </a:lnTo>
                  <a:lnTo>
                    <a:pt x="891" y="1796"/>
                  </a:lnTo>
                  <a:lnTo>
                    <a:pt x="893" y="1800"/>
                  </a:lnTo>
                  <a:lnTo>
                    <a:pt x="895" y="1800"/>
                  </a:lnTo>
                  <a:lnTo>
                    <a:pt x="895" y="1796"/>
                  </a:lnTo>
                  <a:lnTo>
                    <a:pt x="895" y="1794"/>
                  </a:lnTo>
                  <a:lnTo>
                    <a:pt x="893" y="1791"/>
                  </a:lnTo>
                  <a:lnTo>
                    <a:pt x="893" y="1787"/>
                  </a:lnTo>
                  <a:lnTo>
                    <a:pt x="895" y="1777"/>
                  </a:lnTo>
                  <a:lnTo>
                    <a:pt x="896" y="1775"/>
                  </a:lnTo>
                  <a:lnTo>
                    <a:pt x="896" y="1773"/>
                  </a:lnTo>
                  <a:lnTo>
                    <a:pt x="896" y="1775"/>
                  </a:lnTo>
                  <a:lnTo>
                    <a:pt x="898" y="1775"/>
                  </a:lnTo>
                  <a:lnTo>
                    <a:pt x="896" y="1773"/>
                  </a:lnTo>
                  <a:lnTo>
                    <a:pt x="898" y="1773"/>
                  </a:lnTo>
                  <a:lnTo>
                    <a:pt x="898" y="1777"/>
                  </a:lnTo>
                  <a:lnTo>
                    <a:pt x="900" y="1779"/>
                  </a:lnTo>
                  <a:lnTo>
                    <a:pt x="904" y="1779"/>
                  </a:lnTo>
                  <a:lnTo>
                    <a:pt x="904" y="1783"/>
                  </a:lnTo>
                  <a:lnTo>
                    <a:pt x="904" y="1787"/>
                  </a:lnTo>
                  <a:lnTo>
                    <a:pt x="906" y="1792"/>
                  </a:lnTo>
                  <a:lnTo>
                    <a:pt x="906" y="1796"/>
                  </a:lnTo>
                  <a:lnTo>
                    <a:pt x="908" y="1796"/>
                  </a:lnTo>
                  <a:lnTo>
                    <a:pt x="908" y="1800"/>
                  </a:lnTo>
                  <a:lnTo>
                    <a:pt x="910" y="1800"/>
                  </a:lnTo>
                  <a:lnTo>
                    <a:pt x="912" y="1800"/>
                  </a:lnTo>
                  <a:lnTo>
                    <a:pt x="912" y="1798"/>
                  </a:lnTo>
                  <a:lnTo>
                    <a:pt x="912" y="1796"/>
                  </a:lnTo>
                  <a:lnTo>
                    <a:pt x="910" y="1796"/>
                  </a:lnTo>
                  <a:lnTo>
                    <a:pt x="910" y="1794"/>
                  </a:lnTo>
                  <a:lnTo>
                    <a:pt x="910" y="1792"/>
                  </a:lnTo>
                  <a:lnTo>
                    <a:pt x="910" y="1791"/>
                  </a:lnTo>
                  <a:lnTo>
                    <a:pt x="908" y="1789"/>
                  </a:lnTo>
                  <a:lnTo>
                    <a:pt x="908" y="1787"/>
                  </a:lnTo>
                  <a:lnTo>
                    <a:pt x="908" y="1785"/>
                  </a:lnTo>
                  <a:lnTo>
                    <a:pt x="908" y="1783"/>
                  </a:lnTo>
                  <a:lnTo>
                    <a:pt x="908" y="1781"/>
                  </a:lnTo>
                  <a:lnTo>
                    <a:pt x="908" y="1779"/>
                  </a:lnTo>
                  <a:lnTo>
                    <a:pt x="906" y="1779"/>
                  </a:lnTo>
                  <a:lnTo>
                    <a:pt x="908" y="1777"/>
                  </a:lnTo>
                  <a:lnTo>
                    <a:pt x="906" y="1773"/>
                  </a:lnTo>
                  <a:lnTo>
                    <a:pt x="908" y="1773"/>
                  </a:lnTo>
                  <a:lnTo>
                    <a:pt x="908" y="1771"/>
                  </a:lnTo>
                  <a:lnTo>
                    <a:pt x="912" y="1771"/>
                  </a:lnTo>
                  <a:lnTo>
                    <a:pt x="914" y="1771"/>
                  </a:lnTo>
                  <a:lnTo>
                    <a:pt x="916" y="1771"/>
                  </a:lnTo>
                  <a:lnTo>
                    <a:pt x="918" y="1771"/>
                  </a:lnTo>
                  <a:lnTo>
                    <a:pt x="919" y="1771"/>
                  </a:lnTo>
                  <a:lnTo>
                    <a:pt x="921" y="1773"/>
                  </a:lnTo>
                  <a:lnTo>
                    <a:pt x="923" y="1775"/>
                  </a:lnTo>
                  <a:lnTo>
                    <a:pt x="923" y="1779"/>
                  </a:lnTo>
                  <a:lnTo>
                    <a:pt x="921" y="1781"/>
                  </a:lnTo>
                  <a:lnTo>
                    <a:pt x="921" y="1783"/>
                  </a:lnTo>
                  <a:lnTo>
                    <a:pt x="919" y="1785"/>
                  </a:lnTo>
                  <a:lnTo>
                    <a:pt x="919" y="1787"/>
                  </a:lnTo>
                  <a:lnTo>
                    <a:pt x="921" y="1785"/>
                  </a:lnTo>
                  <a:lnTo>
                    <a:pt x="923" y="1783"/>
                  </a:lnTo>
                  <a:lnTo>
                    <a:pt x="925" y="1789"/>
                  </a:lnTo>
                  <a:lnTo>
                    <a:pt x="925" y="1791"/>
                  </a:lnTo>
                  <a:lnTo>
                    <a:pt x="925" y="1792"/>
                  </a:lnTo>
                  <a:lnTo>
                    <a:pt x="925" y="1791"/>
                  </a:lnTo>
                  <a:lnTo>
                    <a:pt x="927" y="1791"/>
                  </a:lnTo>
                  <a:lnTo>
                    <a:pt x="927" y="1789"/>
                  </a:lnTo>
                  <a:lnTo>
                    <a:pt x="927" y="1785"/>
                  </a:lnTo>
                  <a:lnTo>
                    <a:pt x="927" y="1783"/>
                  </a:lnTo>
                  <a:lnTo>
                    <a:pt x="925" y="1779"/>
                  </a:lnTo>
                  <a:lnTo>
                    <a:pt x="925" y="1777"/>
                  </a:lnTo>
                  <a:lnTo>
                    <a:pt x="925" y="1773"/>
                  </a:lnTo>
                  <a:lnTo>
                    <a:pt x="923" y="1771"/>
                  </a:lnTo>
                  <a:lnTo>
                    <a:pt x="925" y="1769"/>
                  </a:lnTo>
                  <a:lnTo>
                    <a:pt x="927" y="1769"/>
                  </a:lnTo>
                  <a:lnTo>
                    <a:pt x="929" y="1769"/>
                  </a:lnTo>
                  <a:lnTo>
                    <a:pt x="931" y="1767"/>
                  </a:lnTo>
                  <a:lnTo>
                    <a:pt x="933" y="1767"/>
                  </a:lnTo>
                  <a:lnTo>
                    <a:pt x="935" y="1767"/>
                  </a:lnTo>
                  <a:lnTo>
                    <a:pt x="939" y="1767"/>
                  </a:lnTo>
                  <a:lnTo>
                    <a:pt x="943" y="1767"/>
                  </a:lnTo>
                  <a:lnTo>
                    <a:pt x="943" y="1769"/>
                  </a:lnTo>
                  <a:lnTo>
                    <a:pt x="943" y="1771"/>
                  </a:lnTo>
                  <a:lnTo>
                    <a:pt x="941" y="1775"/>
                  </a:lnTo>
                  <a:lnTo>
                    <a:pt x="941" y="1777"/>
                  </a:lnTo>
                  <a:lnTo>
                    <a:pt x="939" y="1777"/>
                  </a:lnTo>
                  <a:lnTo>
                    <a:pt x="933" y="1779"/>
                  </a:lnTo>
                  <a:lnTo>
                    <a:pt x="933" y="1781"/>
                  </a:lnTo>
                  <a:lnTo>
                    <a:pt x="941" y="1779"/>
                  </a:lnTo>
                  <a:lnTo>
                    <a:pt x="946" y="1781"/>
                  </a:lnTo>
                  <a:lnTo>
                    <a:pt x="948" y="1783"/>
                  </a:lnTo>
                  <a:lnTo>
                    <a:pt x="952" y="1783"/>
                  </a:lnTo>
                  <a:lnTo>
                    <a:pt x="952" y="1785"/>
                  </a:lnTo>
                  <a:lnTo>
                    <a:pt x="954" y="1785"/>
                  </a:lnTo>
                  <a:lnTo>
                    <a:pt x="954" y="1783"/>
                  </a:lnTo>
                  <a:lnTo>
                    <a:pt x="952" y="1783"/>
                  </a:lnTo>
                  <a:lnTo>
                    <a:pt x="952" y="1781"/>
                  </a:lnTo>
                  <a:lnTo>
                    <a:pt x="950" y="1781"/>
                  </a:lnTo>
                  <a:lnTo>
                    <a:pt x="944" y="1779"/>
                  </a:lnTo>
                  <a:lnTo>
                    <a:pt x="944" y="1775"/>
                  </a:lnTo>
                  <a:lnTo>
                    <a:pt x="944" y="1773"/>
                  </a:lnTo>
                  <a:lnTo>
                    <a:pt x="944" y="1771"/>
                  </a:lnTo>
                  <a:lnTo>
                    <a:pt x="946" y="1769"/>
                  </a:lnTo>
                  <a:lnTo>
                    <a:pt x="946" y="1767"/>
                  </a:lnTo>
                  <a:lnTo>
                    <a:pt x="948" y="1767"/>
                  </a:lnTo>
                  <a:lnTo>
                    <a:pt x="948" y="1769"/>
                  </a:lnTo>
                  <a:lnTo>
                    <a:pt x="950" y="1769"/>
                  </a:lnTo>
                  <a:lnTo>
                    <a:pt x="956" y="1771"/>
                  </a:lnTo>
                  <a:lnTo>
                    <a:pt x="958" y="1771"/>
                  </a:lnTo>
                  <a:lnTo>
                    <a:pt x="956" y="1771"/>
                  </a:lnTo>
                  <a:lnTo>
                    <a:pt x="952" y="1771"/>
                  </a:lnTo>
                  <a:lnTo>
                    <a:pt x="952" y="1773"/>
                  </a:lnTo>
                  <a:lnTo>
                    <a:pt x="956" y="1773"/>
                  </a:lnTo>
                  <a:lnTo>
                    <a:pt x="958" y="1773"/>
                  </a:lnTo>
                  <a:lnTo>
                    <a:pt x="958" y="1771"/>
                  </a:lnTo>
                  <a:lnTo>
                    <a:pt x="960" y="1771"/>
                  </a:lnTo>
                  <a:lnTo>
                    <a:pt x="962" y="1771"/>
                  </a:lnTo>
                  <a:lnTo>
                    <a:pt x="964" y="1773"/>
                  </a:lnTo>
                  <a:lnTo>
                    <a:pt x="966" y="1773"/>
                  </a:lnTo>
                  <a:lnTo>
                    <a:pt x="967" y="1775"/>
                  </a:lnTo>
                  <a:lnTo>
                    <a:pt x="969" y="1775"/>
                  </a:lnTo>
                  <a:lnTo>
                    <a:pt x="971" y="1777"/>
                  </a:lnTo>
                  <a:lnTo>
                    <a:pt x="969" y="1779"/>
                  </a:lnTo>
                  <a:lnTo>
                    <a:pt x="969" y="1781"/>
                  </a:lnTo>
                  <a:lnTo>
                    <a:pt x="969" y="1783"/>
                  </a:lnTo>
                  <a:lnTo>
                    <a:pt x="973" y="1783"/>
                  </a:lnTo>
                  <a:lnTo>
                    <a:pt x="973" y="1785"/>
                  </a:lnTo>
                  <a:lnTo>
                    <a:pt x="975" y="1787"/>
                  </a:lnTo>
                  <a:lnTo>
                    <a:pt x="975" y="1789"/>
                  </a:lnTo>
                  <a:lnTo>
                    <a:pt x="977" y="1789"/>
                  </a:lnTo>
                  <a:lnTo>
                    <a:pt x="975" y="1789"/>
                  </a:lnTo>
                  <a:lnTo>
                    <a:pt x="975" y="1791"/>
                  </a:lnTo>
                  <a:lnTo>
                    <a:pt x="966" y="1792"/>
                  </a:lnTo>
                  <a:lnTo>
                    <a:pt x="964" y="1792"/>
                  </a:lnTo>
                  <a:lnTo>
                    <a:pt x="966" y="1794"/>
                  </a:lnTo>
                  <a:lnTo>
                    <a:pt x="973" y="1794"/>
                  </a:lnTo>
                  <a:lnTo>
                    <a:pt x="981" y="1796"/>
                  </a:lnTo>
                  <a:lnTo>
                    <a:pt x="983" y="1796"/>
                  </a:lnTo>
                  <a:lnTo>
                    <a:pt x="981" y="1794"/>
                  </a:lnTo>
                  <a:lnTo>
                    <a:pt x="985" y="1796"/>
                  </a:lnTo>
                  <a:lnTo>
                    <a:pt x="990" y="1798"/>
                  </a:lnTo>
                  <a:lnTo>
                    <a:pt x="992" y="1798"/>
                  </a:lnTo>
                  <a:lnTo>
                    <a:pt x="994" y="1796"/>
                  </a:lnTo>
                  <a:lnTo>
                    <a:pt x="992" y="1796"/>
                  </a:lnTo>
                  <a:lnTo>
                    <a:pt x="989" y="1794"/>
                  </a:lnTo>
                  <a:lnTo>
                    <a:pt x="987" y="1792"/>
                  </a:lnTo>
                  <a:lnTo>
                    <a:pt x="979" y="1791"/>
                  </a:lnTo>
                  <a:lnTo>
                    <a:pt x="979" y="1789"/>
                  </a:lnTo>
                  <a:lnTo>
                    <a:pt x="979" y="1787"/>
                  </a:lnTo>
                  <a:lnTo>
                    <a:pt x="981" y="1787"/>
                  </a:lnTo>
                  <a:lnTo>
                    <a:pt x="983" y="1787"/>
                  </a:lnTo>
                  <a:lnTo>
                    <a:pt x="987" y="1789"/>
                  </a:lnTo>
                  <a:lnTo>
                    <a:pt x="989" y="1791"/>
                  </a:lnTo>
                  <a:lnTo>
                    <a:pt x="994" y="1792"/>
                  </a:lnTo>
                  <a:lnTo>
                    <a:pt x="994" y="1791"/>
                  </a:lnTo>
                  <a:lnTo>
                    <a:pt x="992" y="1791"/>
                  </a:lnTo>
                  <a:lnTo>
                    <a:pt x="992" y="1789"/>
                  </a:lnTo>
                  <a:lnTo>
                    <a:pt x="989" y="1789"/>
                  </a:lnTo>
                  <a:lnTo>
                    <a:pt x="985" y="1787"/>
                  </a:lnTo>
                  <a:lnTo>
                    <a:pt x="983" y="1785"/>
                  </a:lnTo>
                  <a:lnTo>
                    <a:pt x="975" y="1783"/>
                  </a:lnTo>
                  <a:lnTo>
                    <a:pt x="975" y="1781"/>
                  </a:lnTo>
                  <a:lnTo>
                    <a:pt x="973" y="1779"/>
                  </a:lnTo>
                  <a:lnTo>
                    <a:pt x="975" y="1777"/>
                  </a:lnTo>
                  <a:lnTo>
                    <a:pt x="977" y="1777"/>
                  </a:lnTo>
                  <a:lnTo>
                    <a:pt x="977" y="1779"/>
                  </a:lnTo>
                  <a:lnTo>
                    <a:pt x="979" y="1779"/>
                  </a:lnTo>
                  <a:lnTo>
                    <a:pt x="981" y="1779"/>
                  </a:lnTo>
                  <a:lnTo>
                    <a:pt x="983" y="1781"/>
                  </a:lnTo>
                  <a:lnTo>
                    <a:pt x="985" y="1781"/>
                  </a:lnTo>
                  <a:lnTo>
                    <a:pt x="987" y="1783"/>
                  </a:lnTo>
                  <a:lnTo>
                    <a:pt x="989" y="1783"/>
                  </a:lnTo>
                  <a:lnTo>
                    <a:pt x="985" y="1781"/>
                  </a:lnTo>
                  <a:lnTo>
                    <a:pt x="983" y="1781"/>
                  </a:lnTo>
                  <a:lnTo>
                    <a:pt x="981" y="1779"/>
                  </a:lnTo>
                  <a:lnTo>
                    <a:pt x="977" y="1777"/>
                  </a:lnTo>
                  <a:lnTo>
                    <a:pt x="973" y="1775"/>
                  </a:lnTo>
                  <a:lnTo>
                    <a:pt x="971" y="1771"/>
                  </a:lnTo>
                  <a:lnTo>
                    <a:pt x="975" y="1771"/>
                  </a:lnTo>
                  <a:lnTo>
                    <a:pt x="979" y="1769"/>
                  </a:lnTo>
                  <a:lnTo>
                    <a:pt x="981" y="1769"/>
                  </a:lnTo>
                  <a:lnTo>
                    <a:pt x="983" y="1771"/>
                  </a:lnTo>
                  <a:lnTo>
                    <a:pt x="981" y="1771"/>
                  </a:lnTo>
                  <a:lnTo>
                    <a:pt x="985" y="1777"/>
                  </a:lnTo>
                  <a:lnTo>
                    <a:pt x="985" y="1779"/>
                  </a:lnTo>
                  <a:lnTo>
                    <a:pt x="985" y="1777"/>
                  </a:lnTo>
                  <a:lnTo>
                    <a:pt x="987" y="1777"/>
                  </a:lnTo>
                  <a:lnTo>
                    <a:pt x="989" y="1777"/>
                  </a:lnTo>
                  <a:lnTo>
                    <a:pt x="987" y="1777"/>
                  </a:lnTo>
                  <a:lnTo>
                    <a:pt x="985" y="1773"/>
                  </a:lnTo>
                  <a:lnTo>
                    <a:pt x="985" y="1771"/>
                  </a:lnTo>
                  <a:lnTo>
                    <a:pt x="985" y="1769"/>
                  </a:lnTo>
                  <a:lnTo>
                    <a:pt x="985" y="1767"/>
                  </a:lnTo>
                  <a:lnTo>
                    <a:pt x="987" y="1767"/>
                  </a:lnTo>
                  <a:lnTo>
                    <a:pt x="989" y="1767"/>
                  </a:lnTo>
                  <a:lnTo>
                    <a:pt x="990" y="1767"/>
                  </a:lnTo>
                  <a:lnTo>
                    <a:pt x="990" y="1769"/>
                  </a:lnTo>
                  <a:lnTo>
                    <a:pt x="990" y="1771"/>
                  </a:lnTo>
                  <a:lnTo>
                    <a:pt x="992" y="1771"/>
                  </a:lnTo>
                  <a:lnTo>
                    <a:pt x="992" y="1769"/>
                  </a:lnTo>
                  <a:lnTo>
                    <a:pt x="992" y="1771"/>
                  </a:lnTo>
                  <a:lnTo>
                    <a:pt x="994" y="1769"/>
                  </a:lnTo>
                  <a:lnTo>
                    <a:pt x="994" y="1767"/>
                  </a:lnTo>
                  <a:lnTo>
                    <a:pt x="998" y="1767"/>
                  </a:lnTo>
                  <a:lnTo>
                    <a:pt x="1000" y="1767"/>
                  </a:lnTo>
                  <a:lnTo>
                    <a:pt x="998" y="1767"/>
                  </a:lnTo>
                  <a:lnTo>
                    <a:pt x="998" y="1769"/>
                  </a:lnTo>
                  <a:lnTo>
                    <a:pt x="1000" y="1767"/>
                  </a:lnTo>
                  <a:lnTo>
                    <a:pt x="1000" y="1769"/>
                  </a:lnTo>
                  <a:lnTo>
                    <a:pt x="998" y="1769"/>
                  </a:lnTo>
                  <a:lnTo>
                    <a:pt x="1000" y="1769"/>
                  </a:lnTo>
                  <a:lnTo>
                    <a:pt x="1002" y="1769"/>
                  </a:lnTo>
                  <a:lnTo>
                    <a:pt x="994" y="1771"/>
                  </a:lnTo>
                  <a:lnTo>
                    <a:pt x="992" y="1773"/>
                  </a:lnTo>
                  <a:lnTo>
                    <a:pt x="992" y="1775"/>
                  </a:lnTo>
                  <a:lnTo>
                    <a:pt x="996" y="1773"/>
                  </a:lnTo>
                  <a:lnTo>
                    <a:pt x="1002" y="1771"/>
                  </a:lnTo>
                  <a:lnTo>
                    <a:pt x="1002" y="1773"/>
                  </a:lnTo>
                  <a:lnTo>
                    <a:pt x="1004" y="1775"/>
                  </a:lnTo>
                  <a:lnTo>
                    <a:pt x="1004" y="1777"/>
                  </a:lnTo>
                  <a:lnTo>
                    <a:pt x="1002" y="1779"/>
                  </a:lnTo>
                  <a:lnTo>
                    <a:pt x="994" y="1781"/>
                  </a:lnTo>
                  <a:lnTo>
                    <a:pt x="994" y="1783"/>
                  </a:lnTo>
                  <a:lnTo>
                    <a:pt x="1004" y="1779"/>
                  </a:lnTo>
                  <a:lnTo>
                    <a:pt x="1006" y="1779"/>
                  </a:lnTo>
                  <a:lnTo>
                    <a:pt x="1006" y="1781"/>
                  </a:lnTo>
                  <a:lnTo>
                    <a:pt x="1006" y="1783"/>
                  </a:lnTo>
                  <a:lnTo>
                    <a:pt x="998" y="1785"/>
                  </a:lnTo>
                  <a:lnTo>
                    <a:pt x="996" y="1785"/>
                  </a:lnTo>
                  <a:lnTo>
                    <a:pt x="996" y="1787"/>
                  </a:lnTo>
                  <a:lnTo>
                    <a:pt x="996" y="1785"/>
                  </a:lnTo>
                  <a:lnTo>
                    <a:pt x="996" y="1787"/>
                  </a:lnTo>
                  <a:lnTo>
                    <a:pt x="998" y="1789"/>
                  </a:lnTo>
                  <a:lnTo>
                    <a:pt x="998" y="1787"/>
                  </a:lnTo>
                  <a:lnTo>
                    <a:pt x="1000" y="1787"/>
                  </a:lnTo>
                  <a:lnTo>
                    <a:pt x="1002" y="1787"/>
                  </a:lnTo>
                  <a:lnTo>
                    <a:pt x="1002" y="1785"/>
                  </a:lnTo>
                  <a:lnTo>
                    <a:pt x="1006" y="1785"/>
                  </a:lnTo>
                  <a:lnTo>
                    <a:pt x="1006" y="1787"/>
                  </a:lnTo>
                  <a:lnTo>
                    <a:pt x="1000" y="1789"/>
                  </a:lnTo>
                  <a:lnTo>
                    <a:pt x="998" y="1789"/>
                  </a:lnTo>
                  <a:lnTo>
                    <a:pt x="998" y="1791"/>
                  </a:lnTo>
                  <a:lnTo>
                    <a:pt x="1002" y="1791"/>
                  </a:lnTo>
                  <a:lnTo>
                    <a:pt x="1004" y="1792"/>
                  </a:lnTo>
                  <a:lnTo>
                    <a:pt x="1002" y="1792"/>
                  </a:lnTo>
                  <a:lnTo>
                    <a:pt x="1000" y="1794"/>
                  </a:lnTo>
                  <a:lnTo>
                    <a:pt x="1002" y="1796"/>
                  </a:lnTo>
                  <a:lnTo>
                    <a:pt x="1004" y="1796"/>
                  </a:lnTo>
                  <a:lnTo>
                    <a:pt x="1006" y="1796"/>
                  </a:lnTo>
                  <a:lnTo>
                    <a:pt x="1008" y="1798"/>
                  </a:lnTo>
                  <a:lnTo>
                    <a:pt x="1012" y="1798"/>
                  </a:lnTo>
                  <a:lnTo>
                    <a:pt x="1012" y="1796"/>
                  </a:lnTo>
                  <a:lnTo>
                    <a:pt x="1015" y="1798"/>
                  </a:lnTo>
                  <a:lnTo>
                    <a:pt x="1017" y="1796"/>
                  </a:lnTo>
                  <a:lnTo>
                    <a:pt x="1015" y="1796"/>
                  </a:lnTo>
                  <a:lnTo>
                    <a:pt x="1014" y="1796"/>
                  </a:lnTo>
                  <a:lnTo>
                    <a:pt x="1014" y="1794"/>
                  </a:lnTo>
                  <a:lnTo>
                    <a:pt x="1012" y="1792"/>
                  </a:lnTo>
                  <a:lnTo>
                    <a:pt x="1014" y="1792"/>
                  </a:lnTo>
                  <a:lnTo>
                    <a:pt x="1017" y="1792"/>
                  </a:lnTo>
                  <a:lnTo>
                    <a:pt x="1017" y="1794"/>
                  </a:lnTo>
                  <a:lnTo>
                    <a:pt x="1019" y="1791"/>
                  </a:lnTo>
                  <a:lnTo>
                    <a:pt x="1017" y="1789"/>
                  </a:lnTo>
                  <a:lnTo>
                    <a:pt x="1012" y="1787"/>
                  </a:lnTo>
                  <a:lnTo>
                    <a:pt x="1017" y="1789"/>
                  </a:lnTo>
                  <a:lnTo>
                    <a:pt x="1019" y="1789"/>
                  </a:lnTo>
                  <a:lnTo>
                    <a:pt x="1017" y="1789"/>
                  </a:lnTo>
                  <a:lnTo>
                    <a:pt x="1019" y="1789"/>
                  </a:lnTo>
                  <a:lnTo>
                    <a:pt x="1019" y="1787"/>
                  </a:lnTo>
                  <a:lnTo>
                    <a:pt x="1015" y="1785"/>
                  </a:lnTo>
                  <a:lnTo>
                    <a:pt x="1014" y="1785"/>
                  </a:lnTo>
                  <a:lnTo>
                    <a:pt x="1010" y="1783"/>
                  </a:lnTo>
                  <a:lnTo>
                    <a:pt x="1010" y="1781"/>
                  </a:lnTo>
                  <a:lnTo>
                    <a:pt x="1012" y="1783"/>
                  </a:lnTo>
                  <a:lnTo>
                    <a:pt x="1012" y="1781"/>
                  </a:lnTo>
                  <a:lnTo>
                    <a:pt x="1014" y="1781"/>
                  </a:lnTo>
                  <a:lnTo>
                    <a:pt x="1015" y="1783"/>
                  </a:lnTo>
                  <a:lnTo>
                    <a:pt x="1017" y="1783"/>
                  </a:lnTo>
                  <a:lnTo>
                    <a:pt x="1019" y="1783"/>
                  </a:lnTo>
                  <a:lnTo>
                    <a:pt x="1021" y="1783"/>
                  </a:lnTo>
                  <a:lnTo>
                    <a:pt x="1021" y="1785"/>
                  </a:lnTo>
                  <a:lnTo>
                    <a:pt x="1021" y="1783"/>
                  </a:lnTo>
                  <a:lnTo>
                    <a:pt x="1021" y="1785"/>
                  </a:lnTo>
                  <a:lnTo>
                    <a:pt x="1023" y="1783"/>
                  </a:lnTo>
                  <a:lnTo>
                    <a:pt x="1021" y="1783"/>
                  </a:lnTo>
                  <a:lnTo>
                    <a:pt x="1019" y="1781"/>
                  </a:lnTo>
                  <a:lnTo>
                    <a:pt x="1017" y="1781"/>
                  </a:lnTo>
                  <a:lnTo>
                    <a:pt x="1012" y="1779"/>
                  </a:lnTo>
                  <a:lnTo>
                    <a:pt x="1014" y="1777"/>
                  </a:lnTo>
                  <a:lnTo>
                    <a:pt x="1015" y="1777"/>
                  </a:lnTo>
                  <a:lnTo>
                    <a:pt x="1017" y="1779"/>
                  </a:lnTo>
                  <a:lnTo>
                    <a:pt x="1019" y="1779"/>
                  </a:lnTo>
                  <a:lnTo>
                    <a:pt x="1023" y="1781"/>
                  </a:lnTo>
                  <a:lnTo>
                    <a:pt x="1023" y="1779"/>
                  </a:lnTo>
                  <a:lnTo>
                    <a:pt x="1021" y="1777"/>
                  </a:lnTo>
                  <a:lnTo>
                    <a:pt x="1019" y="1777"/>
                  </a:lnTo>
                  <a:lnTo>
                    <a:pt x="1015" y="1777"/>
                  </a:lnTo>
                  <a:lnTo>
                    <a:pt x="1014" y="1775"/>
                  </a:lnTo>
                  <a:lnTo>
                    <a:pt x="1012" y="1775"/>
                  </a:lnTo>
                  <a:lnTo>
                    <a:pt x="1010" y="1773"/>
                  </a:lnTo>
                  <a:lnTo>
                    <a:pt x="1008" y="1773"/>
                  </a:lnTo>
                  <a:lnTo>
                    <a:pt x="1006" y="1771"/>
                  </a:lnTo>
                  <a:lnTo>
                    <a:pt x="1006" y="1769"/>
                  </a:lnTo>
                  <a:lnTo>
                    <a:pt x="1006" y="1767"/>
                  </a:lnTo>
                  <a:lnTo>
                    <a:pt x="1008" y="1769"/>
                  </a:lnTo>
                  <a:lnTo>
                    <a:pt x="1010" y="1769"/>
                  </a:lnTo>
                  <a:lnTo>
                    <a:pt x="1012" y="1769"/>
                  </a:lnTo>
                  <a:lnTo>
                    <a:pt x="1012" y="1771"/>
                  </a:lnTo>
                  <a:lnTo>
                    <a:pt x="1010" y="1769"/>
                  </a:lnTo>
                  <a:lnTo>
                    <a:pt x="1010" y="1771"/>
                  </a:lnTo>
                  <a:lnTo>
                    <a:pt x="1012" y="1771"/>
                  </a:lnTo>
                  <a:lnTo>
                    <a:pt x="1014" y="1771"/>
                  </a:lnTo>
                  <a:lnTo>
                    <a:pt x="1014" y="1773"/>
                  </a:lnTo>
                  <a:lnTo>
                    <a:pt x="1014" y="1771"/>
                  </a:lnTo>
                  <a:lnTo>
                    <a:pt x="1015" y="1771"/>
                  </a:lnTo>
                  <a:lnTo>
                    <a:pt x="1017" y="1771"/>
                  </a:lnTo>
                  <a:lnTo>
                    <a:pt x="1019" y="1771"/>
                  </a:lnTo>
                  <a:lnTo>
                    <a:pt x="1019" y="1773"/>
                  </a:lnTo>
                  <a:lnTo>
                    <a:pt x="1021" y="1773"/>
                  </a:lnTo>
                  <a:lnTo>
                    <a:pt x="1023" y="1773"/>
                  </a:lnTo>
                  <a:lnTo>
                    <a:pt x="1025" y="1773"/>
                  </a:lnTo>
                  <a:lnTo>
                    <a:pt x="1027" y="1773"/>
                  </a:lnTo>
                  <a:lnTo>
                    <a:pt x="1031" y="1771"/>
                  </a:lnTo>
                  <a:lnTo>
                    <a:pt x="1031" y="1773"/>
                  </a:lnTo>
                  <a:lnTo>
                    <a:pt x="1033" y="1773"/>
                  </a:lnTo>
                  <a:lnTo>
                    <a:pt x="1035" y="1777"/>
                  </a:lnTo>
                  <a:lnTo>
                    <a:pt x="1037" y="1777"/>
                  </a:lnTo>
                  <a:lnTo>
                    <a:pt x="1035" y="1777"/>
                  </a:lnTo>
                  <a:lnTo>
                    <a:pt x="1037" y="1777"/>
                  </a:lnTo>
                  <a:lnTo>
                    <a:pt x="1037" y="1779"/>
                  </a:lnTo>
                  <a:lnTo>
                    <a:pt x="1037" y="1777"/>
                  </a:lnTo>
                  <a:lnTo>
                    <a:pt x="1037" y="1779"/>
                  </a:lnTo>
                  <a:lnTo>
                    <a:pt x="1038" y="1779"/>
                  </a:lnTo>
                  <a:lnTo>
                    <a:pt x="1040" y="1777"/>
                  </a:lnTo>
                  <a:lnTo>
                    <a:pt x="1042" y="1777"/>
                  </a:lnTo>
                  <a:lnTo>
                    <a:pt x="1044" y="1777"/>
                  </a:lnTo>
                  <a:lnTo>
                    <a:pt x="1046" y="1777"/>
                  </a:lnTo>
                  <a:lnTo>
                    <a:pt x="1048" y="1777"/>
                  </a:lnTo>
                  <a:lnTo>
                    <a:pt x="1046" y="1777"/>
                  </a:lnTo>
                  <a:lnTo>
                    <a:pt x="1048" y="1775"/>
                  </a:lnTo>
                  <a:lnTo>
                    <a:pt x="1050" y="1775"/>
                  </a:lnTo>
                  <a:lnTo>
                    <a:pt x="1052" y="1775"/>
                  </a:lnTo>
                  <a:lnTo>
                    <a:pt x="1054" y="1775"/>
                  </a:lnTo>
                  <a:lnTo>
                    <a:pt x="1054" y="1773"/>
                  </a:lnTo>
                  <a:lnTo>
                    <a:pt x="1056" y="1771"/>
                  </a:lnTo>
                  <a:lnTo>
                    <a:pt x="1054" y="1771"/>
                  </a:lnTo>
                  <a:lnTo>
                    <a:pt x="1056" y="1771"/>
                  </a:lnTo>
                  <a:lnTo>
                    <a:pt x="1056" y="1769"/>
                  </a:lnTo>
                  <a:lnTo>
                    <a:pt x="1054" y="1769"/>
                  </a:lnTo>
                  <a:lnTo>
                    <a:pt x="1052" y="1771"/>
                  </a:lnTo>
                  <a:lnTo>
                    <a:pt x="1050" y="1771"/>
                  </a:lnTo>
                  <a:lnTo>
                    <a:pt x="1048" y="1771"/>
                  </a:lnTo>
                  <a:lnTo>
                    <a:pt x="1046" y="1771"/>
                  </a:lnTo>
                  <a:lnTo>
                    <a:pt x="1046" y="1773"/>
                  </a:lnTo>
                  <a:lnTo>
                    <a:pt x="1044" y="1773"/>
                  </a:lnTo>
                  <a:lnTo>
                    <a:pt x="1040" y="1773"/>
                  </a:lnTo>
                  <a:lnTo>
                    <a:pt x="1038" y="1773"/>
                  </a:lnTo>
                  <a:lnTo>
                    <a:pt x="1038" y="1775"/>
                  </a:lnTo>
                  <a:lnTo>
                    <a:pt x="1037" y="1773"/>
                  </a:lnTo>
                  <a:lnTo>
                    <a:pt x="1035" y="1773"/>
                  </a:lnTo>
                  <a:lnTo>
                    <a:pt x="1035" y="1771"/>
                  </a:lnTo>
                  <a:lnTo>
                    <a:pt x="1033" y="1771"/>
                  </a:lnTo>
                  <a:lnTo>
                    <a:pt x="1035" y="1771"/>
                  </a:lnTo>
                  <a:lnTo>
                    <a:pt x="1037" y="1771"/>
                  </a:lnTo>
                  <a:lnTo>
                    <a:pt x="1038" y="1771"/>
                  </a:lnTo>
                  <a:lnTo>
                    <a:pt x="1037" y="1771"/>
                  </a:lnTo>
                  <a:lnTo>
                    <a:pt x="1037" y="1769"/>
                  </a:lnTo>
                  <a:lnTo>
                    <a:pt x="1038" y="1769"/>
                  </a:lnTo>
                  <a:lnTo>
                    <a:pt x="1038" y="1767"/>
                  </a:lnTo>
                  <a:lnTo>
                    <a:pt x="1040" y="1767"/>
                  </a:lnTo>
                  <a:lnTo>
                    <a:pt x="1042" y="1767"/>
                  </a:lnTo>
                  <a:lnTo>
                    <a:pt x="1044" y="1767"/>
                  </a:lnTo>
                  <a:lnTo>
                    <a:pt x="1046" y="1767"/>
                  </a:lnTo>
                  <a:lnTo>
                    <a:pt x="1048" y="1767"/>
                  </a:lnTo>
                  <a:lnTo>
                    <a:pt x="1050" y="1767"/>
                  </a:lnTo>
                  <a:lnTo>
                    <a:pt x="1052" y="1767"/>
                  </a:lnTo>
                  <a:lnTo>
                    <a:pt x="1054" y="1767"/>
                  </a:lnTo>
                  <a:lnTo>
                    <a:pt x="1056" y="1766"/>
                  </a:lnTo>
                  <a:lnTo>
                    <a:pt x="1054" y="1764"/>
                  </a:lnTo>
                  <a:lnTo>
                    <a:pt x="1054" y="1762"/>
                  </a:lnTo>
                  <a:lnTo>
                    <a:pt x="1054" y="1764"/>
                  </a:lnTo>
                  <a:lnTo>
                    <a:pt x="1052" y="1764"/>
                  </a:lnTo>
                  <a:lnTo>
                    <a:pt x="1052" y="1762"/>
                  </a:lnTo>
                  <a:lnTo>
                    <a:pt x="1052" y="1764"/>
                  </a:lnTo>
                  <a:lnTo>
                    <a:pt x="1050" y="1764"/>
                  </a:lnTo>
                  <a:lnTo>
                    <a:pt x="1048" y="1766"/>
                  </a:lnTo>
                  <a:lnTo>
                    <a:pt x="1046" y="1766"/>
                  </a:lnTo>
                  <a:lnTo>
                    <a:pt x="1044" y="1766"/>
                  </a:lnTo>
                  <a:lnTo>
                    <a:pt x="1044" y="1764"/>
                  </a:lnTo>
                  <a:lnTo>
                    <a:pt x="1046" y="1764"/>
                  </a:lnTo>
                  <a:lnTo>
                    <a:pt x="1048" y="1762"/>
                  </a:lnTo>
                  <a:lnTo>
                    <a:pt x="1050" y="1762"/>
                  </a:lnTo>
                  <a:lnTo>
                    <a:pt x="1050" y="1760"/>
                  </a:lnTo>
                  <a:lnTo>
                    <a:pt x="1052" y="1760"/>
                  </a:lnTo>
                  <a:lnTo>
                    <a:pt x="1054" y="1760"/>
                  </a:lnTo>
                  <a:lnTo>
                    <a:pt x="1056" y="1760"/>
                  </a:lnTo>
                  <a:lnTo>
                    <a:pt x="1056" y="1762"/>
                  </a:lnTo>
                  <a:lnTo>
                    <a:pt x="1058" y="1762"/>
                  </a:lnTo>
                  <a:lnTo>
                    <a:pt x="1058" y="1760"/>
                  </a:lnTo>
                  <a:lnTo>
                    <a:pt x="1056" y="1760"/>
                  </a:lnTo>
                  <a:lnTo>
                    <a:pt x="1054" y="1758"/>
                  </a:lnTo>
                  <a:lnTo>
                    <a:pt x="1056" y="1758"/>
                  </a:lnTo>
                  <a:lnTo>
                    <a:pt x="1058" y="1758"/>
                  </a:lnTo>
                  <a:lnTo>
                    <a:pt x="1060" y="1760"/>
                  </a:lnTo>
                  <a:lnTo>
                    <a:pt x="1062" y="1762"/>
                  </a:lnTo>
                  <a:lnTo>
                    <a:pt x="1063" y="1764"/>
                  </a:lnTo>
                  <a:lnTo>
                    <a:pt x="1063" y="1762"/>
                  </a:lnTo>
                  <a:lnTo>
                    <a:pt x="1062" y="1762"/>
                  </a:lnTo>
                  <a:lnTo>
                    <a:pt x="1062" y="1760"/>
                  </a:lnTo>
                  <a:lnTo>
                    <a:pt x="1060" y="1760"/>
                  </a:lnTo>
                  <a:lnTo>
                    <a:pt x="1060" y="1758"/>
                  </a:lnTo>
                  <a:lnTo>
                    <a:pt x="1058" y="1758"/>
                  </a:lnTo>
                  <a:lnTo>
                    <a:pt x="1058" y="1756"/>
                  </a:lnTo>
                  <a:lnTo>
                    <a:pt x="1058" y="1758"/>
                  </a:lnTo>
                  <a:lnTo>
                    <a:pt x="1056" y="1756"/>
                  </a:lnTo>
                  <a:lnTo>
                    <a:pt x="1058" y="1756"/>
                  </a:lnTo>
                  <a:lnTo>
                    <a:pt x="1060" y="1754"/>
                  </a:lnTo>
                  <a:lnTo>
                    <a:pt x="1062" y="1752"/>
                  </a:lnTo>
                  <a:lnTo>
                    <a:pt x="1063" y="1750"/>
                  </a:lnTo>
                  <a:lnTo>
                    <a:pt x="1065" y="1750"/>
                  </a:lnTo>
                  <a:lnTo>
                    <a:pt x="1065" y="1752"/>
                  </a:lnTo>
                  <a:lnTo>
                    <a:pt x="1065" y="1754"/>
                  </a:lnTo>
                  <a:lnTo>
                    <a:pt x="1065" y="1756"/>
                  </a:lnTo>
                  <a:lnTo>
                    <a:pt x="1065" y="1758"/>
                  </a:lnTo>
                  <a:lnTo>
                    <a:pt x="1067" y="1758"/>
                  </a:lnTo>
                  <a:lnTo>
                    <a:pt x="1067" y="1756"/>
                  </a:lnTo>
                  <a:lnTo>
                    <a:pt x="1065" y="1754"/>
                  </a:lnTo>
                  <a:lnTo>
                    <a:pt x="1065" y="1752"/>
                  </a:lnTo>
                  <a:lnTo>
                    <a:pt x="1067" y="1752"/>
                  </a:lnTo>
                  <a:lnTo>
                    <a:pt x="1069" y="1754"/>
                  </a:lnTo>
                  <a:lnTo>
                    <a:pt x="1071" y="1754"/>
                  </a:lnTo>
                  <a:lnTo>
                    <a:pt x="1069" y="1756"/>
                  </a:lnTo>
                  <a:lnTo>
                    <a:pt x="1071" y="1756"/>
                  </a:lnTo>
                  <a:lnTo>
                    <a:pt x="1071" y="1758"/>
                  </a:lnTo>
                  <a:lnTo>
                    <a:pt x="1071" y="1760"/>
                  </a:lnTo>
                  <a:lnTo>
                    <a:pt x="1071" y="1762"/>
                  </a:lnTo>
                  <a:lnTo>
                    <a:pt x="1071" y="1764"/>
                  </a:lnTo>
                  <a:lnTo>
                    <a:pt x="1071" y="1766"/>
                  </a:lnTo>
                  <a:lnTo>
                    <a:pt x="1069" y="1764"/>
                  </a:lnTo>
                  <a:lnTo>
                    <a:pt x="1069" y="1762"/>
                  </a:lnTo>
                  <a:lnTo>
                    <a:pt x="1069" y="1760"/>
                  </a:lnTo>
                  <a:lnTo>
                    <a:pt x="1067" y="1760"/>
                  </a:lnTo>
                  <a:lnTo>
                    <a:pt x="1069" y="1762"/>
                  </a:lnTo>
                  <a:lnTo>
                    <a:pt x="1069" y="1764"/>
                  </a:lnTo>
                  <a:lnTo>
                    <a:pt x="1071" y="1766"/>
                  </a:lnTo>
                  <a:lnTo>
                    <a:pt x="1071" y="1767"/>
                  </a:lnTo>
                  <a:lnTo>
                    <a:pt x="1071" y="1769"/>
                  </a:lnTo>
                  <a:lnTo>
                    <a:pt x="1071" y="1771"/>
                  </a:lnTo>
                  <a:lnTo>
                    <a:pt x="1073" y="1771"/>
                  </a:lnTo>
                  <a:lnTo>
                    <a:pt x="1073" y="1773"/>
                  </a:lnTo>
                  <a:lnTo>
                    <a:pt x="1075" y="1773"/>
                  </a:lnTo>
                  <a:lnTo>
                    <a:pt x="1075" y="1775"/>
                  </a:lnTo>
                  <a:lnTo>
                    <a:pt x="1077" y="1775"/>
                  </a:lnTo>
                  <a:lnTo>
                    <a:pt x="1079" y="1775"/>
                  </a:lnTo>
                  <a:lnTo>
                    <a:pt x="1081" y="1775"/>
                  </a:lnTo>
                  <a:lnTo>
                    <a:pt x="1083" y="1775"/>
                  </a:lnTo>
                  <a:lnTo>
                    <a:pt x="1085" y="1775"/>
                  </a:lnTo>
                  <a:lnTo>
                    <a:pt x="1086" y="1775"/>
                  </a:lnTo>
                  <a:lnTo>
                    <a:pt x="1094" y="1773"/>
                  </a:lnTo>
                  <a:lnTo>
                    <a:pt x="1096" y="1771"/>
                  </a:lnTo>
                  <a:lnTo>
                    <a:pt x="1096" y="1769"/>
                  </a:lnTo>
                  <a:lnTo>
                    <a:pt x="1094" y="1767"/>
                  </a:lnTo>
                  <a:lnTo>
                    <a:pt x="1092" y="1767"/>
                  </a:lnTo>
                  <a:lnTo>
                    <a:pt x="1090" y="1769"/>
                  </a:lnTo>
                  <a:lnTo>
                    <a:pt x="1088" y="1769"/>
                  </a:lnTo>
                  <a:lnTo>
                    <a:pt x="1086" y="1771"/>
                  </a:lnTo>
                  <a:lnTo>
                    <a:pt x="1085" y="1771"/>
                  </a:lnTo>
                  <a:lnTo>
                    <a:pt x="1083" y="1771"/>
                  </a:lnTo>
                  <a:lnTo>
                    <a:pt x="1081" y="1771"/>
                  </a:lnTo>
                  <a:lnTo>
                    <a:pt x="1081" y="1769"/>
                  </a:lnTo>
                  <a:lnTo>
                    <a:pt x="1079" y="1769"/>
                  </a:lnTo>
                  <a:lnTo>
                    <a:pt x="1079" y="1767"/>
                  </a:lnTo>
                  <a:lnTo>
                    <a:pt x="1079" y="1766"/>
                  </a:lnTo>
                  <a:lnTo>
                    <a:pt x="1077" y="1766"/>
                  </a:lnTo>
                  <a:lnTo>
                    <a:pt x="1077" y="1764"/>
                  </a:lnTo>
                  <a:lnTo>
                    <a:pt x="1077" y="1766"/>
                  </a:lnTo>
                  <a:lnTo>
                    <a:pt x="1077" y="1764"/>
                  </a:lnTo>
                  <a:lnTo>
                    <a:pt x="1077" y="1762"/>
                  </a:lnTo>
                  <a:lnTo>
                    <a:pt x="1077" y="1760"/>
                  </a:lnTo>
                  <a:lnTo>
                    <a:pt x="1075" y="1758"/>
                  </a:lnTo>
                  <a:lnTo>
                    <a:pt x="1077" y="1756"/>
                  </a:lnTo>
                  <a:lnTo>
                    <a:pt x="1075" y="1756"/>
                  </a:lnTo>
                  <a:lnTo>
                    <a:pt x="1075" y="1754"/>
                  </a:lnTo>
                  <a:lnTo>
                    <a:pt x="1073" y="1752"/>
                  </a:lnTo>
                  <a:lnTo>
                    <a:pt x="1071" y="1750"/>
                  </a:lnTo>
                  <a:lnTo>
                    <a:pt x="1071" y="1748"/>
                  </a:lnTo>
                  <a:lnTo>
                    <a:pt x="1069" y="1748"/>
                  </a:lnTo>
                  <a:lnTo>
                    <a:pt x="1067" y="1746"/>
                  </a:lnTo>
                  <a:lnTo>
                    <a:pt x="1065" y="1746"/>
                  </a:lnTo>
                  <a:lnTo>
                    <a:pt x="1063" y="1744"/>
                  </a:lnTo>
                  <a:lnTo>
                    <a:pt x="1062" y="1744"/>
                  </a:lnTo>
                  <a:lnTo>
                    <a:pt x="1060" y="1744"/>
                  </a:lnTo>
                  <a:lnTo>
                    <a:pt x="1058" y="1746"/>
                  </a:lnTo>
                  <a:lnTo>
                    <a:pt x="1058" y="1744"/>
                  </a:lnTo>
                  <a:lnTo>
                    <a:pt x="1058" y="1746"/>
                  </a:lnTo>
                  <a:lnTo>
                    <a:pt x="1056" y="1746"/>
                  </a:lnTo>
                  <a:lnTo>
                    <a:pt x="1054" y="1746"/>
                  </a:lnTo>
                  <a:lnTo>
                    <a:pt x="1054" y="1748"/>
                  </a:lnTo>
                  <a:lnTo>
                    <a:pt x="1052" y="1750"/>
                  </a:lnTo>
                  <a:lnTo>
                    <a:pt x="1050" y="1750"/>
                  </a:lnTo>
                  <a:lnTo>
                    <a:pt x="1050" y="1752"/>
                  </a:lnTo>
                  <a:lnTo>
                    <a:pt x="1048" y="1752"/>
                  </a:lnTo>
                  <a:lnTo>
                    <a:pt x="1048" y="1754"/>
                  </a:lnTo>
                  <a:lnTo>
                    <a:pt x="1046" y="1754"/>
                  </a:lnTo>
                  <a:lnTo>
                    <a:pt x="1046" y="1756"/>
                  </a:lnTo>
                  <a:lnTo>
                    <a:pt x="1044" y="1758"/>
                  </a:lnTo>
                  <a:lnTo>
                    <a:pt x="1044" y="1760"/>
                  </a:lnTo>
                  <a:lnTo>
                    <a:pt x="1042" y="1760"/>
                  </a:lnTo>
                  <a:lnTo>
                    <a:pt x="1042" y="1762"/>
                  </a:lnTo>
                  <a:lnTo>
                    <a:pt x="1040" y="1762"/>
                  </a:lnTo>
                  <a:lnTo>
                    <a:pt x="1040" y="1764"/>
                  </a:lnTo>
                  <a:lnTo>
                    <a:pt x="1038" y="1764"/>
                  </a:lnTo>
                  <a:lnTo>
                    <a:pt x="1037" y="1764"/>
                  </a:lnTo>
                  <a:lnTo>
                    <a:pt x="1037" y="1766"/>
                  </a:lnTo>
                  <a:lnTo>
                    <a:pt x="1033" y="1766"/>
                  </a:lnTo>
                  <a:lnTo>
                    <a:pt x="1033" y="1767"/>
                  </a:lnTo>
                  <a:lnTo>
                    <a:pt x="1031" y="1766"/>
                  </a:lnTo>
                  <a:lnTo>
                    <a:pt x="1029" y="1762"/>
                  </a:lnTo>
                  <a:lnTo>
                    <a:pt x="1029" y="1760"/>
                  </a:lnTo>
                  <a:lnTo>
                    <a:pt x="1027" y="1762"/>
                  </a:lnTo>
                  <a:lnTo>
                    <a:pt x="1029" y="1767"/>
                  </a:lnTo>
                  <a:lnTo>
                    <a:pt x="1027" y="1767"/>
                  </a:lnTo>
                  <a:lnTo>
                    <a:pt x="1027" y="1764"/>
                  </a:lnTo>
                  <a:lnTo>
                    <a:pt x="1025" y="1764"/>
                  </a:lnTo>
                  <a:lnTo>
                    <a:pt x="1025" y="1766"/>
                  </a:lnTo>
                  <a:lnTo>
                    <a:pt x="1025" y="1767"/>
                  </a:lnTo>
                  <a:lnTo>
                    <a:pt x="1023" y="1767"/>
                  </a:lnTo>
                  <a:lnTo>
                    <a:pt x="1021" y="1767"/>
                  </a:lnTo>
                  <a:lnTo>
                    <a:pt x="1019" y="1767"/>
                  </a:lnTo>
                  <a:lnTo>
                    <a:pt x="1021" y="1767"/>
                  </a:lnTo>
                  <a:lnTo>
                    <a:pt x="1021" y="1766"/>
                  </a:lnTo>
                  <a:lnTo>
                    <a:pt x="1023" y="1766"/>
                  </a:lnTo>
                  <a:lnTo>
                    <a:pt x="1023" y="1764"/>
                  </a:lnTo>
                  <a:lnTo>
                    <a:pt x="1023" y="1766"/>
                  </a:lnTo>
                  <a:lnTo>
                    <a:pt x="1015" y="1766"/>
                  </a:lnTo>
                  <a:lnTo>
                    <a:pt x="1014" y="1766"/>
                  </a:lnTo>
                  <a:lnTo>
                    <a:pt x="1012" y="1766"/>
                  </a:lnTo>
                  <a:lnTo>
                    <a:pt x="1010" y="1764"/>
                  </a:lnTo>
                  <a:lnTo>
                    <a:pt x="1008" y="1764"/>
                  </a:lnTo>
                  <a:lnTo>
                    <a:pt x="1006" y="1764"/>
                  </a:lnTo>
                  <a:lnTo>
                    <a:pt x="1004" y="1762"/>
                  </a:lnTo>
                  <a:lnTo>
                    <a:pt x="1002" y="1762"/>
                  </a:lnTo>
                  <a:lnTo>
                    <a:pt x="1008" y="1760"/>
                  </a:lnTo>
                  <a:lnTo>
                    <a:pt x="1006" y="1758"/>
                  </a:lnTo>
                  <a:lnTo>
                    <a:pt x="1006" y="1760"/>
                  </a:lnTo>
                  <a:lnTo>
                    <a:pt x="1000" y="1762"/>
                  </a:lnTo>
                  <a:lnTo>
                    <a:pt x="998" y="1762"/>
                  </a:lnTo>
                  <a:lnTo>
                    <a:pt x="1002" y="1760"/>
                  </a:lnTo>
                  <a:lnTo>
                    <a:pt x="1002" y="1758"/>
                  </a:lnTo>
                  <a:lnTo>
                    <a:pt x="1000" y="1758"/>
                  </a:lnTo>
                  <a:lnTo>
                    <a:pt x="994" y="1762"/>
                  </a:lnTo>
                  <a:lnTo>
                    <a:pt x="994" y="1760"/>
                  </a:lnTo>
                  <a:lnTo>
                    <a:pt x="998" y="1758"/>
                  </a:lnTo>
                  <a:lnTo>
                    <a:pt x="1000" y="1758"/>
                  </a:lnTo>
                  <a:lnTo>
                    <a:pt x="1000" y="1756"/>
                  </a:lnTo>
                  <a:lnTo>
                    <a:pt x="998" y="1756"/>
                  </a:lnTo>
                  <a:lnTo>
                    <a:pt x="998" y="1758"/>
                  </a:lnTo>
                  <a:lnTo>
                    <a:pt x="998" y="1756"/>
                  </a:lnTo>
                  <a:lnTo>
                    <a:pt x="996" y="1758"/>
                  </a:lnTo>
                  <a:lnTo>
                    <a:pt x="994" y="1758"/>
                  </a:lnTo>
                  <a:lnTo>
                    <a:pt x="994" y="1760"/>
                  </a:lnTo>
                  <a:lnTo>
                    <a:pt x="992" y="1760"/>
                  </a:lnTo>
                  <a:lnTo>
                    <a:pt x="992" y="1762"/>
                  </a:lnTo>
                  <a:lnTo>
                    <a:pt x="990" y="1762"/>
                  </a:lnTo>
                  <a:lnTo>
                    <a:pt x="989" y="1762"/>
                  </a:lnTo>
                  <a:lnTo>
                    <a:pt x="987" y="1762"/>
                  </a:lnTo>
                  <a:lnTo>
                    <a:pt x="990" y="1754"/>
                  </a:lnTo>
                  <a:lnTo>
                    <a:pt x="992" y="1752"/>
                  </a:lnTo>
                  <a:lnTo>
                    <a:pt x="994" y="1750"/>
                  </a:lnTo>
                  <a:lnTo>
                    <a:pt x="992" y="1750"/>
                  </a:lnTo>
                  <a:lnTo>
                    <a:pt x="990" y="1752"/>
                  </a:lnTo>
                  <a:lnTo>
                    <a:pt x="989" y="1756"/>
                  </a:lnTo>
                  <a:lnTo>
                    <a:pt x="987" y="1754"/>
                  </a:lnTo>
                  <a:lnTo>
                    <a:pt x="990" y="1748"/>
                  </a:lnTo>
                  <a:lnTo>
                    <a:pt x="989" y="1748"/>
                  </a:lnTo>
                  <a:lnTo>
                    <a:pt x="989" y="1750"/>
                  </a:lnTo>
                  <a:lnTo>
                    <a:pt x="987" y="1752"/>
                  </a:lnTo>
                  <a:lnTo>
                    <a:pt x="987" y="1750"/>
                  </a:lnTo>
                  <a:lnTo>
                    <a:pt x="987" y="1748"/>
                  </a:lnTo>
                  <a:lnTo>
                    <a:pt x="985" y="1748"/>
                  </a:lnTo>
                  <a:lnTo>
                    <a:pt x="985" y="1750"/>
                  </a:lnTo>
                  <a:lnTo>
                    <a:pt x="985" y="1752"/>
                  </a:lnTo>
                  <a:lnTo>
                    <a:pt x="987" y="1756"/>
                  </a:lnTo>
                  <a:lnTo>
                    <a:pt x="987" y="1758"/>
                  </a:lnTo>
                  <a:lnTo>
                    <a:pt x="987" y="1760"/>
                  </a:lnTo>
                  <a:lnTo>
                    <a:pt x="983" y="1764"/>
                  </a:lnTo>
                  <a:lnTo>
                    <a:pt x="981" y="1764"/>
                  </a:lnTo>
                  <a:lnTo>
                    <a:pt x="979" y="1764"/>
                  </a:lnTo>
                  <a:lnTo>
                    <a:pt x="977" y="1764"/>
                  </a:lnTo>
                  <a:lnTo>
                    <a:pt x="975" y="1766"/>
                  </a:lnTo>
                  <a:lnTo>
                    <a:pt x="973" y="1766"/>
                  </a:lnTo>
                  <a:lnTo>
                    <a:pt x="971" y="1766"/>
                  </a:lnTo>
                  <a:lnTo>
                    <a:pt x="971" y="1762"/>
                  </a:lnTo>
                  <a:lnTo>
                    <a:pt x="971" y="1760"/>
                  </a:lnTo>
                  <a:lnTo>
                    <a:pt x="971" y="1758"/>
                  </a:lnTo>
                  <a:lnTo>
                    <a:pt x="969" y="1758"/>
                  </a:lnTo>
                  <a:lnTo>
                    <a:pt x="967" y="1758"/>
                  </a:lnTo>
                  <a:lnTo>
                    <a:pt x="964" y="1756"/>
                  </a:lnTo>
                  <a:lnTo>
                    <a:pt x="962" y="1756"/>
                  </a:lnTo>
                  <a:lnTo>
                    <a:pt x="960" y="1758"/>
                  </a:lnTo>
                  <a:lnTo>
                    <a:pt x="962" y="1758"/>
                  </a:lnTo>
                  <a:lnTo>
                    <a:pt x="964" y="1760"/>
                  </a:lnTo>
                  <a:lnTo>
                    <a:pt x="966" y="1760"/>
                  </a:lnTo>
                  <a:lnTo>
                    <a:pt x="967" y="1762"/>
                  </a:lnTo>
                  <a:lnTo>
                    <a:pt x="967" y="1766"/>
                  </a:lnTo>
                  <a:lnTo>
                    <a:pt x="967" y="1767"/>
                  </a:lnTo>
                  <a:lnTo>
                    <a:pt x="966" y="1767"/>
                  </a:lnTo>
                  <a:lnTo>
                    <a:pt x="964" y="1767"/>
                  </a:lnTo>
                  <a:lnTo>
                    <a:pt x="962" y="1766"/>
                  </a:lnTo>
                  <a:lnTo>
                    <a:pt x="960" y="1766"/>
                  </a:lnTo>
                  <a:lnTo>
                    <a:pt x="958" y="1766"/>
                  </a:lnTo>
                  <a:lnTo>
                    <a:pt x="958" y="1764"/>
                  </a:lnTo>
                  <a:lnTo>
                    <a:pt x="958" y="1762"/>
                  </a:lnTo>
                  <a:lnTo>
                    <a:pt x="958" y="1760"/>
                  </a:lnTo>
                  <a:lnTo>
                    <a:pt x="956" y="1758"/>
                  </a:lnTo>
                  <a:lnTo>
                    <a:pt x="956" y="1754"/>
                  </a:lnTo>
                  <a:lnTo>
                    <a:pt x="954" y="1752"/>
                  </a:lnTo>
                  <a:lnTo>
                    <a:pt x="952" y="1752"/>
                  </a:lnTo>
                  <a:lnTo>
                    <a:pt x="954" y="1754"/>
                  </a:lnTo>
                  <a:lnTo>
                    <a:pt x="954" y="1758"/>
                  </a:lnTo>
                  <a:lnTo>
                    <a:pt x="954" y="1760"/>
                  </a:lnTo>
                  <a:lnTo>
                    <a:pt x="952" y="1760"/>
                  </a:lnTo>
                  <a:lnTo>
                    <a:pt x="952" y="1762"/>
                  </a:lnTo>
                  <a:lnTo>
                    <a:pt x="954" y="1762"/>
                  </a:lnTo>
                  <a:lnTo>
                    <a:pt x="954" y="1764"/>
                  </a:lnTo>
                  <a:lnTo>
                    <a:pt x="956" y="1764"/>
                  </a:lnTo>
                  <a:lnTo>
                    <a:pt x="950" y="1762"/>
                  </a:lnTo>
                  <a:lnTo>
                    <a:pt x="948" y="1762"/>
                  </a:lnTo>
                  <a:lnTo>
                    <a:pt x="948" y="1760"/>
                  </a:lnTo>
                  <a:lnTo>
                    <a:pt x="946" y="1760"/>
                  </a:lnTo>
                  <a:lnTo>
                    <a:pt x="946" y="1762"/>
                  </a:lnTo>
                  <a:lnTo>
                    <a:pt x="944" y="1762"/>
                  </a:lnTo>
                  <a:lnTo>
                    <a:pt x="943" y="1762"/>
                  </a:lnTo>
                  <a:lnTo>
                    <a:pt x="943" y="1760"/>
                  </a:lnTo>
                  <a:lnTo>
                    <a:pt x="943" y="1758"/>
                  </a:lnTo>
                  <a:lnTo>
                    <a:pt x="944" y="1758"/>
                  </a:lnTo>
                  <a:lnTo>
                    <a:pt x="943" y="1752"/>
                  </a:lnTo>
                  <a:lnTo>
                    <a:pt x="941" y="1750"/>
                  </a:lnTo>
                  <a:lnTo>
                    <a:pt x="941" y="1752"/>
                  </a:lnTo>
                  <a:lnTo>
                    <a:pt x="941" y="1756"/>
                  </a:lnTo>
                  <a:lnTo>
                    <a:pt x="941" y="1758"/>
                  </a:lnTo>
                  <a:lnTo>
                    <a:pt x="941" y="1760"/>
                  </a:lnTo>
                  <a:lnTo>
                    <a:pt x="943" y="1760"/>
                  </a:lnTo>
                  <a:lnTo>
                    <a:pt x="941" y="1760"/>
                  </a:lnTo>
                  <a:lnTo>
                    <a:pt x="937" y="1760"/>
                  </a:lnTo>
                  <a:lnTo>
                    <a:pt x="935" y="1760"/>
                  </a:lnTo>
                  <a:lnTo>
                    <a:pt x="935" y="1758"/>
                  </a:lnTo>
                  <a:lnTo>
                    <a:pt x="937" y="1756"/>
                  </a:lnTo>
                  <a:lnTo>
                    <a:pt x="937" y="1754"/>
                  </a:lnTo>
                  <a:lnTo>
                    <a:pt x="929" y="1758"/>
                  </a:lnTo>
                  <a:lnTo>
                    <a:pt x="933" y="1758"/>
                  </a:lnTo>
                  <a:lnTo>
                    <a:pt x="933" y="1762"/>
                  </a:lnTo>
                  <a:lnTo>
                    <a:pt x="931" y="1762"/>
                  </a:lnTo>
                  <a:lnTo>
                    <a:pt x="929" y="1762"/>
                  </a:lnTo>
                  <a:lnTo>
                    <a:pt x="927" y="1762"/>
                  </a:lnTo>
                  <a:lnTo>
                    <a:pt x="927" y="1764"/>
                  </a:lnTo>
                  <a:lnTo>
                    <a:pt x="927" y="1762"/>
                  </a:lnTo>
                  <a:lnTo>
                    <a:pt x="927" y="1764"/>
                  </a:lnTo>
                  <a:lnTo>
                    <a:pt x="925" y="1764"/>
                  </a:lnTo>
                  <a:lnTo>
                    <a:pt x="923" y="1764"/>
                  </a:lnTo>
                  <a:lnTo>
                    <a:pt x="921" y="1764"/>
                  </a:lnTo>
                  <a:lnTo>
                    <a:pt x="921" y="1766"/>
                  </a:lnTo>
                  <a:lnTo>
                    <a:pt x="919" y="1766"/>
                  </a:lnTo>
                  <a:lnTo>
                    <a:pt x="916" y="1766"/>
                  </a:lnTo>
                  <a:lnTo>
                    <a:pt x="914" y="1766"/>
                  </a:lnTo>
                  <a:lnTo>
                    <a:pt x="910" y="1766"/>
                  </a:lnTo>
                  <a:lnTo>
                    <a:pt x="908" y="1766"/>
                  </a:lnTo>
                  <a:lnTo>
                    <a:pt x="906" y="1766"/>
                  </a:lnTo>
                  <a:lnTo>
                    <a:pt x="906" y="1762"/>
                  </a:lnTo>
                  <a:lnTo>
                    <a:pt x="906" y="1760"/>
                  </a:lnTo>
                  <a:lnTo>
                    <a:pt x="906" y="1762"/>
                  </a:lnTo>
                  <a:lnTo>
                    <a:pt x="906" y="1764"/>
                  </a:lnTo>
                  <a:lnTo>
                    <a:pt x="906" y="1766"/>
                  </a:lnTo>
                  <a:lnTo>
                    <a:pt x="902" y="1764"/>
                  </a:lnTo>
                  <a:lnTo>
                    <a:pt x="900" y="1764"/>
                  </a:lnTo>
                  <a:lnTo>
                    <a:pt x="898" y="1764"/>
                  </a:lnTo>
                  <a:lnTo>
                    <a:pt x="896" y="1764"/>
                  </a:lnTo>
                  <a:lnTo>
                    <a:pt x="895" y="1762"/>
                  </a:lnTo>
                  <a:lnTo>
                    <a:pt x="895" y="1760"/>
                  </a:lnTo>
                  <a:lnTo>
                    <a:pt x="895" y="1762"/>
                  </a:lnTo>
                  <a:lnTo>
                    <a:pt x="893" y="1762"/>
                  </a:lnTo>
                  <a:lnTo>
                    <a:pt x="889" y="1762"/>
                  </a:lnTo>
                  <a:lnTo>
                    <a:pt x="889" y="1760"/>
                  </a:lnTo>
                  <a:lnTo>
                    <a:pt x="883" y="1760"/>
                  </a:lnTo>
                  <a:lnTo>
                    <a:pt x="879" y="1758"/>
                  </a:lnTo>
                  <a:lnTo>
                    <a:pt x="877" y="1758"/>
                  </a:lnTo>
                  <a:lnTo>
                    <a:pt x="875" y="1756"/>
                  </a:lnTo>
                  <a:lnTo>
                    <a:pt x="875" y="1754"/>
                  </a:lnTo>
                  <a:lnTo>
                    <a:pt x="868" y="1748"/>
                  </a:lnTo>
                  <a:lnTo>
                    <a:pt x="864" y="1748"/>
                  </a:lnTo>
                  <a:lnTo>
                    <a:pt x="862" y="1746"/>
                  </a:lnTo>
                  <a:lnTo>
                    <a:pt x="854" y="1743"/>
                  </a:lnTo>
                  <a:lnTo>
                    <a:pt x="854" y="1741"/>
                  </a:lnTo>
                  <a:lnTo>
                    <a:pt x="852" y="1741"/>
                  </a:lnTo>
                  <a:lnTo>
                    <a:pt x="852" y="1739"/>
                  </a:lnTo>
                  <a:lnTo>
                    <a:pt x="850" y="1739"/>
                  </a:lnTo>
                  <a:lnTo>
                    <a:pt x="848" y="1737"/>
                  </a:lnTo>
                  <a:lnTo>
                    <a:pt x="845" y="1735"/>
                  </a:lnTo>
                  <a:lnTo>
                    <a:pt x="843" y="1733"/>
                  </a:lnTo>
                  <a:lnTo>
                    <a:pt x="841" y="1733"/>
                  </a:lnTo>
                  <a:lnTo>
                    <a:pt x="841" y="1731"/>
                  </a:lnTo>
                  <a:lnTo>
                    <a:pt x="839" y="1731"/>
                  </a:lnTo>
                  <a:lnTo>
                    <a:pt x="839" y="1729"/>
                  </a:lnTo>
                  <a:lnTo>
                    <a:pt x="837" y="1727"/>
                  </a:lnTo>
                  <a:lnTo>
                    <a:pt x="835" y="1727"/>
                  </a:lnTo>
                  <a:lnTo>
                    <a:pt x="835" y="1725"/>
                  </a:lnTo>
                  <a:lnTo>
                    <a:pt x="833" y="1723"/>
                  </a:lnTo>
                  <a:lnTo>
                    <a:pt x="831" y="1719"/>
                  </a:lnTo>
                  <a:lnTo>
                    <a:pt x="831" y="1718"/>
                  </a:lnTo>
                  <a:lnTo>
                    <a:pt x="829" y="1718"/>
                  </a:lnTo>
                  <a:lnTo>
                    <a:pt x="829" y="1716"/>
                  </a:lnTo>
                  <a:lnTo>
                    <a:pt x="827" y="1714"/>
                  </a:lnTo>
                  <a:lnTo>
                    <a:pt x="825" y="1712"/>
                  </a:lnTo>
                  <a:lnTo>
                    <a:pt x="824" y="1708"/>
                  </a:lnTo>
                  <a:lnTo>
                    <a:pt x="822" y="1708"/>
                  </a:lnTo>
                  <a:lnTo>
                    <a:pt x="822" y="1706"/>
                  </a:lnTo>
                  <a:lnTo>
                    <a:pt x="820" y="1704"/>
                  </a:lnTo>
                  <a:lnTo>
                    <a:pt x="818" y="1702"/>
                  </a:lnTo>
                  <a:lnTo>
                    <a:pt x="814" y="1700"/>
                  </a:lnTo>
                  <a:lnTo>
                    <a:pt x="810" y="1698"/>
                  </a:lnTo>
                  <a:lnTo>
                    <a:pt x="806" y="1695"/>
                  </a:lnTo>
                  <a:lnTo>
                    <a:pt x="800" y="1693"/>
                  </a:lnTo>
                  <a:lnTo>
                    <a:pt x="795" y="1687"/>
                  </a:lnTo>
                  <a:lnTo>
                    <a:pt x="791" y="1683"/>
                  </a:lnTo>
                  <a:lnTo>
                    <a:pt x="789" y="1681"/>
                  </a:lnTo>
                  <a:lnTo>
                    <a:pt x="787" y="1679"/>
                  </a:lnTo>
                  <a:lnTo>
                    <a:pt x="781" y="1673"/>
                  </a:lnTo>
                  <a:lnTo>
                    <a:pt x="779" y="1673"/>
                  </a:lnTo>
                  <a:lnTo>
                    <a:pt x="776" y="1670"/>
                  </a:lnTo>
                  <a:lnTo>
                    <a:pt x="776" y="1668"/>
                  </a:lnTo>
                  <a:lnTo>
                    <a:pt x="768" y="1660"/>
                  </a:lnTo>
                  <a:lnTo>
                    <a:pt x="762" y="1654"/>
                  </a:lnTo>
                  <a:lnTo>
                    <a:pt x="758" y="1652"/>
                  </a:lnTo>
                  <a:lnTo>
                    <a:pt x="758" y="1650"/>
                  </a:lnTo>
                  <a:lnTo>
                    <a:pt x="754" y="1648"/>
                  </a:lnTo>
                  <a:lnTo>
                    <a:pt x="754" y="1646"/>
                  </a:lnTo>
                  <a:lnTo>
                    <a:pt x="753" y="1646"/>
                  </a:lnTo>
                  <a:lnTo>
                    <a:pt x="751" y="1646"/>
                  </a:lnTo>
                  <a:lnTo>
                    <a:pt x="751" y="1645"/>
                  </a:lnTo>
                  <a:lnTo>
                    <a:pt x="749" y="1645"/>
                  </a:lnTo>
                  <a:lnTo>
                    <a:pt x="747" y="1643"/>
                  </a:lnTo>
                  <a:lnTo>
                    <a:pt x="749" y="1643"/>
                  </a:lnTo>
                  <a:lnTo>
                    <a:pt x="747" y="1643"/>
                  </a:lnTo>
                  <a:lnTo>
                    <a:pt x="745" y="1641"/>
                  </a:lnTo>
                  <a:lnTo>
                    <a:pt x="743" y="1641"/>
                  </a:lnTo>
                  <a:lnTo>
                    <a:pt x="743" y="1639"/>
                  </a:lnTo>
                  <a:lnTo>
                    <a:pt x="741" y="1639"/>
                  </a:lnTo>
                  <a:lnTo>
                    <a:pt x="739" y="1637"/>
                  </a:lnTo>
                  <a:lnTo>
                    <a:pt x="737" y="1637"/>
                  </a:lnTo>
                  <a:lnTo>
                    <a:pt x="731" y="1633"/>
                  </a:lnTo>
                  <a:lnTo>
                    <a:pt x="729" y="1631"/>
                  </a:lnTo>
                  <a:lnTo>
                    <a:pt x="720" y="1627"/>
                  </a:lnTo>
                  <a:lnTo>
                    <a:pt x="720" y="1625"/>
                  </a:lnTo>
                  <a:lnTo>
                    <a:pt x="724" y="1623"/>
                  </a:lnTo>
                  <a:lnTo>
                    <a:pt x="726" y="1622"/>
                  </a:lnTo>
                  <a:lnTo>
                    <a:pt x="731" y="1618"/>
                  </a:lnTo>
                  <a:lnTo>
                    <a:pt x="733" y="1618"/>
                  </a:lnTo>
                  <a:lnTo>
                    <a:pt x="733" y="1616"/>
                  </a:lnTo>
                  <a:lnTo>
                    <a:pt x="735" y="1614"/>
                  </a:lnTo>
                  <a:lnTo>
                    <a:pt x="737" y="1614"/>
                  </a:lnTo>
                  <a:lnTo>
                    <a:pt x="739" y="1612"/>
                  </a:lnTo>
                  <a:lnTo>
                    <a:pt x="739" y="1610"/>
                  </a:lnTo>
                  <a:lnTo>
                    <a:pt x="741" y="1610"/>
                  </a:lnTo>
                  <a:lnTo>
                    <a:pt x="743" y="1608"/>
                  </a:lnTo>
                  <a:lnTo>
                    <a:pt x="745" y="1606"/>
                  </a:lnTo>
                  <a:lnTo>
                    <a:pt x="747" y="1606"/>
                  </a:lnTo>
                  <a:lnTo>
                    <a:pt x="747" y="1604"/>
                  </a:lnTo>
                  <a:lnTo>
                    <a:pt x="749" y="1604"/>
                  </a:lnTo>
                  <a:lnTo>
                    <a:pt x="749" y="1602"/>
                  </a:lnTo>
                  <a:lnTo>
                    <a:pt x="751" y="1602"/>
                  </a:lnTo>
                  <a:lnTo>
                    <a:pt x="751" y="1600"/>
                  </a:lnTo>
                  <a:lnTo>
                    <a:pt x="754" y="1598"/>
                  </a:lnTo>
                  <a:lnTo>
                    <a:pt x="754" y="1597"/>
                  </a:lnTo>
                  <a:lnTo>
                    <a:pt x="756" y="1595"/>
                  </a:lnTo>
                  <a:lnTo>
                    <a:pt x="758" y="1595"/>
                  </a:lnTo>
                  <a:lnTo>
                    <a:pt x="758" y="1593"/>
                  </a:lnTo>
                  <a:lnTo>
                    <a:pt x="758" y="1595"/>
                  </a:lnTo>
                  <a:lnTo>
                    <a:pt x="760" y="1593"/>
                  </a:lnTo>
                  <a:lnTo>
                    <a:pt x="760" y="1591"/>
                  </a:lnTo>
                  <a:lnTo>
                    <a:pt x="762" y="1591"/>
                  </a:lnTo>
                  <a:lnTo>
                    <a:pt x="760" y="1591"/>
                  </a:lnTo>
                  <a:lnTo>
                    <a:pt x="760" y="1589"/>
                  </a:lnTo>
                  <a:lnTo>
                    <a:pt x="762" y="1591"/>
                  </a:lnTo>
                  <a:lnTo>
                    <a:pt x="762" y="1589"/>
                  </a:lnTo>
                  <a:lnTo>
                    <a:pt x="764" y="1589"/>
                  </a:lnTo>
                  <a:lnTo>
                    <a:pt x="762" y="1589"/>
                  </a:lnTo>
                  <a:lnTo>
                    <a:pt x="764" y="1589"/>
                  </a:lnTo>
                  <a:lnTo>
                    <a:pt x="764" y="1587"/>
                  </a:lnTo>
                  <a:lnTo>
                    <a:pt x="766" y="1587"/>
                  </a:lnTo>
                  <a:lnTo>
                    <a:pt x="766" y="1585"/>
                  </a:lnTo>
                  <a:lnTo>
                    <a:pt x="768" y="1585"/>
                  </a:lnTo>
                  <a:lnTo>
                    <a:pt x="768" y="1583"/>
                  </a:lnTo>
                  <a:lnTo>
                    <a:pt x="766" y="1583"/>
                  </a:lnTo>
                  <a:lnTo>
                    <a:pt x="768" y="1583"/>
                  </a:lnTo>
                  <a:lnTo>
                    <a:pt x="770" y="1581"/>
                  </a:lnTo>
                  <a:lnTo>
                    <a:pt x="772" y="1579"/>
                  </a:lnTo>
                  <a:lnTo>
                    <a:pt x="770" y="1579"/>
                  </a:lnTo>
                  <a:lnTo>
                    <a:pt x="772" y="1579"/>
                  </a:lnTo>
                  <a:lnTo>
                    <a:pt x="772" y="1577"/>
                  </a:lnTo>
                  <a:lnTo>
                    <a:pt x="774" y="1577"/>
                  </a:lnTo>
                  <a:lnTo>
                    <a:pt x="774" y="1575"/>
                  </a:lnTo>
                  <a:lnTo>
                    <a:pt x="776" y="1575"/>
                  </a:lnTo>
                  <a:lnTo>
                    <a:pt x="776" y="1573"/>
                  </a:lnTo>
                  <a:lnTo>
                    <a:pt x="776" y="1575"/>
                  </a:lnTo>
                  <a:lnTo>
                    <a:pt x="777" y="1573"/>
                  </a:lnTo>
                  <a:lnTo>
                    <a:pt x="776" y="1572"/>
                  </a:lnTo>
                  <a:lnTo>
                    <a:pt x="777" y="1573"/>
                  </a:lnTo>
                  <a:lnTo>
                    <a:pt x="777" y="1572"/>
                  </a:lnTo>
                  <a:lnTo>
                    <a:pt x="779" y="1572"/>
                  </a:lnTo>
                  <a:lnTo>
                    <a:pt x="779" y="1570"/>
                  </a:lnTo>
                  <a:lnTo>
                    <a:pt x="781" y="1568"/>
                  </a:lnTo>
                  <a:lnTo>
                    <a:pt x="779" y="1568"/>
                  </a:lnTo>
                  <a:lnTo>
                    <a:pt x="781" y="1568"/>
                  </a:lnTo>
                  <a:lnTo>
                    <a:pt x="783" y="1566"/>
                  </a:lnTo>
                  <a:lnTo>
                    <a:pt x="785" y="1564"/>
                  </a:lnTo>
                  <a:lnTo>
                    <a:pt x="783" y="1564"/>
                  </a:lnTo>
                  <a:lnTo>
                    <a:pt x="785" y="1564"/>
                  </a:lnTo>
                  <a:lnTo>
                    <a:pt x="787" y="1564"/>
                  </a:lnTo>
                  <a:lnTo>
                    <a:pt x="787" y="1562"/>
                  </a:lnTo>
                  <a:lnTo>
                    <a:pt x="789" y="1562"/>
                  </a:lnTo>
                  <a:lnTo>
                    <a:pt x="793" y="1556"/>
                  </a:lnTo>
                  <a:lnTo>
                    <a:pt x="795" y="1554"/>
                  </a:lnTo>
                  <a:lnTo>
                    <a:pt x="797" y="1554"/>
                  </a:lnTo>
                  <a:lnTo>
                    <a:pt x="799" y="1552"/>
                  </a:lnTo>
                  <a:lnTo>
                    <a:pt x="799" y="1550"/>
                  </a:lnTo>
                  <a:lnTo>
                    <a:pt x="799" y="1549"/>
                  </a:lnTo>
                  <a:lnTo>
                    <a:pt x="799" y="1547"/>
                  </a:lnTo>
                  <a:lnTo>
                    <a:pt x="800" y="1547"/>
                  </a:lnTo>
                  <a:lnTo>
                    <a:pt x="800" y="1545"/>
                  </a:lnTo>
                  <a:lnTo>
                    <a:pt x="800" y="1543"/>
                  </a:lnTo>
                  <a:lnTo>
                    <a:pt x="800" y="1541"/>
                  </a:lnTo>
                  <a:lnTo>
                    <a:pt x="799" y="1541"/>
                  </a:lnTo>
                  <a:lnTo>
                    <a:pt x="799" y="1539"/>
                  </a:lnTo>
                  <a:lnTo>
                    <a:pt x="799" y="1537"/>
                  </a:lnTo>
                  <a:lnTo>
                    <a:pt x="800" y="1535"/>
                  </a:lnTo>
                  <a:lnTo>
                    <a:pt x="800" y="1533"/>
                  </a:lnTo>
                  <a:lnTo>
                    <a:pt x="802" y="1533"/>
                  </a:lnTo>
                  <a:lnTo>
                    <a:pt x="802" y="1535"/>
                  </a:lnTo>
                  <a:lnTo>
                    <a:pt x="804" y="1535"/>
                  </a:lnTo>
                  <a:lnTo>
                    <a:pt x="804" y="1537"/>
                  </a:lnTo>
                  <a:lnTo>
                    <a:pt x="804" y="1539"/>
                  </a:lnTo>
                  <a:lnTo>
                    <a:pt x="806" y="1539"/>
                  </a:lnTo>
                  <a:lnTo>
                    <a:pt x="808" y="1539"/>
                  </a:lnTo>
                  <a:lnTo>
                    <a:pt x="810" y="1539"/>
                  </a:lnTo>
                  <a:lnTo>
                    <a:pt x="812" y="1537"/>
                  </a:lnTo>
                  <a:lnTo>
                    <a:pt x="814" y="1533"/>
                  </a:lnTo>
                  <a:lnTo>
                    <a:pt x="816" y="1533"/>
                  </a:lnTo>
                  <a:lnTo>
                    <a:pt x="820" y="1529"/>
                  </a:lnTo>
                  <a:lnTo>
                    <a:pt x="822" y="1527"/>
                  </a:lnTo>
                  <a:lnTo>
                    <a:pt x="824" y="1525"/>
                  </a:lnTo>
                  <a:lnTo>
                    <a:pt x="825" y="1524"/>
                  </a:lnTo>
                  <a:lnTo>
                    <a:pt x="827" y="1524"/>
                  </a:lnTo>
                  <a:lnTo>
                    <a:pt x="827" y="1522"/>
                  </a:lnTo>
                  <a:lnTo>
                    <a:pt x="829" y="1522"/>
                  </a:lnTo>
                  <a:lnTo>
                    <a:pt x="829" y="1520"/>
                  </a:lnTo>
                  <a:lnTo>
                    <a:pt x="831" y="1518"/>
                  </a:lnTo>
                  <a:lnTo>
                    <a:pt x="833" y="1518"/>
                  </a:lnTo>
                  <a:lnTo>
                    <a:pt x="835" y="1516"/>
                  </a:lnTo>
                  <a:lnTo>
                    <a:pt x="835" y="1514"/>
                  </a:lnTo>
                  <a:lnTo>
                    <a:pt x="837" y="1514"/>
                  </a:lnTo>
                  <a:lnTo>
                    <a:pt x="837" y="1512"/>
                  </a:lnTo>
                  <a:lnTo>
                    <a:pt x="839" y="1510"/>
                  </a:lnTo>
                  <a:lnTo>
                    <a:pt x="841" y="1510"/>
                  </a:lnTo>
                  <a:lnTo>
                    <a:pt x="841" y="1508"/>
                  </a:lnTo>
                  <a:lnTo>
                    <a:pt x="843" y="1508"/>
                  </a:lnTo>
                  <a:lnTo>
                    <a:pt x="843" y="1506"/>
                  </a:lnTo>
                  <a:lnTo>
                    <a:pt x="843" y="1508"/>
                  </a:lnTo>
                  <a:lnTo>
                    <a:pt x="843" y="1506"/>
                  </a:lnTo>
                  <a:lnTo>
                    <a:pt x="845" y="1506"/>
                  </a:lnTo>
                  <a:lnTo>
                    <a:pt x="847" y="1506"/>
                  </a:lnTo>
                  <a:lnTo>
                    <a:pt x="845" y="1506"/>
                  </a:lnTo>
                  <a:lnTo>
                    <a:pt x="847" y="1504"/>
                  </a:lnTo>
                  <a:lnTo>
                    <a:pt x="847" y="1502"/>
                  </a:lnTo>
                  <a:lnTo>
                    <a:pt x="847" y="1504"/>
                  </a:lnTo>
                  <a:lnTo>
                    <a:pt x="848" y="1502"/>
                  </a:lnTo>
                  <a:lnTo>
                    <a:pt x="848" y="1501"/>
                  </a:lnTo>
                  <a:lnTo>
                    <a:pt x="850" y="1501"/>
                  </a:lnTo>
                  <a:lnTo>
                    <a:pt x="852" y="1499"/>
                  </a:lnTo>
                  <a:lnTo>
                    <a:pt x="852" y="1497"/>
                  </a:lnTo>
                  <a:lnTo>
                    <a:pt x="856" y="1493"/>
                  </a:lnTo>
                  <a:lnTo>
                    <a:pt x="858" y="1495"/>
                  </a:lnTo>
                  <a:lnTo>
                    <a:pt x="856" y="1493"/>
                  </a:lnTo>
                  <a:lnTo>
                    <a:pt x="858" y="1491"/>
                  </a:lnTo>
                  <a:lnTo>
                    <a:pt x="862" y="1489"/>
                  </a:lnTo>
                  <a:lnTo>
                    <a:pt x="862" y="1487"/>
                  </a:lnTo>
                  <a:lnTo>
                    <a:pt x="864" y="1485"/>
                  </a:lnTo>
                  <a:lnTo>
                    <a:pt x="866" y="1485"/>
                  </a:lnTo>
                  <a:lnTo>
                    <a:pt x="866" y="1483"/>
                  </a:lnTo>
                  <a:lnTo>
                    <a:pt x="868" y="1481"/>
                  </a:lnTo>
                  <a:lnTo>
                    <a:pt x="870" y="1479"/>
                  </a:lnTo>
                  <a:lnTo>
                    <a:pt x="872" y="1477"/>
                  </a:lnTo>
                  <a:lnTo>
                    <a:pt x="870" y="1476"/>
                  </a:lnTo>
                  <a:lnTo>
                    <a:pt x="870" y="1474"/>
                  </a:lnTo>
                  <a:lnTo>
                    <a:pt x="868" y="1472"/>
                  </a:lnTo>
                  <a:lnTo>
                    <a:pt x="868" y="1470"/>
                  </a:lnTo>
                  <a:lnTo>
                    <a:pt x="870" y="1470"/>
                  </a:lnTo>
                  <a:lnTo>
                    <a:pt x="870" y="1472"/>
                  </a:lnTo>
                  <a:lnTo>
                    <a:pt x="870" y="1474"/>
                  </a:lnTo>
                  <a:lnTo>
                    <a:pt x="870" y="1476"/>
                  </a:lnTo>
                  <a:lnTo>
                    <a:pt x="872" y="1476"/>
                  </a:lnTo>
                  <a:lnTo>
                    <a:pt x="872" y="1477"/>
                  </a:lnTo>
                  <a:lnTo>
                    <a:pt x="873" y="1477"/>
                  </a:lnTo>
                  <a:lnTo>
                    <a:pt x="873" y="1479"/>
                  </a:lnTo>
                  <a:lnTo>
                    <a:pt x="873" y="1477"/>
                  </a:lnTo>
                  <a:lnTo>
                    <a:pt x="875" y="1479"/>
                  </a:lnTo>
                  <a:lnTo>
                    <a:pt x="873" y="1479"/>
                  </a:lnTo>
                  <a:lnTo>
                    <a:pt x="873" y="1481"/>
                  </a:lnTo>
                  <a:lnTo>
                    <a:pt x="875" y="1481"/>
                  </a:lnTo>
                  <a:lnTo>
                    <a:pt x="877" y="1481"/>
                  </a:lnTo>
                  <a:lnTo>
                    <a:pt x="877" y="1479"/>
                  </a:lnTo>
                  <a:lnTo>
                    <a:pt x="879" y="1479"/>
                  </a:lnTo>
                  <a:lnTo>
                    <a:pt x="879" y="1481"/>
                  </a:lnTo>
                  <a:lnTo>
                    <a:pt x="877" y="1483"/>
                  </a:lnTo>
                  <a:lnTo>
                    <a:pt x="877" y="1485"/>
                  </a:lnTo>
                  <a:lnTo>
                    <a:pt x="879" y="1483"/>
                  </a:lnTo>
                  <a:lnTo>
                    <a:pt x="881" y="1481"/>
                  </a:lnTo>
                  <a:lnTo>
                    <a:pt x="883" y="1479"/>
                  </a:lnTo>
                  <a:lnTo>
                    <a:pt x="885" y="1477"/>
                  </a:lnTo>
                  <a:lnTo>
                    <a:pt x="883" y="1477"/>
                  </a:lnTo>
                  <a:lnTo>
                    <a:pt x="881" y="1479"/>
                  </a:lnTo>
                  <a:lnTo>
                    <a:pt x="881" y="1481"/>
                  </a:lnTo>
                  <a:lnTo>
                    <a:pt x="879" y="1481"/>
                  </a:lnTo>
                  <a:lnTo>
                    <a:pt x="879" y="1479"/>
                  </a:lnTo>
                  <a:lnTo>
                    <a:pt x="879" y="1477"/>
                  </a:lnTo>
                  <a:lnTo>
                    <a:pt x="881" y="1476"/>
                  </a:lnTo>
                  <a:lnTo>
                    <a:pt x="881" y="1474"/>
                  </a:lnTo>
                  <a:lnTo>
                    <a:pt x="877" y="1477"/>
                  </a:lnTo>
                  <a:lnTo>
                    <a:pt x="877" y="1479"/>
                  </a:lnTo>
                  <a:lnTo>
                    <a:pt x="877" y="1477"/>
                  </a:lnTo>
                  <a:lnTo>
                    <a:pt x="875" y="1477"/>
                  </a:lnTo>
                  <a:lnTo>
                    <a:pt x="875" y="1476"/>
                  </a:lnTo>
                  <a:lnTo>
                    <a:pt x="873" y="1474"/>
                  </a:lnTo>
                  <a:lnTo>
                    <a:pt x="873" y="1476"/>
                  </a:lnTo>
                  <a:lnTo>
                    <a:pt x="873" y="1474"/>
                  </a:lnTo>
                  <a:lnTo>
                    <a:pt x="873" y="1472"/>
                  </a:lnTo>
                  <a:lnTo>
                    <a:pt x="872" y="1472"/>
                  </a:lnTo>
                  <a:lnTo>
                    <a:pt x="872" y="1470"/>
                  </a:lnTo>
                  <a:lnTo>
                    <a:pt x="873" y="1472"/>
                  </a:lnTo>
                  <a:lnTo>
                    <a:pt x="873" y="1474"/>
                  </a:lnTo>
                  <a:lnTo>
                    <a:pt x="875" y="1474"/>
                  </a:lnTo>
                  <a:lnTo>
                    <a:pt x="877" y="1474"/>
                  </a:lnTo>
                  <a:lnTo>
                    <a:pt x="881" y="1470"/>
                  </a:lnTo>
                  <a:lnTo>
                    <a:pt x="883" y="1468"/>
                  </a:lnTo>
                  <a:lnTo>
                    <a:pt x="883" y="1466"/>
                  </a:lnTo>
                  <a:lnTo>
                    <a:pt x="885" y="1466"/>
                  </a:lnTo>
                  <a:lnTo>
                    <a:pt x="887" y="1464"/>
                  </a:lnTo>
                  <a:lnTo>
                    <a:pt x="889" y="1462"/>
                  </a:lnTo>
                  <a:lnTo>
                    <a:pt x="889" y="1460"/>
                  </a:lnTo>
                  <a:lnTo>
                    <a:pt x="889" y="1462"/>
                  </a:lnTo>
                  <a:lnTo>
                    <a:pt x="891" y="1460"/>
                  </a:lnTo>
                  <a:lnTo>
                    <a:pt x="893" y="1458"/>
                  </a:lnTo>
                  <a:lnTo>
                    <a:pt x="895" y="1456"/>
                  </a:lnTo>
                  <a:lnTo>
                    <a:pt x="895" y="1454"/>
                  </a:lnTo>
                  <a:lnTo>
                    <a:pt x="893" y="1454"/>
                  </a:lnTo>
                  <a:lnTo>
                    <a:pt x="893" y="1452"/>
                  </a:lnTo>
                  <a:lnTo>
                    <a:pt x="893" y="1454"/>
                  </a:lnTo>
                  <a:lnTo>
                    <a:pt x="895" y="1454"/>
                  </a:lnTo>
                  <a:lnTo>
                    <a:pt x="895" y="1456"/>
                  </a:lnTo>
                  <a:lnTo>
                    <a:pt x="896" y="1456"/>
                  </a:lnTo>
                  <a:lnTo>
                    <a:pt x="896" y="1454"/>
                  </a:lnTo>
                  <a:lnTo>
                    <a:pt x="898" y="1454"/>
                  </a:lnTo>
                  <a:lnTo>
                    <a:pt x="898" y="1452"/>
                  </a:lnTo>
                  <a:lnTo>
                    <a:pt x="896" y="1452"/>
                  </a:lnTo>
                  <a:lnTo>
                    <a:pt x="898" y="1452"/>
                  </a:lnTo>
                  <a:lnTo>
                    <a:pt x="900" y="1451"/>
                  </a:lnTo>
                  <a:lnTo>
                    <a:pt x="902" y="1451"/>
                  </a:lnTo>
                  <a:lnTo>
                    <a:pt x="904" y="1449"/>
                  </a:lnTo>
                  <a:lnTo>
                    <a:pt x="906" y="1447"/>
                  </a:lnTo>
                  <a:lnTo>
                    <a:pt x="908" y="1445"/>
                  </a:lnTo>
                  <a:lnTo>
                    <a:pt x="910" y="1445"/>
                  </a:lnTo>
                  <a:lnTo>
                    <a:pt x="910" y="1443"/>
                  </a:lnTo>
                  <a:lnTo>
                    <a:pt x="912" y="1443"/>
                  </a:lnTo>
                  <a:lnTo>
                    <a:pt x="914" y="1439"/>
                  </a:lnTo>
                  <a:lnTo>
                    <a:pt x="916" y="1439"/>
                  </a:lnTo>
                  <a:lnTo>
                    <a:pt x="919" y="1435"/>
                  </a:lnTo>
                  <a:lnTo>
                    <a:pt x="921" y="1433"/>
                  </a:lnTo>
                  <a:lnTo>
                    <a:pt x="923" y="1431"/>
                  </a:lnTo>
                  <a:lnTo>
                    <a:pt x="925" y="1429"/>
                  </a:lnTo>
                  <a:lnTo>
                    <a:pt x="925" y="1428"/>
                  </a:lnTo>
                  <a:lnTo>
                    <a:pt x="929" y="1426"/>
                  </a:lnTo>
                  <a:lnTo>
                    <a:pt x="929" y="1424"/>
                  </a:lnTo>
                  <a:lnTo>
                    <a:pt x="931" y="1424"/>
                  </a:lnTo>
                  <a:lnTo>
                    <a:pt x="931" y="1422"/>
                  </a:lnTo>
                  <a:lnTo>
                    <a:pt x="933" y="1422"/>
                  </a:lnTo>
                  <a:lnTo>
                    <a:pt x="933" y="1420"/>
                  </a:lnTo>
                  <a:lnTo>
                    <a:pt x="935" y="1420"/>
                  </a:lnTo>
                  <a:lnTo>
                    <a:pt x="937" y="1416"/>
                  </a:lnTo>
                  <a:lnTo>
                    <a:pt x="939" y="1414"/>
                  </a:lnTo>
                  <a:lnTo>
                    <a:pt x="941" y="1412"/>
                  </a:lnTo>
                  <a:lnTo>
                    <a:pt x="943" y="1410"/>
                  </a:lnTo>
                  <a:lnTo>
                    <a:pt x="943" y="1408"/>
                  </a:lnTo>
                  <a:lnTo>
                    <a:pt x="944" y="1408"/>
                  </a:lnTo>
                  <a:lnTo>
                    <a:pt x="944" y="1406"/>
                  </a:lnTo>
                  <a:lnTo>
                    <a:pt x="946" y="1406"/>
                  </a:lnTo>
                  <a:lnTo>
                    <a:pt x="946" y="1404"/>
                  </a:lnTo>
                  <a:lnTo>
                    <a:pt x="948" y="1404"/>
                  </a:lnTo>
                  <a:lnTo>
                    <a:pt x="948" y="1403"/>
                  </a:lnTo>
                  <a:lnTo>
                    <a:pt x="950" y="1403"/>
                  </a:lnTo>
                  <a:lnTo>
                    <a:pt x="950" y="1401"/>
                  </a:lnTo>
                  <a:lnTo>
                    <a:pt x="950" y="1399"/>
                  </a:lnTo>
                  <a:lnTo>
                    <a:pt x="952" y="1399"/>
                  </a:lnTo>
                  <a:lnTo>
                    <a:pt x="952" y="1397"/>
                  </a:lnTo>
                  <a:lnTo>
                    <a:pt x="954" y="1397"/>
                  </a:lnTo>
                  <a:lnTo>
                    <a:pt x="954" y="1395"/>
                  </a:lnTo>
                  <a:lnTo>
                    <a:pt x="956" y="1395"/>
                  </a:lnTo>
                  <a:lnTo>
                    <a:pt x="956" y="1393"/>
                  </a:lnTo>
                  <a:lnTo>
                    <a:pt x="958" y="1393"/>
                  </a:lnTo>
                  <a:lnTo>
                    <a:pt x="958" y="1391"/>
                  </a:lnTo>
                  <a:lnTo>
                    <a:pt x="960" y="1391"/>
                  </a:lnTo>
                  <a:lnTo>
                    <a:pt x="960" y="1389"/>
                  </a:lnTo>
                  <a:lnTo>
                    <a:pt x="962" y="1389"/>
                  </a:lnTo>
                  <a:lnTo>
                    <a:pt x="962" y="1387"/>
                  </a:lnTo>
                  <a:lnTo>
                    <a:pt x="964" y="1385"/>
                  </a:lnTo>
                  <a:lnTo>
                    <a:pt x="964" y="1383"/>
                  </a:lnTo>
                  <a:lnTo>
                    <a:pt x="966" y="1383"/>
                  </a:lnTo>
                  <a:lnTo>
                    <a:pt x="967" y="1381"/>
                  </a:lnTo>
                  <a:lnTo>
                    <a:pt x="967" y="1379"/>
                  </a:lnTo>
                  <a:lnTo>
                    <a:pt x="971" y="1378"/>
                  </a:lnTo>
                  <a:lnTo>
                    <a:pt x="971" y="1376"/>
                  </a:lnTo>
                  <a:lnTo>
                    <a:pt x="973" y="1374"/>
                  </a:lnTo>
                  <a:lnTo>
                    <a:pt x="975" y="1372"/>
                  </a:lnTo>
                  <a:lnTo>
                    <a:pt x="977" y="1370"/>
                  </a:lnTo>
                  <a:lnTo>
                    <a:pt x="977" y="1368"/>
                  </a:lnTo>
                  <a:lnTo>
                    <a:pt x="979" y="1368"/>
                  </a:lnTo>
                  <a:lnTo>
                    <a:pt x="979" y="1366"/>
                  </a:lnTo>
                  <a:lnTo>
                    <a:pt x="981" y="1364"/>
                  </a:lnTo>
                  <a:lnTo>
                    <a:pt x="981" y="1362"/>
                  </a:lnTo>
                  <a:lnTo>
                    <a:pt x="983" y="1362"/>
                  </a:lnTo>
                  <a:lnTo>
                    <a:pt x="983" y="1360"/>
                  </a:lnTo>
                  <a:lnTo>
                    <a:pt x="985" y="1360"/>
                  </a:lnTo>
                  <a:lnTo>
                    <a:pt x="985" y="1358"/>
                  </a:lnTo>
                  <a:lnTo>
                    <a:pt x="987" y="1356"/>
                  </a:lnTo>
                  <a:lnTo>
                    <a:pt x="987" y="1355"/>
                  </a:lnTo>
                  <a:lnTo>
                    <a:pt x="989" y="1355"/>
                  </a:lnTo>
                  <a:lnTo>
                    <a:pt x="989" y="1353"/>
                  </a:lnTo>
                  <a:lnTo>
                    <a:pt x="990" y="1353"/>
                  </a:lnTo>
                  <a:lnTo>
                    <a:pt x="990" y="1351"/>
                  </a:lnTo>
                  <a:lnTo>
                    <a:pt x="992" y="1349"/>
                  </a:lnTo>
                  <a:lnTo>
                    <a:pt x="994" y="1347"/>
                  </a:lnTo>
                  <a:lnTo>
                    <a:pt x="994" y="1345"/>
                  </a:lnTo>
                  <a:lnTo>
                    <a:pt x="994" y="1343"/>
                  </a:lnTo>
                  <a:lnTo>
                    <a:pt x="996" y="1343"/>
                  </a:lnTo>
                  <a:lnTo>
                    <a:pt x="996" y="1341"/>
                  </a:lnTo>
                  <a:lnTo>
                    <a:pt x="998" y="1341"/>
                  </a:lnTo>
                  <a:lnTo>
                    <a:pt x="998" y="1339"/>
                  </a:lnTo>
                  <a:lnTo>
                    <a:pt x="1000" y="1337"/>
                  </a:lnTo>
                  <a:lnTo>
                    <a:pt x="1000" y="1335"/>
                  </a:lnTo>
                  <a:lnTo>
                    <a:pt x="1002" y="1335"/>
                  </a:lnTo>
                  <a:lnTo>
                    <a:pt x="1002" y="1333"/>
                  </a:lnTo>
                  <a:lnTo>
                    <a:pt x="1004" y="1331"/>
                  </a:lnTo>
                  <a:lnTo>
                    <a:pt x="1004" y="1330"/>
                  </a:lnTo>
                  <a:lnTo>
                    <a:pt x="1006" y="1330"/>
                  </a:lnTo>
                  <a:lnTo>
                    <a:pt x="1004" y="1330"/>
                  </a:lnTo>
                  <a:lnTo>
                    <a:pt x="1006" y="1330"/>
                  </a:lnTo>
                  <a:lnTo>
                    <a:pt x="1006" y="1331"/>
                  </a:lnTo>
                  <a:lnTo>
                    <a:pt x="1004" y="1330"/>
                  </a:lnTo>
                  <a:lnTo>
                    <a:pt x="1006" y="1330"/>
                  </a:lnTo>
                  <a:lnTo>
                    <a:pt x="1006" y="1328"/>
                  </a:lnTo>
                  <a:lnTo>
                    <a:pt x="1006" y="1326"/>
                  </a:lnTo>
                  <a:lnTo>
                    <a:pt x="1008" y="1326"/>
                  </a:lnTo>
                  <a:lnTo>
                    <a:pt x="1010" y="1322"/>
                  </a:lnTo>
                  <a:lnTo>
                    <a:pt x="1012" y="1320"/>
                  </a:lnTo>
                  <a:lnTo>
                    <a:pt x="1014" y="1318"/>
                  </a:lnTo>
                  <a:lnTo>
                    <a:pt x="1014" y="1316"/>
                  </a:lnTo>
                  <a:lnTo>
                    <a:pt x="1015" y="1316"/>
                  </a:lnTo>
                  <a:lnTo>
                    <a:pt x="1015" y="1314"/>
                  </a:lnTo>
                  <a:lnTo>
                    <a:pt x="1015" y="1312"/>
                  </a:lnTo>
                  <a:lnTo>
                    <a:pt x="1017" y="1312"/>
                  </a:lnTo>
                  <a:lnTo>
                    <a:pt x="1017" y="1310"/>
                  </a:lnTo>
                  <a:lnTo>
                    <a:pt x="1019" y="1308"/>
                  </a:lnTo>
                  <a:lnTo>
                    <a:pt x="1019" y="1306"/>
                  </a:lnTo>
                  <a:lnTo>
                    <a:pt x="1021" y="1306"/>
                  </a:lnTo>
                  <a:lnTo>
                    <a:pt x="1023" y="1305"/>
                  </a:lnTo>
                  <a:lnTo>
                    <a:pt x="1023" y="1303"/>
                  </a:lnTo>
                  <a:lnTo>
                    <a:pt x="1023" y="1301"/>
                  </a:lnTo>
                  <a:lnTo>
                    <a:pt x="1025" y="1299"/>
                  </a:lnTo>
                  <a:lnTo>
                    <a:pt x="1027" y="1295"/>
                  </a:lnTo>
                  <a:lnTo>
                    <a:pt x="1029" y="1293"/>
                  </a:lnTo>
                  <a:lnTo>
                    <a:pt x="1029" y="1291"/>
                  </a:lnTo>
                  <a:lnTo>
                    <a:pt x="1031" y="1291"/>
                  </a:lnTo>
                  <a:lnTo>
                    <a:pt x="1031" y="1289"/>
                  </a:lnTo>
                  <a:lnTo>
                    <a:pt x="1031" y="1287"/>
                  </a:lnTo>
                  <a:lnTo>
                    <a:pt x="1033" y="1287"/>
                  </a:lnTo>
                  <a:lnTo>
                    <a:pt x="1033" y="1285"/>
                  </a:lnTo>
                  <a:lnTo>
                    <a:pt x="1035" y="1283"/>
                  </a:lnTo>
                  <a:lnTo>
                    <a:pt x="1035" y="1282"/>
                  </a:lnTo>
                  <a:lnTo>
                    <a:pt x="1037" y="1282"/>
                  </a:lnTo>
                  <a:lnTo>
                    <a:pt x="1037" y="1280"/>
                  </a:lnTo>
                  <a:lnTo>
                    <a:pt x="1037" y="1278"/>
                  </a:lnTo>
                  <a:lnTo>
                    <a:pt x="1038" y="1278"/>
                  </a:lnTo>
                  <a:lnTo>
                    <a:pt x="1038" y="1276"/>
                  </a:lnTo>
                  <a:lnTo>
                    <a:pt x="1040" y="1274"/>
                  </a:lnTo>
                  <a:lnTo>
                    <a:pt x="1040" y="1272"/>
                  </a:lnTo>
                  <a:lnTo>
                    <a:pt x="1042" y="1272"/>
                  </a:lnTo>
                  <a:lnTo>
                    <a:pt x="1042" y="1270"/>
                  </a:lnTo>
                  <a:lnTo>
                    <a:pt x="1044" y="1270"/>
                  </a:lnTo>
                  <a:lnTo>
                    <a:pt x="1044" y="1268"/>
                  </a:lnTo>
                  <a:lnTo>
                    <a:pt x="1046" y="1266"/>
                  </a:lnTo>
                  <a:lnTo>
                    <a:pt x="1048" y="1264"/>
                  </a:lnTo>
                  <a:lnTo>
                    <a:pt x="1050" y="1260"/>
                  </a:lnTo>
                  <a:lnTo>
                    <a:pt x="1052" y="1257"/>
                  </a:lnTo>
                  <a:lnTo>
                    <a:pt x="1054" y="1255"/>
                  </a:lnTo>
                  <a:lnTo>
                    <a:pt x="1054" y="1253"/>
                  </a:lnTo>
                  <a:lnTo>
                    <a:pt x="1056" y="1251"/>
                  </a:lnTo>
                  <a:lnTo>
                    <a:pt x="1058" y="1247"/>
                  </a:lnTo>
                  <a:lnTo>
                    <a:pt x="1062" y="1241"/>
                  </a:lnTo>
                  <a:lnTo>
                    <a:pt x="1062" y="1239"/>
                  </a:lnTo>
                  <a:lnTo>
                    <a:pt x="1065" y="1235"/>
                  </a:lnTo>
                  <a:lnTo>
                    <a:pt x="1067" y="1230"/>
                  </a:lnTo>
                  <a:lnTo>
                    <a:pt x="1069" y="1228"/>
                  </a:lnTo>
                  <a:lnTo>
                    <a:pt x="1071" y="1224"/>
                  </a:lnTo>
                  <a:lnTo>
                    <a:pt x="1073" y="1222"/>
                  </a:lnTo>
                  <a:lnTo>
                    <a:pt x="1073" y="1220"/>
                  </a:lnTo>
                  <a:lnTo>
                    <a:pt x="1075" y="1218"/>
                  </a:lnTo>
                  <a:lnTo>
                    <a:pt x="1077" y="1214"/>
                  </a:lnTo>
                  <a:lnTo>
                    <a:pt x="1083" y="1203"/>
                  </a:lnTo>
                  <a:lnTo>
                    <a:pt x="1086" y="1197"/>
                  </a:lnTo>
                  <a:lnTo>
                    <a:pt x="1088" y="1193"/>
                  </a:lnTo>
                  <a:lnTo>
                    <a:pt x="1090" y="1191"/>
                  </a:lnTo>
                  <a:lnTo>
                    <a:pt x="1090" y="1189"/>
                  </a:lnTo>
                  <a:lnTo>
                    <a:pt x="1092" y="1185"/>
                  </a:lnTo>
                  <a:lnTo>
                    <a:pt x="1094" y="1182"/>
                  </a:lnTo>
                  <a:lnTo>
                    <a:pt x="1096" y="1180"/>
                  </a:lnTo>
                  <a:lnTo>
                    <a:pt x="1098" y="1176"/>
                  </a:lnTo>
                  <a:lnTo>
                    <a:pt x="1100" y="1174"/>
                  </a:lnTo>
                  <a:lnTo>
                    <a:pt x="1100" y="1172"/>
                  </a:lnTo>
                  <a:lnTo>
                    <a:pt x="1102" y="1170"/>
                  </a:lnTo>
                  <a:lnTo>
                    <a:pt x="1102" y="1168"/>
                  </a:lnTo>
                  <a:lnTo>
                    <a:pt x="1102" y="1166"/>
                  </a:lnTo>
                  <a:lnTo>
                    <a:pt x="1104" y="1164"/>
                  </a:lnTo>
                  <a:lnTo>
                    <a:pt x="1108" y="1157"/>
                  </a:lnTo>
                  <a:lnTo>
                    <a:pt x="1109" y="1153"/>
                  </a:lnTo>
                  <a:lnTo>
                    <a:pt x="1111" y="1149"/>
                  </a:lnTo>
                  <a:lnTo>
                    <a:pt x="1113" y="1145"/>
                  </a:lnTo>
                  <a:lnTo>
                    <a:pt x="1115" y="1141"/>
                  </a:lnTo>
                  <a:lnTo>
                    <a:pt x="1117" y="1137"/>
                  </a:lnTo>
                  <a:lnTo>
                    <a:pt x="1119" y="1136"/>
                  </a:lnTo>
                  <a:lnTo>
                    <a:pt x="1119" y="1134"/>
                  </a:lnTo>
                  <a:lnTo>
                    <a:pt x="1119" y="1132"/>
                  </a:lnTo>
                  <a:lnTo>
                    <a:pt x="1121" y="1130"/>
                  </a:lnTo>
                  <a:lnTo>
                    <a:pt x="1123" y="1126"/>
                  </a:lnTo>
                  <a:lnTo>
                    <a:pt x="1125" y="1122"/>
                  </a:lnTo>
                  <a:lnTo>
                    <a:pt x="1125" y="1120"/>
                  </a:lnTo>
                  <a:lnTo>
                    <a:pt x="1127" y="1118"/>
                  </a:lnTo>
                  <a:lnTo>
                    <a:pt x="1129" y="1114"/>
                  </a:lnTo>
                  <a:lnTo>
                    <a:pt x="1129" y="1112"/>
                  </a:lnTo>
                  <a:lnTo>
                    <a:pt x="1131" y="1111"/>
                  </a:lnTo>
                  <a:lnTo>
                    <a:pt x="1133" y="1107"/>
                  </a:lnTo>
                  <a:lnTo>
                    <a:pt x="1133" y="1105"/>
                  </a:lnTo>
                  <a:lnTo>
                    <a:pt x="1134" y="1105"/>
                  </a:lnTo>
                  <a:lnTo>
                    <a:pt x="1134" y="1101"/>
                  </a:lnTo>
                  <a:lnTo>
                    <a:pt x="1136" y="1099"/>
                  </a:lnTo>
                  <a:lnTo>
                    <a:pt x="1136" y="1097"/>
                  </a:lnTo>
                  <a:lnTo>
                    <a:pt x="1136" y="1095"/>
                  </a:lnTo>
                  <a:lnTo>
                    <a:pt x="1140" y="1091"/>
                  </a:lnTo>
                  <a:lnTo>
                    <a:pt x="1140" y="1089"/>
                  </a:lnTo>
                  <a:lnTo>
                    <a:pt x="1142" y="1088"/>
                  </a:lnTo>
                  <a:lnTo>
                    <a:pt x="1142" y="1086"/>
                  </a:lnTo>
                  <a:lnTo>
                    <a:pt x="1144" y="1084"/>
                  </a:lnTo>
                  <a:lnTo>
                    <a:pt x="1146" y="1080"/>
                  </a:lnTo>
                  <a:lnTo>
                    <a:pt x="1146" y="1078"/>
                  </a:lnTo>
                  <a:lnTo>
                    <a:pt x="1146" y="1076"/>
                  </a:lnTo>
                  <a:lnTo>
                    <a:pt x="1148" y="1074"/>
                  </a:lnTo>
                  <a:lnTo>
                    <a:pt x="1150" y="1072"/>
                  </a:lnTo>
                  <a:lnTo>
                    <a:pt x="1150" y="1068"/>
                  </a:lnTo>
                  <a:lnTo>
                    <a:pt x="1152" y="1068"/>
                  </a:lnTo>
                  <a:lnTo>
                    <a:pt x="1152" y="1064"/>
                  </a:lnTo>
                  <a:lnTo>
                    <a:pt x="1156" y="1059"/>
                  </a:lnTo>
                  <a:lnTo>
                    <a:pt x="1157" y="1055"/>
                  </a:lnTo>
                  <a:lnTo>
                    <a:pt x="1159" y="1051"/>
                  </a:lnTo>
                  <a:lnTo>
                    <a:pt x="1159" y="1049"/>
                  </a:lnTo>
                  <a:lnTo>
                    <a:pt x="1161" y="1047"/>
                  </a:lnTo>
                  <a:lnTo>
                    <a:pt x="1161" y="1045"/>
                  </a:lnTo>
                  <a:lnTo>
                    <a:pt x="1163" y="1041"/>
                  </a:lnTo>
                  <a:lnTo>
                    <a:pt x="1163" y="1039"/>
                  </a:lnTo>
                  <a:lnTo>
                    <a:pt x="1165" y="1038"/>
                  </a:lnTo>
                  <a:lnTo>
                    <a:pt x="1167" y="1026"/>
                  </a:lnTo>
                  <a:lnTo>
                    <a:pt x="1167" y="1024"/>
                  </a:lnTo>
                  <a:lnTo>
                    <a:pt x="1169" y="1022"/>
                  </a:lnTo>
                  <a:lnTo>
                    <a:pt x="1169" y="1020"/>
                  </a:lnTo>
                  <a:lnTo>
                    <a:pt x="1169" y="1018"/>
                  </a:lnTo>
                  <a:lnTo>
                    <a:pt x="1169" y="1016"/>
                  </a:lnTo>
                  <a:lnTo>
                    <a:pt x="1169" y="1015"/>
                  </a:lnTo>
                  <a:lnTo>
                    <a:pt x="1169" y="1013"/>
                  </a:lnTo>
                  <a:lnTo>
                    <a:pt x="1169" y="1011"/>
                  </a:lnTo>
                  <a:lnTo>
                    <a:pt x="1169" y="1005"/>
                  </a:lnTo>
                  <a:lnTo>
                    <a:pt x="1167" y="1005"/>
                  </a:lnTo>
                  <a:lnTo>
                    <a:pt x="1167" y="1001"/>
                  </a:lnTo>
                  <a:lnTo>
                    <a:pt x="1167" y="999"/>
                  </a:lnTo>
                  <a:lnTo>
                    <a:pt x="1165" y="997"/>
                  </a:lnTo>
                  <a:lnTo>
                    <a:pt x="1165" y="995"/>
                  </a:lnTo>
                  <a:lnTo>
                    <a:pt x="1165" y="993"/>
                  </a:lnTo>
                  <a:lnTo>
                    <a:pt x="1163" y="993"/>
                  </a:lnTo>
                  <a:lnTo>
                    <a:pt x="1163" y="991"/>
                  </a:lnTo>
                  <a:lnTo>
                    <a:pt x="1152" y="995"/>
                  </a:lnTo>
                  <a:lnTo>
                    <a:pt x="1150" y="995"/>
                  </a:lnTo>
                  <a:lnTo>
                    <a:pt x="1150" y="993"/>
                  </a:lnTo>
                  <a:lnTo>
                    <a:pt x="1148" y="991"/>
                  </a:lnTo>
                  <a:lnTo>
                    <a:pt x="1148" y="990"/>
                  </a:lnTo>
                  <a:lnTo>
                    <a:pt x="1146" y="990"/>
                  </a:lnTo>
                  <a:lnTo>
                    <a:pt x="1146" y="988"/>
                  </a:lnTo>
                  <a:lnTo>
                    <a:pt x="1146" y="986"/>
                  </a:lnTo>
                  <a:lnTo>
                    <a:pt x="1146" y="988"/>
                  </a:lnTo>
                  <a:lnTo>
                    <a:pt x="1148" y="990"/>
                  </a:lnTo>
                  <a:lnTo>
                    <a:pt x="1148" y="991"/>
                  </a:lnTo>
                  <a:lnTo>
                    <a:pt x="1150" y="993"/>
                  </a:lnTo>
                  <a:lnTo>
                    <a:pt x="1150" y="995"/>
                  </a:lnTo>
                  <a:lnTo>
                    <a:pt x="1152" y="995"/>
                  </a:lnTo>
                  <a:lnTo>
                    <a:pt x="1154" y="995"/>
                  </a:lnTo>
                  <a:lnTo>
                    <a:pt x="1165" y="991"/>
                  </a:lnTo>
                  <a:lnTo>
                    <a:pt x="1165" y="990"/>
                  </a:lnTo>
                  <a:lnTo>
                    <a:pt x="1167" y="990"/>
                  </a:lnTo>
                  <a:lnTo>
                    <a:pt x="1165" y="990"/>
                  </a:lnTo>
                  <a:lnTo>
                    <a:pt x="1165" y="991"/>
                  </a:lnTo>
                  <a:lnTo>
                    <a:pt x="1169" y="991"/>
                  </a:lnTo>
                  <a:lnTo>
                    <a:pt x="1169" y="993"/>
                  </a:lnTo>
                  <a:lnTo>
                    <a:pt x="1169" y="991"/>
                  </a:lnTo>
                  <a:lnTo>
                    <a:pt x="1167" y="993"/>
                  </a:lnTo>
                  <a:lnTo>
                    <a:pt x="1169" y="995"/>
                  </a:lnTo>
                  <a:lnTo>
                    <a:pt x="1169" y="997"/>
                  </a:lnTo>
                  <a:lnTo>
                    <a:pt x="1171" y="997"/>
                  </a:lnTo>
                  <a:lnTo>
                    <a:pt x="1173" y="997"/>
                  </a:lnTo>
                  <a:lnTo>
                    <a:pt x="1173" y="995"/>
                  </a:lnTo>
                  <a:lnTo>
                    <a:pt x="1169" y="993"/>
                  </a:lnTo>
                  <a:lnTo>
                    <a:pt x="1171" y="993"/>
                  </a:lnTo>
                  <a:lnTo>
                    <a:pt x="1173" y="991"/>
                  </a:lnTo>
                  <a:lnTo>
                    <a:pt x="1173" y="990"/>
                  </a:lnTo>
                  <a:lnTo>
                    <a:pt x="1175" y="990"/>
                  </a:lnTo>
                  <a:lnTo>
                    <a:pt x="1177" y="991"/>
                  </a:lnTo>
                  <a:lnTo>
                    <a:pt x="1179" y="991"/>
                  </a:lnTo>
                  <a:lnTo>
                    <a:pt x="1177" y="995"/>
                  </a:lnTo>
                  <a:lnTo>
                    <a:pt x="1179" y="991"/>
                  </a:lnTo>
                  <a:lnTo>
                    <a:pt x="1181" y="991"/>
                  </a:lnTo>
                  <a:lnTo>
                    <a:pt x="1182" y="991"/>
                  </a:lnTo>
                  <a:lnTo>
                    <a:pt x="1184" y="991"/>
                  </a:lnTo>
                  <a:lnTo>
                    <a:pt x="1186" y="991"/>
                  </a:lnTo>
                  <a:lnTo>
                    <a:pt x="1184" y="993"/>
                  </a:lnTo>
                  <a:lnTo>
                    <a:pt x="1186" y="995"/>
                  </a:lnTo>
                  <a:lnTo>
                    <a:pt x="1186" y="997"/>
                  </a:lnTo>
                  <a:lnTo>
                    <a:pt x="1184" y="997"/>
                  </a:lnTo>
                  <a:lnTo>
                    <a:pt x="1186" y="997"/>
                  </a:lnTo>
                  <a:lnTo>
                    <a:pt x="1184" y="997"/>
                  </a:lnTo>
                  <a:lnTo>
                    <a:pt x="1186" y="997"/>
                  </a:lnTo>
                  <a:lnTo>
                    <a:pt x="1188" y="997"/>
                  </a:lnTo>
                  <a:lnTo>
                    <a:pt x="1188" y="999"/>
                  </a:lnTo>
                  <a:lnTo>
                    <a:pt x="1192" y="999"/>
                  </a:lnTo>
                  <a:lnTo>
                    <a:pt x="1192" y="1001"/>
                  </a:lnTo>
                  <a:lnTo>
                    <a:pt x="1192" y="999"/>
                  </a:lnTo>
                  <a:lnTo>
                    <a:pt x="1188" y="997"/>
                  </a:lnTo>
                  <a:lnTo>
                    <a:pt x="1188" y="995"/>
                  </a:lnTo>
                  <a:lnTo>
                    <a:pt x="1186" y="993"/>
                  </a:lnTo>
                  <a:lnTo>
                    <a:pt x="1188" y="991"/>
                  </a:lnTo>
                  <a:lnTo>
                    <a:pt x="1190" y="993"/>
                  </a:lnTo>
                  <a:lnTo>
                    <a:pt x="1192" y="995"/>
                  </a:lnTo>
                  <a:lnTo>
                    <a:pt x="1194" y="997"/>
                  </a:lnTo>
                  <a:lnTo>
                    <a:pt x="1196" y="997"/>
                  </a:lnTo>
                  <a:lnTo>
                    <a:pt x="1198" y="999"/>
                  </a:lnTo>
                  <a:lnTo>
                    <a:pt x="1200" y="999"/>
                  </a:lnTo>
                  <a:lnTo>
                    <a:pt x="1198" y="999"/>
                  </a:lnTo>
                  <a:lnTo>
                    <a:pt x="1200" y="999"/>
                  </a:lnTo>
                  <a:lnTo>
                    <a:pt x="1198" y="997"/>
                  </a:lnTo>
                  <a:lnTo>
                    <a:pt x="1200" y="999"/>
                  </a:lnTo>
                  <a:lnTo>
                    <a:pt x="1194" y="993"/>
                  </a:lnTo>
                  <a:lnTo>
                    <a:pt x="1192" y="991"/>
                  </a:lnTo>
                  <a:lnTo>
                    <a:pt x="1190" y="991"/>
                  </a:lnTo>
                  <a:lnTo>
                    <a:pt x="1188" y="991"/>
                  </a:lnTo>
                  <a:lnTo>
                    <a:pt x="1192" y="991"/>
                  </a:lnTo>
                  <a:lnTo>
                    <a:pt x="1194" y="991"/>
                  </a:lnTo>
                  <a:lnTo>
                    <a:pt x="1196" y="991"/>
                  </a:lnTo>
                  <a:lnTo>
                    <a:pt x="1196" y="990"/>
                  </a:lnTo>
                  <a:lnTo>
                    <a:pt x="1194" y="990"/>
                  </a:lnTo>
                  <a:lnTo>
                    <a:pt x="1196" y="990"/>
                  </a:lnTo>
                  <a:lnTo>
                    <a:pt x="1194" y="990"/>
                  </a:lnTo>
                  <a:lnTo>
                    <a:pt x="1192" y="990"/>
                  </a:lnTo>
                  <a:lnTo>
                    <a:pt x="1194" y="990"/>
                  </a:lnTo>
                  <a:lnTo>
                    <a:pt x="1196" y="988"/>
                  </a:lnTo>
                  <a:lnTo>
                    <a:pt x="1200" y="990"/>
                  </a:lnTo>
                  <a:lnTo>
                    <a:pt x="1202" y="990"/>
                  </a:lnTo>
                  <a:lnTo>
                    <a:pt x="1202" y="988"/>
                  </a:lnTo>
                  <a:lnTo>
                    <a:pt x="1205" y="988"/>
                  </a:lnTo>
                  <a:lnTo>
                    <a:pt x="1205" y="990"/>
                  </a:lnTo>
                  <a:lnTo>
                    <a:pt x="1204" y="990"/>
                  </a:lnTo>
                  <a:lnTo>
                    <a:pt x="1202" y="990"/>
                  </a:lnTo>
                  <a:lnTo>
                    <a:pt x="1200" y="990"/>
                  </a:lnTo>
                  <a:lnTo>
                    <a:pt x="1198" y="990"/>
                  </a:lnTo>
                  <a:lnTo>
                    <a:pt x="1196" y="990"/>
                  </a:lnTo>
                  <a:lnTo>
                    <a:pt x="1198" y="990"/>
                  </a:lnTo>
                  <a:lnTo>
                    <a:pt x="1196" y="990"/>
                  </a:lnTo>
                  <a:lnTo>
                    <a:pt x="1198" y="990"/>
                  </a:lnTo>
                  <a:lnTo>
                    <a:pt x="1198" y="991"/>
                  </a:lnTo>
                  <a:lnTo>
                    <a:pt x="1200" y="991"/>
                  </a:lnTo>
                  <a:lnTo>
                    <a:pt x="1202" y="991"/>
                  </a:lnTo>
                  <a:lnTo>
                    <a:pt x="1204" y="991"/>
                  </a:lnTo>
                  <a:lnTo>
                    <a:pt x="1205" y="991"/>
                  </a:lnTo>
                  <a:lnTo>
                    <a:pt x="1207" y="991"/>
                  </a:lnTo>
                  <a:lnTo>
                    <a:pt x="1209" y="991"/>
                  </a:lnTo>
                  <a:lnTo>
                    <a:pt x="1211" y="991"/>
                  </a:lnTo>
                  <a:lnTo>
                    <a:pt x="1215" y="991"/>
                  </a:lnTo>
                  <a:lnTo>
                    <a:pt x="1217" y="991"/>
                  </a:lnTo>
                  <a:lnTo>
                    <a:pt x="1219" y="991"/>
                  </a:lnTo>
                  <a:lnTo>
                    <a:pt x="1221" y="991"/>
                  </a:lnTo>
                  <a:lnTo>
                    <a:pt x="1223" y="993"/>
                  </a:lnTo>
                  <a:lnTo>
                    <a:pt x="1225" y="993"/>
                  </a:lnTo>
                  <a:lnTo>
                    <a:pt x="1227" y="993"/>
                  </a:lnTo>
                  <a:lnTo>
                    <a:pt x="1228" y="993"/>
                  </a:lnTo>
                  <a:lnTo>
                    <a:pt x="1230" y="993"/>
                  </a:lnTo>
                  <a:lnTo>
                    <a:pt x="1230" y="995"/>
                  </a:lnTo>
                  <a:lnTo>
                    <a:pt x="1232" y="995"/>
                  </a:lnTo>
                  <a:lnTo>
                    <a:pt x="1232" y="993"/>
                  </a:lnTo>
                  <a:lnTo>
                    <a:pt x="1232" y="995"/>
                  </a:lnTo>
                  <a:lnTo>
                    <a:pt x="1234" y="995"/>
                  </a:lnTo>
                  <a:lnTo>
                    <a:pt x="1236" y="995"/>
                  </a:lnTo>
                  <a:lnTo>
                    <a:pt x="1238" y="995"/>
                  </a:lnTo>
                  <a:lnTo>
                    <a:pt x="1242" y="995"/>
                  </a:lnTo>
                  <a:lnTo>
                    <a:pt x="1244" y="995"/>
                  </a:lnTo>
                  <a:lnTo>
                    <a:pt x="1246" y="995"/>
                  </a:lnTo>
                  <a:lnTo>
                    <a:pt x="1248" y="997"/>
                  </a:lnTo>
                  <a:lnTo>
                    <a:pt x="1250" y="997"/>
                  </a:lnTo>
                  <a:lnTo>
                    <a:pt x="1252" y="997"/>
                  </a:lnTo>
                  <a:lnTo>
                    <a:pt x="1252" y="999"/>
                  </a:lnTo>
                  <a:lnTo>
                    <a:pt x="1253" y="999"/>
                  </a:lnTo>
                  <a:lnTo>
                    <a:pt x="1255" y="1001"/>
                  </a:lnTo>
                  <a:lnTo>
                    <a:pt x="1257" y="1001"/>
                  </a:lnTo>
                  <a:lnTo>
                    <a:pt x="1259" y="1003"/>
                  </a:lnTo>
                  <a:lnTo>
                    <a:pt x="1261" y="1005"/>
                  </a:lnTo>
                  <a:lnTo>
                    <a:pt x="1261" y="1007"/>
                  </a:lnTo>
                  <a:lnTo>
                    <a:pt x="1263" y="1007"/>
                  </a:lnTo>
                  <a:lnTo>
                    <a:pt x="1265" y="1007"/>
                  </a:lnTo>
                  <a:lnTo>
                    <a:pt x="1269" y="1013"/>
                  </a:lnTo>
                  <a:lnTo>
                    <a:pt x="1271" y="1013"/>
                  </a:lnTo>
                  <a:lnTo>
                    <a:pt x="1273" y="1016"/>
                  </a:lnTo>
                  <a:lnTo>
                    <a:pt x="1275" y="1018"/>
                  </a:lnTo>
                  <a:lnTo>
                    <a:pt x="1276" y="1020"/>
                  </a:lnTo>
                  <a:lnTo>
                    <a:pt x="1278" y="1022"/>
                  </a:lnTo>
                  <a:lnTo>
                    <a:pt x="1278" y="1024"/>
                  </a:lnTo>
                  <a:lnTo>
                    <a:pt x="1280" y="1024"/>
                  </a:lnTo>
                  <a:lnTo>
                    <a:pt x="1280" y="1026"/>
                  </a:lnTo>
                  <a:lnTo>
                    <a:pt x="1282" y="1026"/>
                  </a:lnTo>
                  <a:lnTo>
                    <a:pt x="1284" y="1028"/>
                  </a:lnTo>
                  <a:lnTo>
                    <a:pt x="1290" y="1034"/>
                  </a:lnTo>
                  <a:lnTo>
                    <a:pt x="1292" y="1036"/>
                  </a:lnTo>
                  <a:lnTo>
                    <a:pt x="1294" y="1038"/>
                  </a:lnTo>
                  <a:lnTo>
                    <a:pt x="1298" y="1039"/>
                  </a:lnTo>
                  <a:lnTo>
                    <a:pt x="1300" y="1041"/>
                  </a:lnTo>
                  <a:lnTo>
                    <a:pt x="1301" y="1041"/>
                  </a:lnTo>
                  <a:lnTo>
                    <a:pt x="1303" y="1041"/>
                  </a:lnTo>
                  <a:lnTo>
                    <a:pt x="1303" y="1043"/>
                  </a:lnTo>
                  <a:lnTo>
                    <a:pt x="1305" y="1043"/>
                  </a:lnTo>
                  <a:lnTo>
                    <a:pt x="1307" y="1043"/>
                  </a:lnTo>
                  <a:lnTo>
                    <a:pt x="1313" y="1045"/>
                  </a:lnTo>
                  <a:lnTo>
                    <a:pt x="1319" y="1047"/>
                  </a:lnTo>
                  <a:lnTo>
                    <a:pt x="1321" y="1047"/>
                  </a:lnTo>
                  <a:lnTo>
                    <a:pt x="1328" y="1049"/>
                  </a:lnTo>
                  <a:lnTo>
                    <a:pt x="1330" y="1051"/>
                  </a:lnTo>
                  <a:lnTo>
                    <a:pt x="1334" y="1051"/>
                  </a:lnTo>
                  <a:lnTo>
                    <a:pt x="1340" y="1053"/>
                  </a:lnTo>
                  <a:lnTo>
                    <a:pt x="1340" y="1055"/>
                  </a:lnTo>
                  <a:lnTo>
                    <a:pt x="1342" y="1061"/>
                  </a:lnTo>
                  <a:lnTo>
                    <a:pt x="1344" y="1063"/>
                  </a:lnTo>
                  <a:lnTo>
                    <a:pt x="1344" y="1068"/>
                  </a:lnTo>
                  <a:lnTo>
                    <a:pt x="1344" y="1070"/>
                  </a:lnTo>
                  <a:lnTo>
                    <a:pt x="1344" y="1072"/>
                  </a:lnTo>
                  <a:lnTo>
                    <a:pt x="1346" y="1074"/>
                  </a:lnTo>
                  <a:lnTo>
                    <a:pt x="1346" y="1076"/>
                  </a:lnTo>
                  <a:lnTo>
                    <a:pt x="1344" y="1084"/>
                  </a:lnTo>
                  <a:lnTo>
                    <a:pt x="1344" y="1091"/>
                  </a:lnTo>
                  <a:lnTo>
                    <a:pt x="1346" y="1091"/>
                  </a:lnTo>
                  <a:lnTo>
                    <a:pt x="1347" y="1091"/>
                  </a:lnTo>
                  <a:lnTo>
                    <a:pt x="1349" y="1091"/>
                  </a:lnTo>
                  <a:lnTo>
                    <a:pt x="1349" y="1089"/>
                  </a:lnTo>
                  <a:lnTo>
                    <a:pt x="1351" y="1089"/>
                  </a:lnTo>
                  <a:lnTo>
                    <a:pt x="1355" y="1089"/>
                  </a:lnTo>
                  <a:lnTo>
                    <a:pt x="1359" y="1089"/>
                  </a:lnTo>
                  <a:lnTo>
                    <a:pt x="1361" y="1089"/>
                  </a:lnTo>
                  <a:lnTo>
                    <a:pt x="1363" y="1089"/>
                  </a:lnTo>
                  <a:lnTo>
                    <a:pt x="1363" y="1088"/>
                  </a:lnTo>
                  <a:lnTo>
                    <a:pt x="1359" y="1088"/>
                  </a:lnTo>
                  <a:lnTo>
                    <a:pt x="1357" y="1088"/>
                  </a:lnTo>
                  <a:lnTo>
                    <a:pt x="1355" y="1088"/>
                  </a:lnTo>
                  <a:lnTo>
                    <a:pt x="1351" y="1086"/>
                  </a:lnTo>
                  <a:lnTo>
                    <a:pt x="1349" y="1086"/>
                  </a:lnTo>
                  <a:lnTo>
                    <a:pt x="1349" y="1084"/>
                  </a:lnTo>
                  <a:lnTo>
                    <a:pt x="1351" y="1080"/>
                  </a:lnTo>
                  <a:lnTo>
                    <a:pt x="1351" y="1078"/>
                  </a:lnTo>
                  <a:lnTo>
                    <a:pt x="1355" y="1080"/>
                  </a:lnTo>
                  <a:lnTo>
                    <a:pt x="1359" y="1080"/>
                  </a:lnTo>
                  <a:lnTo>
                    <a:pt x="1359" y="1082"/>
                  </a:lnTo>
                  <a:lnTo>
                    <a:pt x="1361" y="1080"/>
                  </a:lnTo>
                  <a:lnTo>
                    <a:pt x="1363" y="1080"/>
                  </a:lnTo>
                  <a:lnTo>
                    <a:pt x="1365" y="1080"/>
                  </a:lnTo>
                  <a:lnTo>
                    <a:pt x="1367" y="1080"/>
                  </a:lnTo>
                  <a:lnTo>
                    <a:pt x="1369" y="1080"/>
                  </a:lnTo>
                  <a:lnTo>
                    <a:pt x="1369" y="1078"/>
                  </a:lnTo>
                  <a:lnTo>
                    <a:pt x="1367" y="1078"/>
                  </a:lnTo>
                  <a:lnTo>
                    <a:pt x="1363" y="1078"/>
                  </a:lnTo>
                  <a:lnTo>
                    <a:pt x="1363" y="1076"/>
                  </a:lnTo>
                  <a:lnTo>
                    <a:pt x="1351" y="1074"/>
                  </a:lnTo>
                  <a:lnTo>
                    <a:pt x="1349" y="1070"/>
                  </a:lnTo>
                  <a:lnTo>
                    <a:pt x="1347" y="1059"/>
                  </a:lnTo>
                  <a:lnTo>
                    <a:pt x="1346" y="1057"/>
                  </a:lnTo>
                  <a:lnTo>
                    <a:pt x="1347" y="1057"/>
                  </a:lnTo>
                  <a:lnTo>
                    <a:pt x="1347" y="1055"/>
                  </a:lnTo>
                  <a:lnTo>
                    <a:pt x="1351" y="1057"/>
                  </a:lnTo>
                  <a:lnTo>
                    <a:pt x="1367" y="1061"/>
                  </a:lnTo>
                  <a:lnTo>
                    <a:pt x="1372" y="1063"/>
                  </a:lnTo>
                  <a:lnTo>
                    <a:pt x="1367" y="1061"/>
                  </a:lnTo>
                  <a:lnTo>
                    <a:pt x="1367" y="1063"/>
                  </a:lnTo>
                  <a:lnTo>
                    <a:pt x="1367" y="1064"/>
                  </a:lnTo>
                  <a:lnTo>
                    <a:pt x="1369" y="1064"/>
                  </a:lnTo>
                  <a:lnTo>
                    <a:pt x="1369" y="1066"/>
                  </a:lnTo>
                  <a:lnTo>
                    <a:pt x="1371" y="1064"/>
                  </a:lnTo>
                  <a:lnTo>
                    <a:pt x="1369" y="1066"/>
                  </a:lnTo>
                  <a:lnTo>
                    <a:pt x="1371" y="1068"/>
                  </a:lnTo>
                  <a:lnTo>
                    <a:pt x="1372" y="1068"/>
                  </a:lnTo>
                  <a:lnTo>
                    <a:pt x="1374" y="1068"/>
                  </a:lnTo>
                  <a:lnTo>
                    <a:pt x="1374" y="1070"/>
                  </a:lnTo>
                  <a:lnTo>
                    <a:pt x="1378" y="1068"/>
                  </a:lnTo>
                  <a:lnTo>
                    <a:pt x="1378" y="1070"/>
                  </a:lnTo>
                  <a:lnTo>
                    <a:pt x="1380" y="1072"/>
                  </a:lnTo>
                  <a:lnTo>
                    <a:pt x="1378" y="1072"/>
                  </a:lnTo>
                  <a:lnTo>
                    <a:pt x="1380" y="1072"/>
                  </a:lnTo>
                  <a:lnTo>
                    <a:pt x="1380" y="1074"/>
                  </a:lnTo>
                  <a:lnTo>
                    <a:pt x="1380" y="1076"/>
                  </a:lnTo>
                  <a:lnTo>
                    <a:pt x="1380" y="1078"/>
                  </a:lnTo>
                  <a:lnTo>
                    <a:pt x="1382" y="1080"/>
                  </a:lnTo>
                  <a:lnTo>
                    <a:pt x="1382" y="1084"/>
                  </a:lnTo>
                  <a:lnTo>
                    <a:pt x="1382" y="1088"/>
                  </a:lnTo>
                  <a:lnTo>
                    <a:pt x="1384" y="1091"/>
                  </a:lnTo>
                  <a:lnTo>
                    <a:pt x="1384" y="1095"/>
                  </a:lnTo>
                  <a:lnTo>
                    <a:pt x="1384" y="1099"/>
                  </a:lnTo>
                  <a:lnTo>
                    <a:pt x="1378" y="1097"/>
                  </a:lnTo>
                  <a:lnTo>
                    <a:pt x="1376" y="1097"/>
                  </a:lnTo>
                  <a:lnTo>
                    <a:pt x="1374" y="1097"/>
                  </a:lnTo>
                  <a:lnTo>
                    <a:pt x="1374" y="1099"/>
                  </a:lnTo>
                  <a:lnTo>
                    <a:pt x="1376" y="1099"/>
                  </a:lnTo>
                  <a:lnTo>
                    <a:pt x="1376" y="1101"/>
                  </a:lnTo>
                  <a:lnTo>
                    <a:pt x="1374" y="1101"/>
                  </a:lnTo>
                  <a:lnTo>
                    <a:pt x="1376" y="1101"/>
                  </a:lnTo>
                  <a:lnTo>
                    <a:pt x="1380" y="1101"/>
                  </a:lnTo>
                  <a:lnTo>
                    <a:pt x="1386" y="1101"/>
                  </a:lnTo>
                  <a:lnTo>
                    <a:pt x="1388" y="1099"/>
                  </a:lnTo>
                  <a:lnTo>
                    <a:pt x="1388" y="1097"/>
                  </a:lnTo>
                  <a:lnTo>
                    <a:pt x="1394" y="1097"/>
                  </a:lnTo>
                  <a:lnTo>
                    <a:pt x="1395" y="1097"/>
                  </a:lnTo>
                  <a:lnTo>
                    <a:pt x="1397" y="1097"/>
                  </a:lnTo>
                  <a:lnTo>
                    <a:pt x="1397" y="1095"/>
                  </a:lnTo>
                  <a:lnTo>
                    <a:pt x="1388" y="1095"/>
                  </a:lnTo>
                  <a:lnTo>
                    <a:pt x="1388" y="1093"/>
                  </a:lnTo>
                  <a:lnTo>
                    <a:pt x="1388" y="1091"/>
                  </a:lnTo>
                  <a:lnTo>
                    <a:pt x="1395" y="1093"/>
                  </a:lnTo>
                  <a:lnTo>
                    <a:pt x="1397" y="1093"/>
                  </a:lnTo>
                  <a:lnTo>
                    <a:pt x="1397" y="1091"/>
                  </a:lnTo>
                  <a:lnTo>
                    <a:pt x="1395" y="1091"/>
                  </a:lnTo>
                  <a:lnTo>
                    <a:pt x="1392" y="1091"/>
                  </a:lnTo>
                  <a:lnTo>
                    <a:pt x="1388" y="1091"/>
                  </a:lnTo>
                  <a:lnTo>
                    <a:pt x="1388" y="1089"/>
                  </a:lnTo>
                  <a:lnTo>
                    <a:pt x="1386" y="1089"/>
                  </a:lnTo>
                  <a:lnTo>
                    <a:pt x="1386" y="1088"/>
                  </a:lnTo>
                  <a:lnTo>
                    <a:pt x="1388" y="1088"/>
                  </a:lnTo>
                  <a:lnTo>
                    <a:pt x="1392" y="1088"/>
                  </a:lnTo>
                  <a:lnTo>
                    <a:pt x="1395" y="1088"/>
                  </a:lnTo>
                  <a:lnTo>
                    <a:pt x="1397" y="1088"/>
                  </a:lnTo>
                  <a:lnTo>
                    <a:pt x="1397" y="1086"/>
                  </a:lnTo>
                  <a:lnTo>
                    <a:pt x="1397" y="1088"/>
                  </a:lnTo>
                  <a:lnTo>
                    <a:pt x="1395" y="1086"/>
                  </a:lnTo>
                  <a:lnTo>
                    <a:pt x="1394" y="1086"/>
                  </a:lnTo>
                  <a:lnTo>
                    <a:pt x="1392" y="1086"/>
                  </a:lnTo>
                  <a:lnTo>
                    <a:pt x="1390" y="1086"/>
                  </a:lnTo>
                  <a:lnTo>
                    <a:pt x="1386" y="1084"/>
                  </a:lnTo>
                  <a:lnTo>
                    <a:pt x="1384" y="1076"/>
                  </a:lnTo>
                  <a:lnTo>
                    <a:pt x="1384" y="1074"/>
                  </a:lnTo>
                  <a:lnTo>
                    <a:pt x="1382" y="1074"/>
                  </a:lnTo>
                  <a:lnTo>
                    <a:pt x="1382" y="1070"/>
                  </a:lnTo>
                  <a:lnTo>
                    <a:pt x="1382" y="1066"/>
                  </a:lnTo>
                  <a:lnTo>
                    <a:pt x="1388" y="1066"/>
                  </a:lnTo>
                  <a:lnTo>
                    <a:pt x="1388" y="1068"/>
                  </a:lnTo>
                  <a:lnTo>
                    <a:pt x="1390" y="1068"/>
                  </a:lnTo>
                  <a:lnTo>
                    <a:pt x="1392" y="1068"/>
                  </a:lnTo>
                  <a:lnTo>
                    <a:pt x="1394" y="1068"/>
                  </a:lnTo>
                  <a:lnTo>
                    <a:pt x="1394" y="1070"/>
                  </a:lnTo>
                  <a:lnTo>
                    <a:pt x="1403" y="1072"/>
                  </a:lnTo>
                  <a:lnTo>
                    <a:pt x="1403" y="1074"/>
                  </a:lnTo>
                  <a:lnTo>
                    <a:pt x="1401" y="1076"/>
                  </a:lnTo>
                  <a:lnTo>
                    <a:pt x="1395" y="1074"/>
                  </a:lnTo>
                  <a:lnTo>
                    <a:pt x="1394" y="1072"/>
                  </a:lnTo>
                  <a:lnTo>
                    <a:pt x="1392" y="1074"/>
                  </a:lnTo>
                  <a:lnTo>
                    <a:pt x="1394" y="1074"/>
                  </a:lnTo>
                  <a:lnTo>
                    <a:pt x="1395" y="1074"/>
                  </a:lnTo>
                  <a:lnTo>
                    <a:pt x="1397" y="1074"/>
                  </a:lnTo>
                  <a:lnTo>
                    <a:pt x="1397" y="1076"/>
                  </a:lnTo>
                  <a:lnTo>
                    <a:pt x="1397" y="1074"/>
                  </a:lnTo>
                  <a:lnTo>
                    <a:pt x="1399" y="1076"/>
                  </a:lnTo>
                  <a:lnTo>
                    <a:pt x="1397" y="1076"/>
                  </a:lnTo>
                  <a:lnTo>
                    <a:pt x="1399" y="1076"/>
                  </a:lnTo>
                  <a:lnTo>
                    <a:pt x="1401" y="1076"/>
                  </a:lnTo>
                  <a:lnTo>
                    <a:pt x="1399" y="1078"/>
                  </a:lnTo>
                  <a:lnTo>
                    <a:pt x="1397" y="1080"/>
                  </a:lnTo>
                  <a:lnTo>
                    <a:pt x="1397" y="1082"/>
                  </a:lnTo>
                  <a:lnTo>
                    <a:pt x="1395" y="1082"/>
                  </a:lnTo>
                  <a:lnTo>
                    <a:pt x="1397" y="1082"/>
                  </a:lnTo>
                  <a:lnTo>
                    <a:pt x="1397" y="1084"/>
                  </a:lnTo>
                  <a:lnTo>
                    <a:pt x="1399" y="1082"/>
                  </a:lnTo>
                  <a:lnTo>
                    <a:pt x="1401" y="1080"/>
                  </a:lnTo>
                  <a:lnTo>
                    <a:pt x="1399" y="1080"/>
                  </a:lnTo>
                  <a:lnTo>
                    <a:pt x="1401" y="1080"/>
                  </a:lnTo>
                  <a:lnTo>
                    <a:pt x="1399" y="1080"/>
                  </a:lnTo>
                  <a:lnTo>
                    <a:pt x="1401" y="1080"/>
                  </a:lnTo>
                  <a:lnTo>
                    <a:pt x="1405" y="1076"/>
                  </a:lnTo>
                  <a:lnTo>
                    <a:pt x="1405" y="1082"/>
                  </a:lnTo>
                  <a:lnTo>
                    <a:pt x="1407" y="1084"/>
                  </a:lnTo>
                  <a:lnTo>
                    <a:pt x="1409" y="1086"/>
                  </a:lnTo>
                  <a:lnTo>
                    <a:pt x="1411" y="1088"/>
                  </a:lnTo>
                  <a:lnTo>
                    <a:pt x="1411" y="1086"/>
                  </a:lnTo>
                  <a:lnTo>
                    <a:pt x="1413" y="1086"/>
                  </a:lnTo>
                  <a:lnTo>
                    <a:pt x="1411" y="1086"/>
                  </a:lnTo>
                  <a:lnTo>
                    <a:pt x="1413" y="1086"/>
                  </a:lnTo>
                  <a:lnTo>
                    <a:pt x="1409" y="1084"/>
                  </a:lnTo>
                  <a:lnTo>
                    <a:pt x="1409" y="1082"/>
                  </a:lnTo>
                  <a:lnTo>
                    <a:pt x="1407" y="1082"/>
                  </a:lnTo>
                  <a:lnTo>
                    <a:pt x="1409" y="1082"/>
                  </a:lnTo>
                  <a:lnTo>
                    <a:pt x="1407" y="1078"/>
                  </a:lnTo>
                  <a:lnTo>
                    <a:pt x="1407" y="1076"/>
                  </a:lnTo>
                  <a:lnTo>
                    <a:pt x="1407" y="1072"/>
                  </a:lnTo>
                  <a:lnTo>
                    <a:pt x="1413" y="1074"/>
                  </a:lnTo>
                  <a:lnTo>
                    <a:pt x="1417" y="1076"/>
                  </a:lnTo>
                  <a:lnTo>
                    <a:pt x="1419" y="1076"/>
                  </a:lnTo>
                  <a:lnTo>
                    <a:pt x="1420" y="1078"/>
                  </a:lnTo>
                  <a:lnTo>
                    <a:pt x="1420" y="1080"/>
                  </a:lnTo>
                  <a:lnTo>
                    <a:pt x="1422" y="1080"/>
                  </a:lnTo>
                  <a:lnTo>
                    <a:pt x="1424" y="1080"/>
                  </a:lnTo>
                  <a:lnTo>
                    <a:pt x="1419" y="1086"/>
                  </a:lnTo>
                  <a:lnTo>
                    <a:pt x="1417" y="1088"/>
                  </a:lnTo>
                  <a:lnTo>
                    <a:pt x="1419" y="1089"/>
                  </a:lnTo>
                  <a:lnTo>
                    <a:pt x="1419" y="1088"/>
                  </a:lnTo>
                  <a:lnTo>
                    <a:pt x="1419" y="1089"/>
                  </a:lnTo>
                  <a:lnTo>
                    <a:pt x="1420" y="1088"/>
                  </a:lnTo>
                  <a:lnTo>
                    <a:pt x="1422" y="1084"/>
                  </a:lnTo>
                  <a:lnTo>
                    <a:pt x="1422" y="1086"/>
                  </a:lnTo>
                  <a:lnTo>
                    <a:pt x="1424" y="1086"/>
                  </a:lnTo>
                  <a:lnTo>
                    <a:pt x="1422" y="1086"/>
                  </a:lnTo>
                  <a:lnTo>
                    <a:pt x="1424" y="1086"/>
                  </a:lnTo>
                  <a:lnTo>
                    <a:pt x="1420" y="1089"/>
                  </a:lnTo>
                  <a:lnTo>
                    <a:pt x="1422" y="1091"/>
                  </a:lnTo>
                  <a:lnTo>
                    <a:pt x="1424" y="1088"/>
                  </a:lnTo>
                  <a:lnTo>
                    <a:pt x="1426" y="1088"/>
                  </a:lnTo>
                  <a:lnTo>
                    <a:pt x="1426" y="1089"/>
                  </a:lnTo>
                  <a:lnTo>
                    <a:pt x="1428" y="1091"/>
                  </a:lnTo>
                  <a:lnTo>
                    <a:pt x="1428" y="1089"/>
                  </a:lnTo>
                  <a:lnTo>
                    <a:pt x="1428" y="1088"/>
                  </a:lnTo>
                  <a:lnTo>
                    <a:pt x="1426" y="1084"/>
                  </a:lnTo>
                  <a:lnTo>
                    <a:pt x="1426" y="1082"/>
                  </a:lnTo>
                  <a:lnTo>
                    <a:pt x="1426" y="1084"/>
                  </a:lnTo>
                  <a:lnTo>
                    <a:pt x="1428" y="1086"/>
                  </a:lnTo>
                  <a:lnTo>
                    <a:pt x="1430" y="1088"/>
                  </a:lnTo>
                  <a:lnTo>
                    <a:pt x="1430" y="1089"/>
                  </a:lnTo>
                  <a:lnTo>
                    <a:pt x="1432" y="1089"/>
                  </a:lnTo>
                  <a:lnTo>
                    <a:pt x="1430" y="1091"/>
                  </a:lnTo>
                  <a:lnTo>
                    <a:pt x="1426" y="1093"/>
                  </a:lnTo>
                  <a:lnTo>
                    <a:pt x="1424" y="1095"/>
                  </a:lnTo>
                  <a:lnTo>
                    <a:pt x="1422" y="1095"/>
                  </a:lnTo>
                  <a:lnTo>
                    <a:pt x="1419" y="1093"/>
                  </a:lnTo>
                  <a:lnTo>
                    <a:pt x="1417" y="1089"/>
                  </a:lnTo>
                  <a:lnTo>
                    <a:pt x="1415" y="1091"/>
                  </a:lnTo>
                  <a:lnTo>
                    <a:pt x="1413" y="1093"/>
                  </a:lnTo>
                  <a:lnTo>
                    <a:pt x="1419" y="1097"/>
                  </a:lnTo>
                  <a:lnTo>
                    <a:pt x="1419" y="1099"/>
                  </a:lnTo>
                  <a:lnTo>
                    <a:pt x="1415" y="1097"/>
                  </a:lnTo>
                  <a:lnTo>
                    <a:pt x="1415" y="1099"/>
                  </a:lnTo>
                  <a:lnTo>
                    <a:pt x="1417" y="1099"/>
                  </a:lnTo>
                  <a:lnTo>
                    <a:pt x="1417" y="1101"/>
                  </a:lnTo>
                  <a:lnTo>
                    <a:pt x="1419" y="1101"/>
                  </a:lnTo>
                  <a:lnTo>
                    <a:pt x="1420" y="1101"/>
                  </a:lnTo>
                  <a:lnTo>
                    <a:pt x="1422" y="1101"/>
                  </a:lnTo>
                  <a:lnTo>
                    <a:pt x="1424" y="1099"/>
                  </a:lnTo>
                  <a:lnTo>
                    <a:pt x="1426" y="1099"/>
                  </a:lnTo>
                  <a:lnTo>
                    <a:pt x="1426" y="1097"/>
                  </a:lnTo>
                  <a:lnTo>
                    <a:pt x="1428" y="1097"/>
                  </a:lnTo>
                  <a:lnTo>
                    <a:pt x="1430" y="1099"/>
                  </a:lnTo>
                  <a:lnTo>
                    <a:pt x="1430" y="1101"/>
                  </a:lnTo>
                  <a:lnTo>
                    <a:pt x="1432" y="1101"/>
                  </a:lnTo>
                  <a:lnTo>
                    <a:pt x="1432" y="1099"/>
                  </a:lnTo>
                  <a:lnTo>
                    <a:pt x="1432" y="1097"/>
                  </a:lnTo>
                  <a:lnTo>
                    <a:pt x="1430" y="1095"/>
                  </a:lnTo>
                  <a:lnTo>
                    <a:pt x="1432" y="1093"/>
                  </a:lnTo>
                  <a:lnTo>
                    <a:pt x="1434" y="1097"/>
                  </a:lnTo>
                  <a:lnTo>
                    <a:pt x="1434" y="1103"/>
                  </a:lnTo>
                  <a:lnTo>
                    <a:pt x="1436" y="1103"/>
                  </a:lnTo>
                  <a:lnTo>
                    <a:pt x="1438" y="1101"/>
                  </a:lnTo>
                  <a:lnTo>
                    <a:pt x="1438" y="1099"/>
                  </a:lnTo>
                  <a:lnTo>
                    <a:pt x="1440" y="1099"/>
                  </a:lnTo>
                  <a:lnTo>
                    <a:pt x="1438" y="1099"/>
                  </a:lnTo>
                  <a:lnTo>
                    <a:pt x="1440" y="1099"/>
                  </a:lnTo>
                  <a:lnTo>
                    <a:pt x="1443" y="1105"/>
                  </a:lnTo>
                  <a:lnTo>
                    <a:pt x="1442" y="1105"/>
                  </a:lnTo>
                  <a:lnTo>
                    <a:pt x="1440" y="1101"/>
                  </a:lnTo>
                  <a:lnTo>
                    <a:pt x="1438" y="1101"/>
                  </a:lnTo>
                  <a:lnTo>
                    <a:pt x="1438" y="1103"/>
                  </a:lnTo>
                  <a:lnTo>
                    <a:pt x="1438" y="1101"/>
                  </a:lnTo>
                  <a:lnTo>
                    <a:pt x="1436" y="1103"/>
                  </a:lnTo>
                  <a:lnTo>
                    <a:pt x="1436" y="1105"/>
                  </a:lnTo>
                  <a:lnTo>
                    <a:pt x="1436" y="1107"/>
                  </a:lnTo>
                  <a:lnTo>
                    <a:pt x="1436" y="1105"/>
                  </a:lnTo>
                  <a:lnTo>
                    <a:pt x="1436" y="1107"/>
                  </a:lnTo>
                  <a:lnTo>
                    <a:pt x="1438" y="1107"/>
                  </a:lnTo>
                  <a:lnTo>
                    <a:pt x="1438" y="1109"/>
                  </a:lnTo>
                  <a:lnTo>
                    <a:pt x="1438" y="1107"/>
                  </a:lnTo>
                  <a:lnTo>
                    <a:pt x="1440" y="1107"/>
                  </a:lnTo>
                  <a:lnTo>
                    <a:pt x="1442" y="1107"/>
                  </a:lnTo>
                  <a:lnTo>
                    <a:pt x="1440" y="1109"/>
                  </a:lnTo>
                  <a:lnTo>
                    <a:pt x="1440" y="1111"/>
                  </a:lnTo>
                  <a:lnTo>
                    <a:pt x="1442" y="1111"/>
                  </a:lnTo>
                  <a:lnTo>
                    <a:pt x="1442" y="1112"/>
                  </a:lnTo>
                  <a:lnTo>
                    <a:pt x="1443" y="1112"/>
                  </a:lnTo>
                  <a:lnTo>
                    <a:pt x="1443" y="1111"/>
                  </a:lnTo>
                  <a:lnTo>
                    <a:pt x="1443" y="1109"/>
                  </a:lnTo>
                  <a:lnTo>
                    <a:pt x="1443" y="1111"/>
                  </a:lnTo>
                  <a:lnTo>
                    <a:pt x="1445" y="1111"/>
                  </a:lnTo>
                  <a:lnTo>
                    <a:pt x="1445" y="1112"/>
                  </a:lnTo>
                  <a:lnTo>
                    <a:pt x="1443" y="1112"/>
                  </a:lnTo>
                  <a:lnTo>
                    <a:pt x="1445" y="1112"/>
                  </a:lnTo>
                  <a:lnTo>
                    <a:pt x="1445" y="1114"/>
                  </a:lnTo>
                  <a:lnTo>
                    <a:pt x="1445" y="1112"/>
                  </a:lnTo>
                  <a:lnTo>
                    <a:pt x="1445" y="1114"/>
                  </a:lnTo>
                  <a:lnTo>
                    <a:pt x="1445" y="1116"/>
                  </a:lnTo>
                  <a:lnTo>
                    <a:pt x="1445" y="1118"/>
                  </a:lnTo>
                  <a:lnTo>
                    <a:pt x="1445" y="1120"/>
                  </a:lnTo>
                  <a:lnTo>
                    <a:pt x="1447" y="1118"/>
                  </a:lnTo>
                  <a:lnTo>
                    <a:pt x="1447" y="1122"/>
                  </a:lnTo>
                  <a:lnTo>
                    <a:pt x="1445" y="1122"/>
                  </a:lnTo>
                  <a:lnTo>
                    <a:pt x="1447" y="1122"/>
                  </a:lnTo>
                  <a:lnTo>
                    <a:pt x="1447" y="1124"/>
                  </a:lnTo>
                  <a:lnTo>
                    <a:pt x="1449" y="1124"/>
                  </a:lnTo>
                  <a:lnTo>
                    <a:pt x="1447" y="1124"/>
                  </a:lnTo>
                  <a:lnTo>
                    <a:pt x="1449" y="1124"/>
                  </a:lnTo>
                  <a:lnTo>
                    <a:pt x="1449" y="1126"/>
                  </a:lnTo>
                  <a:lnTo>
                    <a:pt x="1449" y="1124"/>
                  </a:lnTo>
                  <a:lnTo>
                    <a:pt x="1451" y="1126"/>
                  </a:lnTo>
                  <a:lnTo>
                    <a:pt x="1449" y="1126"/>
                  </a:lnTo>
                  <a:lnTo>
                    <a:pt x="1451" y="1126"/>
                  </a:lnTo>
                  <a:lnTo>
                    <a:pt x="1455" y="1130"/>
                  </a:lnTo>
                  <a:lnTo>
                    <a:pt x="1457" y="1130"/>
                  </a:lnTo>
                  <a:lnTo>
                    <a:pt x="1459" y="1130"/>
                  </a:lnTo>
                  <a:lnTo>
                    <a:pt x="1461" y="1132"/>
                  </a:lnTo>
                  <a:lnTo>
                    <a:pt x="1461" y="1130"/>
                  </a:lnTo>
                  <a:lnTo>
                    <a:pt x="1461" y="1132"/>
                  </a:lnTo>
                  <a:lnTo>
                    <a:pt x="1463" y="1130"/>
                  </a:lnTo>
                  <a:lnTo>
                    <a:pt x="1461" y="1130"/>
                  </a:lnTo>
                  <a:lnTo>
                    <a:pt x="1463" y="1130"/>
                  </a:lnTo>
                  <a:lnTo>
                    <a:pt x="1465" y="1130"/>
                  </a:lnTo>
                  <a:lnTo>
                    <a:pt x="1466" y="1132"/>
                  </a:lnTo>
                  <a:lnTo>
                    <a:pt x="1468" y="1132"/>
                  </a:lnTo>
                  <a:lnTo>
                    <a:pt x="1470" y="1132"/>
                  </a:lnTo>
                  <a:lnTo>
                    <a:pt x="1472" y="1134"/>
                  </a:lnTo>
                  <a:lnTo>
                    <a:pt x="1474" y="1134"/>
                  </a:lnTo>
                  <a:lnTo>
                    <a:pt x="1476" y="1134"/>
                  </a:lnTo>
                  <a:lnTo>
                    <a:pt x="1478" y="1136"/>
                  </a:lnTo>
                  <a:lnTo>
                    <a:pt x="1480" y="1136"/>
                  </a:lnTo>
                  <a:lnTo>
                    <a:pt x="1484" y="1137"/>
                  </a:lnTo>
                  <a:lnTo>
                    <a:pt x="1484" y="1136"/>
                  </a:lnTo>
                  <a:lnTo>
                    <a:pt x="1482" y="1136"/>
                  </a:lnTo>
                  <a:lnTo>
                    <a:pt x="1482" y="1134"/>
                  </a:lnTo>
                  <a:lnTo>
                    <a:pt x="1480" y="1134"/>
                  </a:lnTo>
                  <a:lnTo>
                    <a:pt x="1480" y="1132"/>
                  </a:lnTo>
                  <a:close/>
                  <a:moveTo>
                    <a:pt x="1186" y="990"/>
                  </a:moveTo>
                  <a:lnTo>
                    <a:pt x="1182" y="990"/>
                  </a:lnTo>
                  <a:lnTo>
                    <a:pt x="1181" y="990"/>
                  </a:lnTo>
                  <a:lnTo>
                    <a:pt x="1182" y="990"/>
                  </a:lnTo>
                  <a:lnTo>
                    <a:pt x="1182" y="988"/>
                  </a:lnTo>
                  <a:lnTo>
                    <a:pt x="1186" y="986"/>
                  </a:lnTo>
                  <a:lnTo>
                    <a:pt x="1186" y="990"/>
                  </a:lnTo>
                  <a:close/>
                  <a:moveTo>
                    <a:pt x="1215" y="988"/>
                  </a:moveTo>
                  <a:lnTo>
                    <a:pt x="1215" y="990"/>
                  </a:lnTo>
                  <a:lnTo>
                    <a:pt x="1219" y="990"/>
                  </a:lnTo>
                  <a:lnTo>
                    <a:pt x="1213" y="988"/>
                  </a:lnTo>
                  <a:lnTo>
                    <a:pt x="1211" y="988"/>
                  </a:lnTo>
                  <a:lnTo>
                    <a:pt x="1209" y="988"/>
                  </a:lnTo>
                  <a:lnTo>
                    <a:pt x="1205" y="988"/>
                  </a:lnTo>
                  <a:lnTo>
                    <a:pt x="1202" y="988"/>
                  </a:lnTo>
                  <a:lnTo>
                    <a:pt x="1198" y="988"/>
                  </a:lnTo>
                  <a:lnTo>
                    <a:pt x="1196" y="986"/>
                  </a:lnTo>
                  <a:lnTo>
                    <a:pt x="1198" y="986"/>
                  </a:lnTo>
                  <a:lnTo>
                    <a:pt x="1204" y="988"/>
                  </a:lnTo>
                  <a:lnTo>
                    <a:pt x="1205" y="988"/>
                  </a:lnTo>
                  <a:lnTo>
                    <a:pt x="1207" y="988"/>
                  </a:lnTo>
                  <a:lnTo>
                    <a:pt x="1209" y="988"/>
                  </a:lnTo>
                  <a:lnTo>
                    <a:pt x="1209" y="986"/>
                  </a:lnTo>
                  <a:lnTo>
                    <a:pt x="1207" y="986"/>
                  </a:lnTo>
                  <a:lnTo>
                    <a:pt x="1209" y="986"/>
                  </a:lnTo>
                  <a:lnTo>
                    <a:pt x="1215" y="988"/>
                  </a:lnTo>
                  <a:close/>
                  <a:moveTo>
                    <a:pt x="1704" y="640"/>
                  </a:moveTo>
                  <a:lnTo>
                    <a:pt x="1704" y="642"/>
                  </a:lnTo>
                  <a:lnTo>
                    <a:pt x="1703" y="642"/>
                  </a:lnTo>
                  <a:lnTo>
                    <a:pt x="1701" y="642"/>
                  </a:lnTo>
                  <a:lnTo>
                    <a:pt x="1701" y="640"/>
                  </a:lnTo>
                  <a:lnTo>
                    <a:pt x="1703" y="640"/>
                  </a:lnTo>
                  <a:lnTo>
                    <a:pt x="1704" y="640"/>
                  </a:lnTo>
                  <a:close/>
                  <a:moveTo>
                    <a:pt x="1704" y="638"/>
                  </a:moveTo>
                  <a:lnTo>
                    <a:pt x="1704" y="640"/>
                  </a:lnTo>
                  <a:lnTo>
                    <a:pt x="1704" y="638"/>
                  </a:lnTo>
                  <a:close/>
                  <a:moveTo>
                    <a:pt x="1708" y="640"/>
                  </a:moveTo>
                  <a:lnTo>
                    <a:pt x="1708" y="642"/>
                  </a:lnTo>
                  <a:lnTo>
                    <a:pt x="1710" y="642"/>
                  </a:lnTo>
                  <a:lnTo>
                    <a:pt x="1710" y="644"/>
                  </a:lnTo>
                  <a:lnTo>
                    <a:pt x="1708" y="642"/>
                  </a:lnTo>
                  <a:lnTo>
                    <a:pt x="1706" y="642"/>
                  </a:lnTo>
                  <a:lnTo>
                    <a:pt x="1706" y="638"/>
                  </a:lnTo>
                  <a:lnTo>
                    <a:pt x="1708" y="638"/>
                  </a:lnTo>
                  <a:lnTo>
                    <a:pt x="1708" y="640"/>
                  </a:lnTo>
                  <a:lnTo>
                    <a:pt x="1706" y="640"/>
                  </a:lnTo>
                  <a:lnTo>
                    <a:pt x="1708" y="640"/>
                  </a:lnTo>
                  <a:lnTo>
                    <a:pt x="1706" y="640"/>
                  </a:lnTo>
                  <a:lnTo>
                    <a:pt x="1708" y="640"/>
                  </a:lnTo>
                  <a:close/>
                  <a:moveTo>
                    <a:pt x="1701" y="638"/>
                  </a:moveTo>
                  <a:lnTo>
                    <a:pt x="1699" y="638"/>
                  </a:lnTo>
                  <a:lnTo>
                    <a:pt x="1699" y="640"/>
                  </a:lnTo>
                  <a:lnTo>
                    <a:pt x="1701" y="640"/>
                  </a:lnTo>
                  <a:lnTo>
                    <a:pt x="1701" y="642"/>
                  </a:lnTo>
                  <a:lnTo>
                    <a:pt x="1701" y="640"/>
                  </a:lnTo>
                  <a:lnTo>
                    <a:pt x="1701" y="642"/>
                  </a:lnTo>
                  <a:lnTo>
                    <a:pt x="1697" y="640"/>
                  </a:lnTo>
                  <a:lnTo>
                    <a:pt x="1699" y="638"/>
                  </a:lnTo>
                  <a:lnTo>
                    <a:pt x="1701" y="638"/>
                  </a:lnTo>
                  <a:close/>
                  <a:moveTo>
                    <a:pt x="1689" y="625"/>
                  </a:moveTo>
                  <a:lnTo>
                    <a:pt x="1691" y="627"/>
                  </a:lnTo>
                  <a:lnTo>
                    <a:pt x="1691" y="628"/>
                  </a:lnTo>
                  <a:lnTo>
                    <a:pt x="1693" y="628"/>
                  </a:lnTo>
                  <a:lnTo>
                    <a:pt x="1695" y="630"/>
                  </a:lnTo>
                  <a:lnTo>
                    <a:pt x="1697" y="632"/>
                  </a:lnTo>
                  <a:lnTo>
                    <a:pt x="1697" y="634"/>
                  </a:lnTo>
                  <a:lnTo>
                    <a:pt x="1697" y="632"/>
                  </a:lnTo>
                  <a:lnTo>
                    <a:pt x="1695" y="630"/>
                  </a:lnTo>
                  <a:lnTo>
                    <a:pt x="1693" y="630"/>
                  </a:lnTo>
                  <a:lnTo>
                    <a:pt x="1691" y="630"/>
                  </a:lnTo>
                  <a:lnTo>
                    <a:pt x="1691" y="628"/>
                  </a:lnTo>
                  <a:lnTo>
                    <a:pt x="1693" y="628"/>
                  </a:lnTo>
                  <a:lnTo>
                    <a:pt x="1691" y="628"/>
                  </a:lnTo>
                  <a:lnTo>
                    <a:pt x="1691" y="627"/>
                  </a:lnTo>
                  <a:lnTo>
                    <a:pt x="1689" y="627"/>
                  </a:lnTo>
                  <a:lnTo>
                    <a:pt x="1689" y="625"/>
                  </a:lnTo>
                  <a:lnTo>
                    <a:pt x="1689" y="627"/>
                  </a:lnTo>
                  <a:lnTo>
                    <a:pt x="1689" y="625"/>
                  </a:lnTo>
                  <a:lnTo>
                    <a:pt x="1687" y="625"/>
                  </a:lnTo>
                  <a:lnTo>
                    <a:pt x="1689" y="625"/>
                  </a:lnTo>
                  <a:close/>
                  <a:moveTo>
                    <a:pt x="1676" y="603"/>
                  </a:moveTo>
                  <a:lnTo>
                    <a:pt x="1678" y="603"/>
                  </a:lnTo>
                  <a:lnTo>
                    <a:pt x="1678" y="605"/>
                  </a:lnTo>
                  <a:lnTo>
                    <a:pt x="1676" y="605"/>
                  </a:lnTo>
                  <a:lnTo>
                    <a:pt x="1676" y="603"/>
                  </a:lnTo>
                  <a:close/>
                  <a:moveTo>
                    <a:pt x="1772" y="565"/>
                  </a:moveTo>
                  <a:lnTo>
                    <a:pt x="1770" y="565"/>
                  </a:lnTo>
                  <a:lnTo>
                    <a:pt x="1770" y="563"/>
                  </a:lnTo>
                  <a:lnTo>
                    <a:pt x="1770" y="561"/>
                  </a:lnTo>
                  <a:lnTo>
                    <a:pt x="1772" y="561"/>
                  </a:lnTo>
                  <a:lnTo>
                    <a:pt x="1772" y="563"/>
                  </a:lnTo>
                  <a:lnTo>
                    <a:pt x="1772" y="565"/>
                  </a:lnTo>
                  <a:close/>
                  <a:moveTo>
                    <a:pt x="1768" y="557"/>
                  </a:moveTo>
                  <a:lnTo>
                    <a:pt x="1768" y="559"/>
                  </a:lnTo>
                  <a:lnTo>
                    <a:pt x="1770" y="559"/>
                  </a:lnTo>
                  <a:lnTo>
                    <a:pt x="1770" y="561"/>
                  </a:lnTo>
                  <a:lnTo>
                    <a:pt x="1770" y="563"/>
                  </a:lnTo>
                  <a:lnTo>
                    <a:pt x="1768" y="563"/>
                  </a:lnTo>
                  <a:lnTo>
                    <a:pt x="1766" y="561"/>
                  </a:lnTo>
                  <a:lnTo>
                    <a:pt x="1766" y="559"/>
                  </a:lnTo>
                  <a:lnTo>
                    <a:pt x="1768" y="557"/>
                  </a:lnTo>
                  <a:close/>
                  <a:moveTo>
                    <a:pt x="1764" y="552"/>
                  </a:moveTo>
                  <a:lnTo>
                    <a:pt x="1777" y="567"/>
                  </a:lnTo>
                  <a:lnTo>
                    <a:pt x="1775" y="567"/>
                  </a:lnTo>
                  <a:lnTo>
                    <a:pt x="1775" y="569"/>
                  </a:lnTo>
                  <a:lnTo>
                    <a:pt x="1775" y="567"/>
                  </a:lnTo>
                  <a:lnTo>
                    <a:pt x="1775" y="565"/>
                  </a:lnTo>
                  <a:lnTo>
                    <a:pt x="1775" y="563"/>
                  </a:lnTo>
                  <a:lnTo>
                    <a:pt x="1774" y="563"/>
                  </a:lnTo>
                  <a:lnTo>
                    <a:pt x="1772" y="561"/>
                  </a:lnTo>
                  <a:lnTo>
                    <a:pt x="1772" y="559"/>
                  </a:lnTo>
                  <a:lnTo>
                    <a:pt x="1770" y="559"/>
                  </a:lnTo>
                  <a:lnTo>
                    <a:pt x="1770" y="557"/>
                  </a:lnTo>
                  <a:lnTo>
                    <a:pt x="1768" y="557"/>
                  </a:lnTo>
                  <a:lnTo>
                    <a:pt x="1768" y="555"/>
                  </a:lnTo>
                  <a:lnTo>
                    <a:pt x="1766" y="555"/>
                  </a:lnTo>
                  <a:lnTo>
                    <a:pt x="1768" y="555"/>
                  </a:lnTo>
                  <a:lnTo>
                    <a:pt x="1766" y="555"/>
                  </a:lnTo>
                  <a:lnTo>
                    <a:pt x="1766" y="554"/>
                  </a:lnTo>
                  <a:lnTo>
                    <a:pt x="1768" y="554"/>
                  </a:lnTo>
                  <a:lnTo>
                    <a:pt x="1766" y="554"/>
                  </a:lnTo>
                  <a:lnTo>
                    <a:pt x="1764" y="554"/>
                  </a:lnTo>
                  <a:lnTo>
                    <a:pt x="1764" y="552"/>
                  </a:lnTo>
                  <a:lnTo>
                    <a:pt x="1764" y="554"/>
                  </a:lnTo>
                  <a:lnTo>
                    <a:pt x="1764" y="552"/>
                  </a:lnTo>
                  <a:lnTo>
                    <a:pt x="1764" y="554"/>
                  </a:lnTo>
                  <a:lnTo>
                    <a:pt x="1762" y="554"/>
                  </a:lnTo>
                  <a:lnTo>
                    <a:pt x="1762" y="555"/>
                  </a:lnTo>
                  <a:lnTo>
                    <a:pt x="1762" y="557"/>
                  </a:lnTo>
                  <a:lnTo>
                    <a:pt x="1762" y="555"/>
                  </a:lnTo>
                  <a:lnTo>
                    <a:pt x="1762" y="557"/>
                  </a:lnTo>
                  <a:lnTo>
                    <a:pt x="1764" y="557"/>
                  </a:lnTo>
                  <a:lnTo>
                    <a:pt x="1764" y="559"/>
                  </a:lnTo>
                  <a:lnTo>
                    <a:pt x="1764" y="561"/>
                  </a:lnTo>
                  <a:lnTo>
                    <a:pt x="1764" y="563"/>
                  </a:lnTo>
                  <a:lnTo>
                    <a:pt x="1764" y="561"/>
                  </a:lnTo>
                  <a:lnTo>
                    <a:pt x="1766" y="561"/>
                  </a:lnTo>
                  <a:lnTo>
                    <a:pt x="1766" y="563"/>
                  </a:lnTo>
                  <a:lnTo>
                    <a:pt x="1768" y="563"/>
                  </a:lnTo>
                  <a:lnTo>
                    <a:pt x="1768" y="565"/>
                  </a:lnTo>
                  <a:lnTo>
                    <a:pt x="1770" y="565"/>
                  </a:lnTo>
                  <a:lnTo>
                    <a:pt x="1772" y="567"/>
                  </a:lnTo>
                  <a:lnTo>
                    <a:pt x="1774" y="567"/>
                  </a:lnTo>
                  <a:lnTo>
                    <a:pt x="1775" y="567"/>
                  </a:lnTo>
                  <a:lnTo>
                    <a:pt x="1774" y="567"/>
                  </a:lnTo>
                  <a:lnTo>
                    <a:pt x="1774" y="569"/>
                  </a:lnTo>
                  <a:lnTo>
                    <a:pt x="1775" y="569"/>
                  </a:lnTo>
                  <a:lnTo>
                    <a:pt x="1774" y="569"/>
                  </a:lnTo>
                  <a:lnTo>
                    <a:pt x="1772" y="567"/>
                  </a:lnTo>
                  <a:lnTo>
                    <a:pt x="1770" y="567"/>
                  </a:lnTo>
                  <a:lnTo>
                    <a:pt x="1766" y="563"/>
                  </a:lnTo>
                  <a:lnTo>
                    <a:pt x="1762" y="561"/>
                  </a:lnTo>
                  <a:lnTo>
                    <a:pt x="1764" y="559"/>
                  </a:lnTo>
                  <a:lnTo>
                    <a:pt x="1762" y="555"/>
                  </a:lnTo>
                  <a:lnTo>
                    <a:pt x="1760" y="555"/>
                  </a:lnTo>
                  <a:lnTo>
                    <a:pt x="1764" y="552"/>
                  </a:lnTo>
                  <a:close/>
                  <a:moveTo>
                    <a:pt x="1536" y="392"/>
                  </a:moveTo>
                  <a:lnTo>
                    <a:pt x="1534" y="392"/>
                  </a:lnTo>
                  <a:lnTo>
                    <a:pt x="1536" y="390"/>
                  </a:lnTo>
                  <a:lnTo>
                    <a:pt x="1539" y="388"/>
                  </a:lnTo>
                  <a:lnTo>
                    <a:pt x="1539" y="390"/>
                  </a:lnTo>
                  <a:lnTo>
                    <a:pt x="1537" y="390"/>
                  </a:lnTo>
                  <a:lnTo>
                    <a:pt x="1537" y="392"/>
                  </a:lnTo>
                  <a:lnTo>
                    <a:pt x="1536" y="392"/>
                  </a:lnTo>
                  <a:close/>
                  <a:moveTo>
                    <a:pt x="1628" y="346"/>
                  </a:moveTo>
                  <a:lnTo>
                    <a:pt x="1630" y="346"/>
                  </a:lnTo>
                  <a:lnTo>
                    <a:pt x="1632" y="346"/>
                  </a:lnTo>
                  <a:lnTo>
                    <a:pt x="1632" y="348"/>
                  </a:lnTo>
                  <a:lnTo>
                    <a:pt x="1630" y="348"/>
                  </a:lnTo>
                  <a:lnTo>
                    <a:pt x="1628" y="346"/>
                  </a:lnTo>
                  <a:lnTo>
                    <a:pt x="1626" y="346"/>
                  </a:lnTo>
                  <a:lnTo>
                    <a:pt x="1624" y="346"/>
                  </a:lnTo>
                  <a:lnTo>
                    <a:pt x="1624" y="344"/>
                  </a:lnTo>
                  <a:lnTo>
                    <a:pt x="1626" y="346"/>
                  </a:lnTo>
                  <a:lnTo>
                    <a:pt x="1628" y="346"/>
                  </a:lnTo>
                  <a:close/>
                  <a:moveTo>
                    <a:pt x="1409" y="304"/>
                  </a:moveTo>
                  <a:lnTo>
                    <a:pt x="1409" y="306"/>
                  </a:lnTo>
                  <a:lnTo>
                    <a:pt x="1409" y="304"/>
                  </a:lnTo>
                  <a:close/>
                  <a:moveTo>
                    <a:pt x="1409" y="304"/>
                  </a:moveTo>
                  <a:lnTo>
                    <a:pt x="1407" y="306"/>
                  </a:lnTo>
                  <a:lnTo>
                    <a:pt x="1409" y="308"/>
                  </a:lnTo>
                  <a:lnTo>
                    <a:pt x="1407" y="306"/>
                  </a:lnTo>
                  <a:lnTo>
                    <a:pt x="1409" y="308"/>
                  </a:lnTo>
                  <a:lnTo>
                    <a:pt x="1407" y="306"/>
                  </a:lnTo>
                  <a:lnTo>
                    <a:pt x="1407" y="308"/>
                  </a:lnTo>
                  <a:lnTo>
                    <a:pt x="1405" y="308"/>
                  </a:lnTo>
                  <a:lnTo>
                    <a:pt x="1403" y="308"/>
                  </a:lnTo>
                  <a:lnTo>
                    <a:pt x="1403" y="310"/>
                  </a:lnTo>
                  <a:lnTo>
                    <a:pt x="1403" y="311"/>
                  </a:lnTo>
                  <a:lnTo>
                    <a:pt x="1405" y="313"/>
                  </a:lnTo>
                  <a:lnTo>
                    <a:pt x="1405" y="317"/>
                  </a:lnTo>
                  <a:lnTo>
                    <a:pt x="1409" y="319"/>
                  </a:lnTo>
                  <a:lnTo>
                    <a:pt x="1411" y="321"/>
                  </a:lnTo>
                  <a:lnTo>
                    <a:pt x="1413" y="325"/>
                  </a:lnTo>
                  <a:lnTo>
                    <a:pt x="1413" y="327"/>
                  </a:lnTo>
                  <a:lnTo>
                    <a:pt x="1411" y="329"/>
                  </a:lnTo>
                  <a:lnTo>
                    <a:pt x="1413" y="327"/>
                  </a:lnTo>
                  <a:lnTo>
                    <a:pt x="1413" y="325"/>
                  </a:lnTo>
                  <a:lnTo>
                    <a:pt x="1415" y="325"/>
                  </a:lnTo>
                  <a:lnTo>
                    <a:pt x="1413" y="329"/>
                  </a:lnTo>
                  <a:lnTo>
                    <a:pt x="1415" y="329"/>
                  </a:lnTo>
                  <a:lnTo>
                    <a:pt x="1415" y="327"/>
                  </a:lnTo>
                  <a:lnTo>
                    <a:pt x="1415" y="325"/>
                  </a:lnTo>
                  <a:lnTo>
                    <a:pt x="1415" y="323"/>
                  </a:lnTo>
                  <a:lnTo>
                    <a:pt x="1407" y="317"/>
                  </a:lnTo>
                  <a:lnTo>
                    <a:pt x="1407" y="315"/>
                  </a:lnTo>
                  <a:lnTo>
                    <a:pt x="1407" y="311"/>
                  </a:lnTo>
                  <a:lnTo>
                    <a:pt x="1405" y="310"/>
                  </a:lnTo>
                  <a:lnTo>
                    <a:pt x="1407" y="311"/>
                  </a:lnTo>
                  <a:lnTo>
                    <a:pt x="1407" y="310"/>
                  </a:lnTo>
                  <a:lnTo>
                    <a:pt x="1409" y="310"/>
                  </a:lnTo>
                  <a:lnTo>
                    <a:pt x="1407" y="310"/>
                  </a:lnTo>
                  <a:lnTo>
                    <a:pt x="1407" y="311"/>
                  </a:lnTo>
                  <a:lnTo>
                    <a:pt x="1409" y="311"/>
                  </a:lnTo>
                  <a:lnTo>
                    <a:pt x="1409" y="310"/>
                  </a:lnTo>
                  <a:lnTo>
                    <a:pt x="1411" y="311"/>
                  </a:lnTo>
                  <a:lnTo>
                    <a:pt x="1409" y="311"/>
                  </a:lnTo>
                  <a:lnTo>
                    <a:pt x="1411" y="311"/>
                  </a:lnTo>
                  <a:lnTo>
                    <a:pt x="1409" y="311"/>
                  </a:lnTo>
                  <a:lnTo>
                    <a:pt x="1409" y="313"/>
                  </a:lnTo>
                  <a:lnTo>
                    <a:pt x="1411" y="313"/>
                  </a:lnTo>
                  <a:lnTo>
                    <a:pt x="1409" y="313"/>
                  </a:lnTo>
                  <a:lnTo>
                    <a:pt x="1409" y="315"/>
                  </a:lnTo>
                  <a:lnTo>
                    <a:pt x="1411" y="313"/>
                  </a:lnTo>
                  <a:lnTo>
                    <a:pt x="1411" y="317"/>
                  </a:lnTo>
                  <a:lnTo>
                    <a:pt x="1413" y="317"/>
                  </a:lnTo>
                  <a:lnTo>
                    <a:pt x="1413" y="313"/>
                  </a:lnTo>
                  <a:lnTo>
                    <a:pt x="1413" y="317"/>
                  </a:lnTo>
                  <a:lnTo>
                    <a:pt x="1415" y="317"/>
                  </a:lnTo>
                  <a:lnTo>
                    <a:pt x="1417" y="317"/>
                  </a:lnTo>
                  <a:lnTo>
                    <a:pt x="1417" y="313"/>
                  </a:lnTo>
                  <a:lnTo>
                    <a:pt x="1417" y="317"/>
                  </a:lnTo>
                  <a:lnTo>
                    <a:pt x="1419" y="317"/>
                  </a:lnTo>
                  <a:lnTo>
                    <a:pt x="1419" y="313"/>
                  </a:lnTo>
                  <a:lnTo>
                    <a:pt x="1419" y="315"/>
                  </a:lnTo>
                  <a:lnTo>
                    <a:pt x="1420" y="313"/>
                  </a:lnTo>
                  <a:lnTo>
                    <a:pt x="1422" y="313"/>
                  </a:lnTo>
                  <a:lnTo>
                    <a:pt x="1420" y="313"/>
                  </a:lnTo>
                  <a:lnTo>
                    <a:pt x="1420" y="311"/>
                  </a:lnTo>
                  <a:lnTo>
                    <a:pt x="1419" y="311"/>
                  </a:lnTo>
                  <a:lnTo>
                    <a:pt x="1422" y="311"/>
                  </a:lnTo>
                  <a:lnTo>
                    <a:pt x="1422" y="310"/>
                  </a:lnTo>
                  <a:lnTo>
                    <a:pt x="1422" y="308"/>
                  </a:lnTo>
                  <a:lnTo>
                    <a:pt x="1420" y="308"/>
                  </a:lnTo>
                  <a:lnTo>
                    <a:pt x="1420" y="310"/>
                  </a:lnTo>
                  <a:lnTo>
                    <a:pt x="1420" y="308"/>
                  </a:lnTo>
                  <a:lnTo>
                    <a:pt x="1419" y="308"/>
                  </a:lnTo>
                  <a:lnTo>
                    <a:pt x="1420" y="310"/>
                  </a:lnTo>
                  <a:lnTo>
                    <a:pt x="1419" y="310"/>
                  </a:lnTo>
                  <a:lnTo>
                    <a:pt x="1419" y="308"/>
                  </a:lnTo>
                  <a:lnTo>
                    <a:pt x="1417" y="308"/>
                  </a:lnTo>
                  <a:lnTo>
                    <a:pt x="1417" y="306"/>
                  </a:lnTo>
                  <a:lnTo>
                    <a:pt x="1415" y="306"/>
                  </a:lnTo>
                  <a:lnTo>
                    <a:pt x="1417" y="306"/>
                  </a:lnTo>
                  <a:lnTo>
                    <a:pt x="1420" y="304"/>
                  </a:lnTo>
                  <a:lnTo>
                    <a:pt x="1424" y="304"/>
                  </a:lnTo>
                  <a:lnTo>
                    <a:pt x="1426" y="304"/>
                  </a:lnTo>
                  <a:lnTo>
                    <a:pt x="1426" y="306"/>
                  </a:lnTo>
                  <a:lnTo>
                    <a:pt x="1426" y="311"/>
                  </a:lnTo>
                  <a:lnTo>
                    <a:pt x="1426" y="317"/>
                  </a:lnTo>
                  <a:lnTo>
                    <a:pt x="1424" y="319"/>
                  </a:lnTo>
                  <a:lnTo>
                    <a:pt x="1424" y="321"/>
                  </a:lnTo>
                  <a:lnTo>
                    <a:pt x="1420" y="327"/>
                  </a:lnTo>
                  <a:lnTo>
                    <a:pt x="1417" y="331"/>
                  </a:lnTo>
                  <a:lnTo>
                    <a:pt x="1417" y="333"/>
                  </a:lnTo>
                  <a:lnTo>
                    <a:pt x="1415" y="335"/>
                  </a:lnTo>
                  <a:lnTo>
                    <a:pt x="1415" y="336"/>
                  </a:lnTo>
                  <a:lnTo>
                    <a:pt x="1415" y="340"/>
                  </a:lnTo>
                  <a:lnTo>
                    <a:pt x="1415" y="342"/>
                  </a:lnTo>
                  <a:lnTo>
                    <a:pt x="1415" y="344"/>
                  </a:lnTo>
                  <a:lnTo>
                    <a:pt x="1415" y="346"/>
                  </a:lnTo>
                  <a:lnTo>
                    <a:pt x="1415" y="348"/>
                  </a:lnTo>
                  <a:lnTo>
                    <a:pt x="1417" y="348"/>
                  </a:lnTo>
                  <a:lnTo>
                    <a:pt x="1417" y="346"/>
                  </a:lnTo>
                  <a:lnTo>
                    <a:pt x="1417" y="348"/>
                  </a:lnTo>
                  <a:lnTo>
                    <a:pt x="1417" y="352"/>
                  </a:lnTo>
                  <a:lnTo>
                    <a:pt x="1417" y="354"/>
                  </a:lnTo>
                  <a:lnTo>
                    <a:pt x="1419" y="356"/>
                  </a:lnTo>
                  <a:lnTo>
                    <a:pt x="1419" y="358"/>
                  </a:lnTo>
                  <a:lnTo>
                    <a:pt x="1419" y="360"/>
                  </a:lnTo>
                  <a:lnTo>
                    <a:pt x="1420" y="361"/>
                  </a:lnTo>
                  <a:lnTo>
                    <a:pt x="1420" y="363"/>
                  </a:lnTo>
                  <a:lnTo>
                    <a:pt x="1422" y="369"/>
                  </a:lnTo>
                  <a:lnTo>
                    <a:pt x="1422" y="371"/>
                  </a:lnTo>
                  <a:lnTo>
                    <a:pt x="1424" y="371"/>
                  </a:lnTo>
                  <a:lnTo>
                    <a:pt x="1426" y="373"/>
                  </a:lnTo>
                  <a:lnTo>
                    <a:pt x="1428" y="373"/>
                  </a:lnTo>
                  <a:lnTo>
                    <a:pt x="1428" y="375"/>
                  </a:lnTo>
                  <a:lnTo>
                    <a:pt x="1430" y="377"/>
                  </a:lnTo>
                  <a:lnTo>
                    <a:pt x="1428" y="377"/>
                  </a:lnTo>
                  <a:lnTo>
                    <a:pt x="1428" y="379"/>
                  </a:lnTo>
                  <a:lnTo>
                    <a:pt x="1428" y="377"/>
                  </a:lnTo>
                  <a:lnTo>
                    <a:pt x="1426" y="377"/>
                  </a:lnTo>
                  <a:lnTo>
                    <a:pt x="1428" y="379"/>
                  </a:lnTo>
                  <a:lnTo>
                    <a:pt x="1430" y="379"/>
                  </a:lnTo>
                  <a:lnTo>
                    <a:pt x="1430" y="381"/>
                  </a:lnTo>
                  <a:lnTo>
                    <a:pt x="1432" y="383"/>
                  </a:lnTo>
                  <a:lnTo>
                    <a:pt x="1434" y="384"/>
                  </a:lnTo>
                  <a:lnTo>
                    <a:pt x="1440" y="388"/>
                  </a:lnTo>
                  <a:lnTo>
                    <a:pt x="1442" y="390"/>
                  </a:lnTo>
                  <a:lnTo>
                    <a:pt x="1443" y="390"/>
                  </a:lnTo>
                  <a:lnTo>
                    <a:pt x="1445" y="392"/>
                  </a:lnTo>
                  <a:lnTo>
                    <a:pt x="1447" y="392"/>
                  </a:lnTo>
                  <a:lnTo>
                    <a:pt x="1451" y="396"/>
                  </a:lnTo>
                  <a:lnTo>
                    <a:pt x="1455" y="398"/>
                  </a:lnTo>
                  <a:lnTo>
                    <a:pt x="1457" y="398"/>
                  </a:lnTo>
                  <a:lnTo>
                    <a:pt x="1459" y="398"/>
                  </a:lnTo>
                  <a:lnTo>
                    <a:pt x="1461" y="398"/>
                  </a:lnTo>
                  <a:lnTo>
                    <a:pt x="1461" y="400"/>
                  </a:lnTo>
                  <a:lnTo>
                    <a:pt x="1459" y="400"/>
                  </a:lnTo>
                  <a:lnTo>
                    <a:pt x="1457" y="398"/>
                  </a:lnTo>
                  <a:lnTo>
                    <a:pt x="1457" y="400"/>
                  </a:lnTo>
                  <a:lnTo>
                    <a:pt x="1459" y="400"/>
                  </a:lnTo>
                  <a:lnTo>
                    <a:pt x="1459" y="402"/>
                  </a:lnTo>
                  <a:lnTo>
                    <a:pt x="1461" y="402"/>
                  </a:lnTo>
                  <a:lnTo>
                    <a:pt x="1461" y="404"/>
                  </a:lnTo>
                  <a:lnTo>
                    <a:pt x="1463" y="404"/>
                  </a:lnTo>
                  <a:lnTo>
                    <a:pt x="1465" y="404"/>
                  </a:lnTo>
                  <a:lnTo>
                    <a:pt x="1465" y="406"/>
                  </a:lnTo>
                  <a:lnTo>
                    <a:pt x="1466" y="406"/>
                  </a:lnTo>
                  <a:lnTo>
                    <a:pt x="1468" y="409"/>
                  </a:lnTo>
                  <a:lnTo>
                    <a:pt x="1470" y="409"/>
                  </a:lnTo>
                  <a:lnTo>
                    <a:pt x="1472" y="409"/>
                  </a:lnTo>
                  <a:lnTo>
                    <a:pt x="1472" y="411"/>
                  </a:lnTo>
                  <a:lnTo>
                    <a:pt x="1474" y="411"/>
                  </a:lnTo>
                  <a:lnTo>
                    <a:pt x="1474" y="413"/>
                  </a:lnTo>
                  <a:lnTo>
                    <a:pt x="1476" y="413"/>
                  </a:lnTo>
                  <a:lnTo>
                    <a:pt x="1478" y="415"/>
                  </a:lnTo>
                  <a:lnTo>
                    <a:pt x="1480" y="415"/>
                  </a:lnTo>
                  <a:lnTo>
                    <a:pt x="1482" y="415"/>
                  </a:lnTo>
                  <a:lnTo>
                    <a:pt x="1484" y="415"/>
                  </a:lnTo>
                  <a:lnTo>
                    <a:pt x="1488" y="415"/>
                  </a:lnTo>
                  <a:lnTo>
                    <a:pt x="1490" y="413"/>
                  </a:lnTo>
                  <a:lnTo>
                    <a:pt x="1491" y="413"/>
                  </a:lnTo>
                  <a:lnTo>
                    <a:pt x="1493" y="413"/>
                  </a:lnTo>
                  <a:lnTo>
                    <a:pt x="1495" y="413"/>
                  </a:lnTo>
                  <a:lnTo>
                    <a:pt x="1497" y="413"/>
                  </a:lnTo>
                  <a:lnTo>
                    <a:pt x="1497" y="411"/>
                  </a:lnTo>
                  <a:lnTo>
                    <a:pt x="1499" y="411"/>
                  </a:lnTo>
                  <a:lnTo>
                    <a:pt x="1501" y="411"/>
                  </a:lnTo>
                  <a:lnTo>
                    <a:pt x="1503" y="411"/>
                  </a:lnTo>
                  <a:lnTo>
                    <a:pt x="1505" y="411"/>
                  </a:lnTo>
                  <a:lnTo>
                    <a:pt x="1505" y="409"/>
                  </a:lnTo>
                  <a:lnTo>
                    <a:pt x="1507" y="409"/>
                  </a:lnTo>
                  <a:lnTo>
                    <a:pt x="1509" y="409"/>
                  </a:lnTo>
                  <a:lnTo>
                    <a:pt x="1509" y="408"/>
                  </a:lnTo>
                  <a:lnTo>
                    <a:pt x="1511" y="408"/>
                  </a:lnTo>
                  <a:lnTo>
                    <a:pt x="1513" y="406"/>
                  </a:lnTo>
                  <a:lnTo>
                    <a:pt x="1514" y="406"/>
                  </a:lnTo>
                  <a:lnTo>
                    <a:pt x="1516" y="404"/>
                  </a:lnTo>
                  <a:lnTo>
                    <a:pt x="1518" y="402"/>
                  </a:lnTo>
                  <a:lnTo>
                    <a:pt x="1524" y="400"/>
                  </a:lnTo>
                  <a:lnTo>
                    <a:pt x="1526" y="400"/>
                  </a:lnTo>
                  <a:lnTo>
                    <a:pt x="1532" y="398"/>
                  </a:lnTo>
                  <a:lnTo>
                    <a:pt x="1534" y="398"/>
                  </a:lnTo>
                  <a:lnTo>
                    <a:pt x="1534" y="396"/>
                  </a:lnTo>
                  <a:lnTo>
                    <a:pt x="1536" y="396"/>
                  </a:lnTo>
                  <a:lnTo>
                    <a:pt x="1536" y="394"/>
                  </a:lnTo>
                  <a:lnTo>
                    <a:pt x="1537" y="394"/>
                  </a:lnTo>
                  <a:lnTo>
                    <a:pt x="1537" y="392"/>
                  </a:lnTo>
                  <a:lnTo>
                    <a:pt x="1539" y="392"/>
                  </a:lnTo>
                  <a:lnTo>
                    <a:pt x="1539" y="390"/>
                  </a:lnTo>
                  <a:lnTo>
                    <a:pt x="1541" y="390"/>
                  </a:lnTo>
                  <a:lnTo>
                    <a:pt x="1547" y="384"/>
                  </a:lnTo>
                  <a:lnTo>
                    <a:pt x="1549" y="383"/>
                  </a:lnTo>
                  <a:lnTo>
                    <a:pt x="1549" y="381"/>
                  </a:lnTo>
                  <a:lnTo>
                    <a:pt x="1551" y="377"/>
                  </a:lnTo>
                  <a:lnTo>
                    <a:pt x="1553" y="375"/>
                  </a:lnTo>
                  <a:lnTo>
                    <a:pt x="1553" y="373"/>
                  </a:lnTo>
                  <a:lnTo>
                    <a:pt x="1553" y="371"/>
                  </a:lnTo>
                  <a:lnTo>
                    <a:pt x="1553" y="369"/>
                  </a:lnTo>
                  <a:lnTo>
                    <a:pt x="1555" y="367"/>
                  </a:lnTo>
                  <a:lnTo>
                    <a:pt x="1557" y="365"/>
                  </a:lnTo>
                  <a:lnTo>
                    <a:pt x="1561" y="363"/>
                  </a:lnTo>
                  <a:lnTo>
                    <a:pt x="1562" y="361"/>
                  </a:lnTo>
                  <a:lnTo>
                    <a:pt x="1564" y="361"/>
                  </a:lnTo>
                  <a:lnTo>
                    <a:pt x="1568" y="361"/>
                  </a:lnTo>
                  <a:lnTo>
                    <a:pt x="1570" y="361"/>
                  </a:lnTo>
                  <a:lnTo>
                    <a:pt x="1572" y="361"/>
                  </a:lnTo>
                  <a:lnTo>
                    <a:pt x="1576" y="361"/>
                  </a:lnTo>
                  <a:lnTo>
                    <a:pt x="1578" y="361"/>
                  </a:lnTo>
                  <a:lnTo>
                    <a:pt x="1580" y="361"/>
                  </a:lnTo>
                  <a:lnTo>
                    <a:pt x="1585" y="358"/>
                  </a:lnTo>
                  <a:lnTo>
                    <a:pt x="1587" y="358"/>
                  </a:lnTo>
                  <a:lnTo>
                    <a:pt x="1589" y="358"/>
                  </a:lnTo>
                  <a:lnTo>
                    <a:pt x="1593" y="356"/>
                  </a:lnTo>
                  <a:lnTo>
                    <a:pt x="1595" y="356"/>
                  </a:lnTo>
                  <a:lnTo>
                    <a:pt x="1595" y="358"/>
                  </a:lnTo>
                  <a:lnTo>
                    <a:pt x="1597" y="358"/>
                  </a:lnTo>
                  <a:lnTo>
                    <a:pt x="1599" y="360"/>
                  </a:lnTo>
                  <a:lnTo>
                    <a:pt x="1601" y="360"/>
                  </a:lnTo>
                  <a:lnTo>
                    <a:pt x="1603" y="360"/>
                  </a:lnTo>
                  <a:lnTo>
                    <a:pt x="1607" y="360"/>
                  </a:lnTo>
                  <a:lnTo>
                    <a:pt x="1610" y="358"/>
                  </a:lnTo>
                  <a:lnTo>
                    <a:pt x="1612" y="356"/>
                  </a:lnTo>
                  <a:lnTo>
                    <a:pt x="1612" y="354"/>
                  </a:lnTo>
                  <a:lnTo>
                    <a:pt x="1614" y="354"/>
                  </a:lnTo>
                  <a:lnTo>
                    <a:pt x="1614" y="352"/>
                  </a:lnTo>
                  <a:lnTo>
                    <a:pt x="1614" y="350"/>
                  </a:lnTo>
                  <a:lnTo>
                    <a:pt x="1610" y="348"/>
                  </a:lnTo>
                  <a:lnTo>
                    <a:pt x="1612" y="346"/>
                  </a:lnTo>
                  <a:lnTo>
                    <a:pt x="1612" y="348"/>
                  </a:lnTo>
                  <a:lnTo>
                    <a:pt x="1614" y="350"/>
                  </a:lnTo>
                  <a:lnTo>
                    <a:pt x="1616" y="348"/>
                  </a:lnTo>
                  <a:lnTo>
                    <a:pt x="1612" y="346"/>
                  </a:lnTo>
                  <a:lnTo>
                    <a:pt x="1616" y="348"/>
                  </a:lnTo>
                  <a:lnTo>
                    <a:pt x="1618" y="350"/>
                  </a:lnTo>
                  <a:lnTo>
                    <a:pt x="1620" y="350"/>
                  </a:lnTo>
                  <a:lnTo>
                    <a:pt x="1622" y="348"/>
                  </a:lnTo>
                  <a:lnTo>
                    <a:pt x="1624" y="348"/>
                  </a:lnTo>
                  <a:lnTo>
                    <a:pt x="1620" y="352"/>
                  </a:lnTo>
                  <a:lnTo>
                    <a:pt x="1622" y="352"/>
                  </a:lnTo>
                  <a:lnTo>
                    <a:pt x="1622" y="354"/>
                  </a:lnTo>
                  <a:lnTo>
                    <a:pt x="1622" y="352"/>
                  </a:lnTo>
                  <a:lnTo>
                    <a:pt x="1620" y="354"/>
                  </a:lnTo>
                  <a:lnTo>
                    <a:pt x="1620" y="352"/>
                  </a:lnTo>
                  <a:lnTo>
                    <a:pt x="1622" y="352"/>
                  </a:lnTo>
                  <a:lnTo>
                    <a:pt x="1620" y="352"/>
                  </a:lnTo>
                  <a:lnTo>
                    <a:pt x="1618" y="350"/>
                  </a:lnTo>
                  <a:lnTo>
                    <a:pt x="1616" y="350"/>
                  </a:lnTo>
                  <a:lnTo>
                    <a:pt x="1614" y="350"/>
                  </a:lnTo>
                  <a:lnTo>
                    <a:pt x="1618" y="354"/>
                  </a:lnTo>
                  <a:lnTo>
                    <a:pt x="1620" y="354"/>
                  </a:lnTo>
                  <a:lnTo>
                    <a:pt x="1618" y="354"/>
                  </a:lnTo>
                  <a:lnTo>
                    <a:pt x="1618" y="356"/>
                  </a:lnTo>
                  <a:lnTo>
                    <a:pt x="1618" y="354"/>
                  </a:lnTo>
                  <a:lnTo>
                    <a:pt x="1616" y="356"/>
                  </a:lnTo>
                  <a:lnTo>
                    <a:pt x="1618" y="358"/>
                  </a:lnTo>
                  <a:lnTo>
                    <a:pt x="1618" y="356"/>
                  </a:lnTo>
                  <a:lnTo>
                    <a:pt x="1618" y="358"/>
                  </a:lnTo>
                  <a:lnTo>
                    <a:pt x="1622" y="361"/>
                  </a:lnTo>
                  <a:lnTo>
                    <a:pt x="1624" y="361"/>
                  </a:lnTo>
                  <a:lnTo>
                    <a:pt x="1622" y="360"/>
                  </a:lnTo>
                  <a:lnTo>
                    <a:pt x="1620" y="356"/>
                  </a:lnTo>
                  <a:lnTo>
                    <a:pt x="1622" y="358"/>
                  </a:lnTo>
                  <a:lnTo>
                    <a:pt x="1622" y="360"/>
                  </a:lnTo>
                  <a:lnTo>
                    <a:pt x="1624" y="360"/>
                  </a:lnTo>
                  <a:lnTo>
                    <a:pt x="1624" y="361"/>
                  </a:lnTo>
                  <a:lnTo>
                    <a:pt x="1624" y="360"/>
                  </a:lnTo>
                  <a:lnTo>
                    <a:pt x="1626" y="360"/>
                  </a:lnTo>
                  <a:lnTo>
                    <a:pt x="1624" y="358"/>
                  </a:lnTo>
                  <a:lnTo>
                    <a:pt x="1624" y="356"/>
                  </a:lnTo>
                  <a:lnTo>
                    <a:pt x="1624" y="358"/>
                  </a:lnTo>
                  <a:lnTo>
                    <a:pt x="1626" y="360"/>
                  </a:lnTo>
                  <a:lnTo>
                    <a:pt x="1628" y="360"/>
                  </a:lnTo>
                  <a:lnTo>
                    <a:pt x="1628" y="361"/>
                  </a:lnTo>
                  <a:lnTo>
                    <a:pt x="1630" y="367"/>
                  </a:lnTo>
                  <a:lnTo>
                    <a:pt x="1632" y="367"/>
                  </a:lnTo>
                  <a:lnTo>
                    <a:pt x="1633" y="371"/>
                  </a:lnTo>
                  <a:lnTo>
                    <a:pt x="1633" y="373"/>
                  </a:lnTo>
                  <a:lnTo>
                    <a:pt x="1632" y="375"/>
                  </a:lnTo>
                  <a:lnTo>
                    <a:pt x="1633" y="373"/>
                  </a:lnTo>
                  <a:lnTo>
                    <a:pt x="1633" y="371"/>
                  </a:lnTo>
                  <a:lnTo>
                    <a:pt x="1630" y="367"/>
                  </a:lnTo>
                  <a:lnTo>
                    <a:pt x="1628" y="365"/>
                  </a:lnTo>
                  <a:lnTo>
                    <a:pt x="1628" y="363"/>
                  </a:lnTo>
                  <a:lnTo>
                    <a:pt x="1626" y="361"/>
                  </a:lnTo>
                  <a:lnTo>
                    <a:pt x="1624" y="361"/>
                  </a:lnTo>
                  <a:lnTo>
                    <a:pt x="1626" y="363"/>
                  </a:lnTo>
                  <a:lnTo>
                    <a:pt x="1628" y="365"/>
                  </a:lnTo>
                  <a:lnTo>
                    <a:pt x="1630" y="367"/>
                  </a:lnTo>
                  <a:lnTo>
                    <a:pt x="1628" y="367"/>
                  </a:lnTo>
                  <a:lnTo>
                    <a:pt x="1630" y="369"/>
                  </a:lnTo>
                  <a:lnTo>
                    <a:pt x="1632" y="371"/>
                  </a:lnTo>
                  <a:lnTo>
                    <a:pt x="1630" y="369"/>
                  </a:lnTo>
                  <a:lnTo>
                    <a:pt x="1628" y="369"/>
                  </a:lnTo>
                  <a:lnTo>
                    <a:pt x="1628" y="367"/>
                  </a:lnTo>
                  <a:lnTo>
                    <a:pt x="1626" y="363"/>
                  </a:lnTo>
                  <a:lnTo>
                    <a:pt x="1624" y="363"/>
                  </a:lnTo>
                  <a:lnTo>
                    <a:pt x="1622" y="365"/>
                  </a:lnTo>
                  <a:lnTo>
                    <a:pt x="1622" y="367"/>
                  </a:lnTo>
                  <a:lnTo>
                    <a:pt x="1622" y="369"/>
                  </a:lnTo>
                  <a:lnTo>
                    <a:pt x="1622" y="371"/>
                  </a:lnTo>
                  <a:lnTo>
                    <a:pt x="1622" y="373"/>
                  </a:lnTo>
                  <a:lnTo>
                    <a:pt x="1622" y="375"/>
                  </a:lnTo>
                  <a:lnTo>
                    <a:pt x="1620" y="375"/>
                  </a:lnTo>
                  <a:lnTo>
                    <a:pt x="1620" y="377"/>
                  </a:lnTo>
                  <a:lnTo>
                    <a:pt x="1620" y="379"/>
                  </a:lnTo>
                  <a:lnTo>
                    <a:pt x="1622" y="379"/>
                  </a:lnTo>
                  <a:lnTo>
                    <a:pt x="1624" y="377"/>
                  </a:lnTo>
                  <a:lnTo>
                    <a:pt x="1628" y="377"/>
                  </a:lnTo>
                  <a:lnTo>
                    <a:pt x="1628" y="375"/>
                  </a:lnTo>
                  <a:lnTo>
                    <a:pt x="1624" y="377"/>
                  </a:lnTo>
                  <a:lnTo>
                    <a:pt x="1628" y="375"/>
                  </a:lnTo>
                  <a:lnTo>
                    <a:pt x="1630" y="373"/>
                  </a:lnTo>
                  <a:lnTo>
                    <a:pt x="1630" y="375"/>
                  </a:lnTo>
                  <a:lnTo>
                    <a:pt x="1628" y="375"/>
                  </a:lnTo>
                  <a:lnTo>
                    <a:pt x="1628" y="377"/>
                  </a:lnTo>
                  <a:lnTo>
                    <a:pt x="1628" y="375"/>
                  </a:lnTo>
                  <a:lnTo>
                    <a:pt x="1632" y="375"/>
                  </a:lnTo>
                  <a:lnTo>
                    <a:pt x="1630" y="375"/>
                  </a:lnTo>
                  <a:lnTo>
                    <a:pt x="1649" y="419"/>
                  </a:lnTo>
                  <a:lnTo>
                    <a:pt x="1651" y="421"/>
                  </a:lnTo>
                  <a:lnTo>
                    <a:pt x="1653" y="425"/>
                  </a:lnTo>
                  <a:lnTo>
                    <a:pt x="1653" y="427"/>
                  </a:lnTo>
                  <a:lnTo>
                    <a:pt x="1653" y="429"/>
                  </a:lnTo>
                  <a:lnTo>
                    <a:pt x="1668" y="467"/>
                  </a:lnTo>
                  <a:lnTo>
                    <a:pt x="1670" y="469"/>
                  </a:lnTo>
                  <a:lnTo>
                    <a:pt x="1672" y="471"/>
                  </a:lnTo>
                  <a:lnTo>
                    <a:pt x="1676" y="473"/>
                  </a:lnTo>
                  <a:lnTo>
                    <a:pt x="1674" y="473"/>
                  </a:lnTo>
                  <a:lnTo>
                    <a:pt x="1672" y="471"/>
                  </a:lnTo>
                  <a:lnTo>
                    <a:pt x="1670" y="469"/>
                  </a:lnTo>
                  <a:lnTo>
                    <a:pt x="1670" y="471"/>
                  </a:lnTo>
                  <a:lnTo>
                    <a:pt x="1672" y="471"/>
                  </a:lnTo>
                  <a:lnTo>
                    <a:pt x="1670" y="471"/>
                  </a:lnTo>
                  <a:lnTo>
                    <a:pt x="1672" y="473"/>
                  </a:lnTo>
                  <a:lnTo>
                    <a:pt x="1674" y="473"/>
                  </a:lnTo>
                  <a:lnTo>
                    <a:pt x="1674" y="475"/>
                  </a:lnTo>
                  <a:lnTo>
                    <a:pt x="1676" y="475"/>
                  </a:lnTo>
                  <a:lnTo>
                    <a:pt x="1674" y="473"/>
                  </a:lnTo>
                  <a:lnTo>
                    <a:pt x="1676" y="475"/>
                  </a:lnTo>
                  <a:lnTo>
                    <a:pt x="1676" y="477"/>
                  </a:lnTo>
                  <a:lnTo>
                    <a:pt x="1674" y="477"/>
                  </a:lnTo>
                  <a:lnTo>
                    <a:pt x="1674" y="479"/>
                  </a:lnTo>
                  <a:lnTo>
                    <a:pt x="1674" y="482"/>
                  </a:lnTo>
                  <a:lnTo>
                    <a:pt x="1676" y="481"/>
                  </a:lnTo>
                  <a:lnTo>
                    <a:pt x="1678" y="481"/>
                  </a:lnTo>
                  <a:lnTo>
                    <a:pt x="1676" y="477"/>
                  </a:lnTo>
                  <a:lnTo>
                    <a:pt x="1678" y="481"/>
                  </a:lnTo>
                  <a:lnTo>
                    <a:pt x="1674" y="482"/>
                  </a:lnTo>
                  <a:lnTo>
                    <a:pt x="1678" y="488"/>
                  </a:lnTo>
                  <a:lnTo>
                    <a:pt x="1678" y="490"/>
                  </a:lnTo>
                  <a:lnTo>
                    <a:pt x="1676" y="500"/>
                  </a:lnTo>
                  <a:lnTo>
                    <a:pt x="1676" y="504"/>
                  </a:lnTo>
                  <a:lnTo>
                    <a:pt x="1676" y="506"/>
                  </a:lnTo>
                  <a:lnTo>
                    <a:pt x="1674" y="506"/>
                  </a:lnTo>
                  <a:lnTo>
                    <a:pt x="1668" y="555"/>
                  </a:lnTo>
                  <a:lnTo>
                    <a:pt x="1666" y="563"/>
                  </a:lnTo>
                  <a:lnTo>
                    <a:pt x="1666" y="565"/>
                  </a:lnTo>
                  <a:lnTo>
                    <a:pt x="1664" y="573"/>
                  </a:lnTo>
                  <a:lnTo>
                    <a:pt x="1662" y="586"/>
                  </a:lnTo>
                  <a:lnTo>
                    <a:pt x="1662" y="588"/>
                  </a:lnTo>
                  <a:lnTo>
                    <a:pt x="1664" y="588"/>
                  </a:lnTo>
                  <a:lnTo>
                    <a:pt x="1666" y="588"/>
                  </a:lnTo>
                  <a:lnTo>
                    <a:pt x="1668" y="588"/>
                  </a:lnTo>
                  <a:lnTo>
                    <a:pt x="1670" y="588"/>
                  </a:lnTo>
                  <a:lnTo>
                    <a:pt x="1670" y="590"/>
                  </a:lnTo>
                  <a:lnTo>
                    <a:pt x="1668" y="590"/>
                  </a:lnTo>
                  <a:lnTo>
                    <a:pt x="1668" y="592"/>
                  </a:lnTo>
                  <a:lnTo>
                    <a:pt x="1666" y="592"/>
                  </a:lnTo>
                  <a:lnTo>
                    <a:pt x="1666" y="594"/>
                  </a:lnTo>
                  <a:lnTo>
                    <a:pt x="1664" y="594"/>
                  </a:lnTo>
                  <a:lnTo>
                    <a:pt x="1662" y="592"/>
                  </a:lnTo>
                  <a:lnTo>
                    <a:pt x="1660" y="592"/>
                  </a:lnTo>
                  <a:lnTo>
                    <a:pt x="1660" y="594"/>
                  </a:lnTo>
                  <a:lnTo>
                    <a:pt x="1660" y="596"/>
                  </a:lnTo>
                  <a:lnTo>
                    <a:pt x="1660" y="594"/>
                  </a:lnTo>
                  <a:lnTo>
                    <a:pt x="1662" y="594"/>
                  </a:lnTo>
                  <a:lnTo>
                    <a:pt x="1664" y="594"/>
                  </a:lnTo>
                  <a:lnTo>
                    <a:pt x="1664" y="596"/>
                  </a:lnTo>
                  <a:lnTo>
                    <a:pt x="1666" y="594"/>
                  </a:lnTo>
                  <a:lnTo>
                    <a:pt x="1666" y="592"/>
                  </a:lnTo>
                  <a:lnTo>
                    <a:pt x="1668" y="592"/>
                  </a:lnTo>
                  <a:lnTo>
                    <a:pt x="1668" y="590"/>
                  </a:lnTo>
                  <a:lnTo>
                    <a:pt x="1668" y="592"/>
                  </a:lnTo>
                  <a:lnTo>
                    <a:pt x="1666" y="594"/>
                  </a:lnTo>
                  <a:lnTo>
                    <a:pt x="1666" y="596"/>
                  </a:lnTo>
                  <a:lnTo>
                    <a:pt x="1668" y="594"/>
                  </a:lnTo>
                  <a:lnTo>
                    <a:pt x="1670" y="594"/>
                  </a:lnTo>
                  <a:lnTo>
                    <a:pt x="1670" y="592"/>
                  </a:lnTo>
                  <a:lnTo>
                    <a:pt x="1668" y="590"/>
                  </a:lnTo>
                  <a:lnTo>
                    <a:pt x="1670" y="590"/>
                  </a:lnTo>
                  <a:lnTo>
                    <a:pt x="1670" y="588"/>
                  </a:lnTo>
                  <a:lnTo>
                    <a:pt x="1670" y="590"/>
                  </a:lnTo>
                  <a:lnTo>
                    <a:pt x="1672" y="590"/>
                  </a:lnTo>
                  <a:lnTo>
                    <a:pt x="1672" y="592"/>
                  </a:lnTo>
                  <a:lnTo>
                    <a:pt x="1674" y="592"/>
                  </a:lnTo>
                  <a:lnTo>
                    <a:pt x="1672" y="592"/>
                  </a:lnTo>
                  <a:lnTo>
                    <a:pt x="1672" y="594"/>
                  </a:lnTo>
                  <a:lnTo>
                    <a:pt x="1674" y="596"/>
                  </a:lnTo>
                  <a:lnTo>
                    <a:pt x="1674" y="598"/>
                  </a:lnTo>
                  <a:lnTo>
                    <a:pt x="1676" y="598"/>
                  </a:lnTo>
                  <a:lnTo>
                    <a:pt x="1676" y="596"/>
                  </a:lnTo>
                  <a:lnTo>
                    <a:pt x="1676" y="594"/>
                  </a:lnTo>
                  <a:lnTo>
                    <a:pt x="1674" y="594"/>
                  </a:lnTo>
                  <a:lnTo>
                    <a:pt x="1674" y="592"/>
                  </a:lnTo>
                  <a:lnTo>
                    <a:pt x="1676" y="594"/>
                  </a:lnTo>
                  <a:lnTo>
                    <a:pt x="1676" y="596"/>
                  </a:lnTo>
                  <a:lnTo>
                    <a:pt x="1676" y="598"/>
                  </a:lnTo>
                  <a:lnTo>
                    <a:pt x="1674" y="598"/>
                  </a:lnTo>
                  <a:lnTo>
                    <a:pt x="1674" y="600"/>
                  </a:lnTo>
                  <a:lnTo>
                    <a:pt x="1674" y="602"/>
                  </a:lnTo>
                  <a:lnTo>
                    <a:pt x="1674" y="600"/>
                  </a:lnTo>
                  <a:lnTo>
                    <a:pt x="1674" y="602"/>
                  </a:lnTo>
                  <a:lnTo>
                    <a:pt x="1674" y="603"/>
                  </a:lnTo>
                  <a:lnTo>
                    <a:pt x="1674" y="602"/>
                  </a:lnTo>
                  <a:lnTo>
                    <a:pt x="1676" y="602"/>
                  </a:lnTo>
                  <a:lnTo>
                    <a:pt x="1678" y="602"/>
                  </a:lnTo>
                  <a:lnTo>
                    <a:pt x="1676" y="600"/>
                  </a:lnTo>
                  <a:lnTo>
                    <a:pt x="1678" y="602"/>
                  </a:lnTo>
                  <a:lnTo>
                    <a:pt x="1680" y="603"/>
                  </a:lnTo>
                  <a:lnTo>
                    <a:pt x="1680" y="602"/>
                  </a:lnTo>
                  <a:lnTo>
                    <a:pt x="1678" y="602"/>
                  </a:lnTo>
                  <a:lnTo>
                    <a:pt x="1678" y="603"/>
                  </a:lnTo>
                  <a:lnTo>
                    <a:pt x="1676" y="603"/>
                  </a:lnTo>
                  <a:lnTo>
                    <a:pt x="1676" y="605"/>
                  </a:lnTo>
                  <a:lnTo>
                    <a:pt x="1674" y="605"/>
                  </a:lnTo>
                  <a:lnTo>
                    <a:pt x="1674" y="607"/>
                  </a:lnTo>
                  <a:lnTo>
                    <a:pt x="1676" y="607"/>
                  </a:lnTo>
                  <a:lnTo>
                    <a:pt x="1674" y="609"/>
                  </a:lnTo>
                  <a:lnTo>
                    <a:pt x="1674" y="607"/>
                  </a:lnTo>
                  <a:lnTo>
                    <a:pt x="1672" y="609"/>
                  </a:lnTo>
                  <a:lnTo>
                    <a:pt x="1674" y="609"/>
                  </a:lnTo>
                  <a:lnTo>
                    <a:pt x="1676" y="609"/>
                  </a:lnTo>
                  <a:lnTo>
                    <a:pt x="1676" y="611"/>
                  </a:lnTo>
                  <a:lnTo>
                    <a:pt x="1678" y="611"/>
                  </a:lnTo>
                  <a:lnTo>
                    <a:pt x="1680" y="611"/>
                  </a:lnTo>
                  <a:lnTo>
                    <a:pt x="1680" y="609"/>
                  </a:lnTo>
                  <a:lnTo>
                    <a:pt x="1681" y="609"/>
                  </a:lnTo>
                  <a:lnTo>
                    <a:pt x="1681" y="607"/>
                  </a:lnTo>
                  <a:lnTo>
                    <a:pt x="1681" y="605"/>
                  </a:lnTo>
                  <a:lnTo>
                    <a:pt x="1680" y="605"/>
                  </a:lnTo>
                  <a:lnTo>
                    <a:pt x="1681" y="605"/>
                  </a:lnTo>
                  <a:lnTo>
                    <a:pt x="1681" y="607"/>
                  </a:lnTo>
                  <a:lnTo>
                    <a:pt x="1681" y="609"/>
                  </a:lnTo>
                  <a:lnTo>
                    <a:pt x="1680" y="609"/>
                  </a:lnTo>
                  <a:lnTo>
                    <a:pt x="1680" y="611"/>
                  </a:lnTo>
                  <a:lnTo>
                    <a:pt x="1678" y="613"/>
                  </a:lnTo>
                  <a:lnTo>
                    <a:pt x="1678" y="611"/>
                  </a:lnTo>
                  <a:lnTo>
                    <a:pt x="1678" y="613"/>
                  </a:lnTo>
                  <a:lnTo>
                    <a:pt x="1676" y="613"/>
                  </a:lnTo>
                  <a:lnTo>
                    <a:pt x="1678" y="615"/>
                  </a:lnTo>
                  <a:lnTo>
                    <a:pt x="1678" y="617"/>
                  </a:lnTo>
                  <a:lnTo>
                    <a:pt x="1680" y="619"/>
                  </a:lnTo>
                  <a:lnTo>
                    <a:pt x="1681" y="621"/>
                  </a:lnTo>
                  <a:lnTo>
                    <a:pt x="1683" y="623"/>
                  </a:lnTo>
                  <a:lnTo>
                    <a:pt x="1685" y="621"/>
                  </a:lnTo>
                  <a:lnTo>
                    <a:pt x="1685" y="623"/>
                  </a:lnTo>
                  <a:lnTo>
                    <a:pt x="1687" y="623"/>
                  </a:lnTo>
                  <a:lnTo>
                    <a:pt x="1685" y="623"/>
                  </a:lnTo>
                  <a:lnTo>
                    <a:pt x="1687" y="623"/>
                  </a:lnTo>
                  <a:lnTo>
                    <a:pt x="1685" y="623"/>
                  </a:lnTo>
                  <a:lnTo>
                    <a:pt x="1685" y="621"/>
                  </a:lnTo>
                  <a:lnTo>
                    <a:pt x="1683" y="623"/>
                  </a:lnTo>
                  <a:lnTo>
                    <a:pt x="1685" y="623"/>
                  </a:lnTo>
                  <a:lnTo>
                    <a:pt x="1683" y="623"/>
                  </a:lnTo>
                  <a:lnTo>
                    <a:pt x="1685" y="623"/>
                  </a:lnTo>
                  <a:lnTo>
                    <a:pt x="1685" y="625"/>
                  </a:lnTo>
                  <a:lnTo>
                    <a:pt x="1687" y="625"/>
                  </a:lnTo>
                  <a:lnTo>
                    <a:pt x="1687" y="627"/>
                  </a:lnTo>
                  <a:lnTo>
                    <a:pt x="1689" y="628"/>
                  </a:lnTo>
                  <a:lnTo>
                    <a:pt x="1689" y="630"/>
                  </a:lnTo>
                  <a:lnTo>
                    <a:pt x="1691" y="630"/>
                  </a:lnTo>
                  <a:lnTo>
                    <a:pt x="1691" y="632"/>
                  </a:lnTo>
                  <a:lnTo>
                    <a:pt x="1691" y="634"/>
                  </a:lnTo>
                  <a:lnTo>
                    <a:pt x="1693" y="634"/>
                  </a:lnTo>
                  <a:lnTo>
                    <a:pt x="1695" y="636"/>
                  </a:lnTo>
                  <a:lnTo>
                    <a:pt x="1695" y="638"/>
                  </a:lnTo>
                  <a:lnTo>
                    <a:pt x="1695" y="636"/>
                  </a:lnTo>
                  <a:lnTo>
                    <a:pt x="1691" y="632"/>
                  </a:lnTo>
                  <a:lnTo>
                    <a:pt x="1695" y="636"/>
                  </a:lnTo>
                  <a:lnTo>
                    <a:pt x="1695" y="634"/>
                  </a:lnTo>
                  <a:lnTo>
                    <a:pt x="1697" y="634"/>
                  </a:lnTo>
                  <a:lnTo>
                    <a:pt x="1695" y="634"/>
                  </a:lnTo>
                  <a:lnTo>
                    <a:pt x="1697" y="634"/>
                  </a:lnTo>
                  <a:lnTo>
                    <a:pt x="1697" y="636"/>
                  </a:lnTo>
                  <a:lnTo>
                    <a:pt x="1697" y="638"/>
                  </a:lnTo>
                  <a:lnTo>
                    <a:pt x="1695" y="638"/>
                  </a:lnTo>
                  <a:lnTo>
                    <a:pt x="1695" y="640"/>
                  </a:lnTo>
                  <a:lnTo>
                    <a:pt x="1697" y="640"/>
                  </a:lnTo>
                  <a:lnTo>
                    <a:pt x="1699" y="640"/>
                  </a:lnTo>
                  <a:lnTo>
                    <a:pt x="1699" y="642"/>
                  </a:lnTo>
                  <a:lnTo>
                    <a:pt x="1701" y="642"/>
                  </a:lnTo>
                  <a:lnTo>
                    <a:pt x="1703" y="642"/>
                  </a:lnTo>
                  <a:lnTo>
                    <a:pt x="1704" y="642"/>
                  </a:lnTo>
                  <a:lnTo>
                    <a:pt x="1706" y="642"/>
                  </a:lnTo>
                  <a:lnTo>
                    <a:pt x="1708" y="644"/>
                  </a:lnTo>
                  <a:lnTo>
                    <a:pt x="1710" y="644"/>
                  </a:lnTo>
                  <a:lnTo>
                    <a:pt x="1710" y="642"/>
                  </a:lnTo>
                  <a:lnTo>
                    <a:pt x="1708" y="640"/>
                  </a:lnTo>
                  <a:lnTo>
                    <a:pt x="1710" y="640"/>
                  </a:lnTo>
                  <a:lnTo>
                    <a:pt x="1710" y="642"/>
                  </a:lnTo>
                  <a:lnTo>
                    <a:pt x="1712" y="642"/>
                  </a:lnTo>
                  <a:lnTo>
                    <a:pt x="1712" y="640"/>
                  </a:lnTo>
                  <a:lnTo>
                    <a:pt x="1714" y="638"/>
                  </a:lnTo>
                  <a:lnTo>
                    <a:pt x="1712" y="638"/>
                  </a:lnTo>
                  <a:lnTo>
                    <a:pt x="1712" y="640"/>
                  </a:lnTo>
                  <a:lnTo>
                    <a:pt x="1712" y="642"/>
                  </a:lnTo>
                  <a:lnTo>
                    <a:pt x="1710" y="642"/>
                  </a:lnTo>
                  <a:lnTo>
                    <a:pt x="1710" y="640"/>
                  </a:lnTo>
                  <a:lnTo>
                    <a:pt x="1710" y="638"/>
                  </a:lnTo>
                  <a:lnTo>
                    <a:pt x="1714" y="638"/>
                  </a:lnTo>
                  <a:lnTo>
                    <a:pt x="1714" y="640"/>
                  </a:lnTo>
                  <a:lnTo>
                    <a:pt x="1714" y="642"/>
                  </a:lnTo>
                  <a:lnTo>
                    <a:pt x="1716" y="642"/>
                  </a:lnTo>
                  <a:lnTo>
                    <a:pt x="1716" y="640"/>
                  </a:lnTo>
                  <a:lnTo>
                    <a:pt x="1718" y="640"/>
                  </a:lnTo>
                  <a:lnTo>
                    <a:pt x="1716" y="640"/>
                  </a:lnTo>
                  <a:lnTo>
                    <a:pt x="1716" y="638"/>
                  </a:lnTo>
                  <a:lnTo>
                    <a:pt x="1718" y="638"/>
                  </a:lnTo>
                  <a:lnTo>
                    <a:pt x="1716" y="638"/>
                  </a:lnTo>
                  <a:lnTo>
                    <a:pt x="1716" y="640"/>
                  </a:lnTo>
                  <a:lnTo>
                    <a:pt x="1718" y="640"/>
                  </a:lnTo>
                  <a:lnTo>
                    <a:pt x="1720" y="640"/>
                  </a:lnTo>
                  <a:lnTo>
                    <a:pt x="1722" y="640"/>
                  </a:lnTo>
                  <a:lnTo>
                    <a:pt x="1722" y="638"/>
                  </a:lnTo>
                  <a:lnTo>
                    <a:pt x="1724" y="638"/>
                  </a:lnTo>
                  <a:lnTo>
                    <a:pt x="1724" y="636"/>
                  </a:lnTo>
                  <a:lnTo>
                    <a:pt x="1726" y="636"/>
                  </a:lnTo>
                  <a:lnTo>
                    <a:pt x="1726" y="634"/>
                  </a:lnTo>
                  <a:lnTo>
                    <a:pt x="1724" y="632"/>
                  </a:lnTo>
                  <a:lnTo>
                    <a:pt x="1726" y="634"/>
                  </a:lnTo>
                  <a:lnTo>
                    <a:pt x="1726" y="636"/>
                  </a:lnTo>
                  <a:lnTo>
                    <a:pt x="1724" y="636"/>
                  </a:lnTo>
                  <a:lnTo>
                    <a:pt x="1724" y="638"/>
                  </a:lnTo>
                  <a:lnTo>
                    <a:pt x="1726" y="638"/>
                  </a:lnTo>
                  <a:lnTo>
                    <a:pt x="1726" y="636"/>
                  </a:lnTo>
                  <a:lnTo>
                    <a:pt x="1728" y="634"/>
                  </a:lnTo>
                  <a:lnTo>
                    <a:pt x="1726" y="634"/>
                  </a:lnTo>
                  <a:lnTo>
                    <a:pt x="1728" y="632"/>
                  </a:lnTo>
                  <a:lnTo>
                    <a:pt x="1728" y="630"/>
                  </a:lnTo>
                  <a:lnTo>
                    <a:pt x="1724" y="632"/>
                  </a:lnTo>
                  <a:lnTo>
                    <a:pt x="1728" y="630"/>
                  </a:lnTo>
                  <a:lnTo>
                    <a:pt x="1729" y="630"/>
                  </a:lnTo>
                  <a:lnTo>
                    <a:pt x="1735" y="621"/>
                  </a:lnTo>
                  <a:lnTo>
                    <a:pt x="1735" y="619"/>
                  </a:lnTo>
                  <a:lnTo>
                    <a:pt x="1737" y="619"/>
                  </a:lnTo>
                  <a:lnTo>
                    <a:pt x="1745" y="621"/>
                  </a:lnTo>
                  <a:lnTo>
                    <a:pt x="1747" y="621"/>
                  </a:lnTo>
                  <a:lnTo>
                    <a:pt x="1749" y="621"/>
                  </a:lnTo>
                  <a:lnTo>
                    <a:pt x="1751" y="621"/>
                  </a:lnTo>
                  <a:lnTo>
                    <a:pt x="1752" y="623"/>
                  </a:lnTo>
                  <a:lnTo>
                    <a:pt x="1758" y="623"/>
                  </a:lnTo>
                  <a:lnTo>
                    <a:pt x="1760" y="623"/>
                  </a:lnTo>
                  <a:lnTo>
                    <a:pt x="1762" y="625"/>
                  </a:lnTo>
                  <a:lnTo>
                    <a:pt x="1766" y="625"/>
                  </a:lnTo>
                  <a:lnTo>
                    <a:pt x="1768" y="625"/>
                  </a:lnTo>
                  <a:lnTo>
                    <a:pt x="1770" y="625"/>
                  </a:lnTo>
                  <a:lnTo>
                    <a:pt x="1775" y="625"/>
                  </a:lnTo>
                  <a:lnTo>
                    <a:pt x="1777" y="625"/>
                  </a:lnTo>
                  <a:lnTo>
                    <a:pt x="1789" y="625"/>
                  </a:lnTo>
                  <a:lnTo>
                    <a:pt x="1791" y="627"/>
                  </a:lnTo>
                  <a:lnTo>
                    <a:pt x="1793" y="627"/>
                  </a:lnTo>
                  <a:lnTo>
                    <a:pt x="1797" y="630"/>
                  </a:lnTo>
                  <a:lnTo>
                    <a:pt x="1800" y="634"/>
                  </a:lnTo>
                  <a:lnTo>
                    <a:pt x="1799" y="634"/>
                  </a:lnTo>
                  <a:lnTo>
                    <a:pt x="1795" y="634"/>
                  </a:lnTo>
                  <a:lnTo>
                    <a:pt x="1795" y="636"/>
                  </a:lnTo>
                  <a:lnTo>
                    <a:pt x="1793" y="634"/>
                  </a:lnTo>
                  <a:lnTo>
                    <a:pt x="1793" y="636"/>
                  </a:lnTo>
                  <a:lnTo>
                    <a:pt x="1791" y="636"/>
                  </a:lnTo>
                  <a:lnTo>
                    <a:pt x="1789" y="636"/>
                  </a:lnTo>
                  <a:lnTo>
                    <a:pt x="1791" y="636"/>
                  </a:lnTo>
                  <a:lnTo>
                    <a:pt x="1791" y="638"/>
                  </a:lnTo>
                  <a:lnTo>
                    <a:pt x="1793" y="638"/>
                  </a:lnTo>
                  <a:lnTo>
                    <a:pt x="1795" y="636"/>
                  </a:lnTo>
                  <a:lnTo>
                    <a:pt x="1793" y="638"/>
                  </a:lnTo>
                  <a:lnTo>
                    <a:pt x="1795" y="638"/>
                  </a:lnTo>
                  <a:lnTo>
                    <a:pt x="1797" y="638"/>
                  </a:lnTo>
                  <a:lnTo>
                    <a:pt x="1799" y="638"/>
                  </a:lnTo>
                  <a:lnTo>
                    <a:pt x="1799" y="636"/>
                  </a:lnTo>
                  <a:lnTo>
                    <a:pt x="1799" y="638"/>
                  </a:lnTo>
                  <a:lnTo>
                    <a:pt x="1800" y="636"/>
                  </a:lnTo>
                  <a:lnTo>
                    <a:pt x="1802" y="638"/>
                  </a:lnTo>
                  <a:lnTo>
                    <a:pt x="1804" y="640"/>
                  </a:lnTo>
                  <a:lnTo>
                    <a:pt x="1806" y="642"/>
                  </a:lnTo>
                  <a:lnTo>
                    <a:pt x="1808" y="642"/>
                  </a:lnTo>
                  <a:lnTo>
                    <a:pt x="1810" y="642"/>
                  </a:lnTo>
                  <a:lnTo>
                    <a:pt x="1810" y="644"/>
                  </a:lnTo>
                  <a:lnTo>
                    <a:pt x="1810" y="646"/>
                  </a:lnTo>
                  <a:lnTo>
                    <a:pt x="1812" y="650"/>
                  </a:lnTo>
                  <a:lnTo>
                    <a:pt x="1814" y="651"/>
                  </a:lnTo>
                  <a:lnTo>
                    <a:pt x="1814" y="657"/>
                  </a:lnTo>
                  <a:lnTo>
                    <a:pt x="1814" y="655"/>
                  </a:lnTo>
                  <a:lnTo>
                    <a:pt x="1812" y="655"/>
                  </a:lnTo>
                  <a:lnTo>
                    <a:pt x="1810" y="655"/>
                  </a:lnTo>
                  <a:lnTo>
                    <a:pt x="1812" y="655"/>
                  </a:lnTo>
                  <a:lnTo>
                    <a:pt x="1812" y="657"/>
                  </a:lnTo>
                  <a:lnTo>
                    <a:pt x="1810" y="657"/>
                  </a:lnTo>
                  <a:lnTo>
                    <a:pt x="1810" y="659"/>
                  </a:lnTo>
                  <a:lnTo>
                    <a:pt x="1814" y="663"/>
                  </a:lnTo>
                  <a:lnTo>
                    <a:pt x="1812" y="663"/>
                  </a:lnTo>
                  <a:lnTo>
                    <a:pt x="1810" y="665"/>
                  </a:lnTo>
                  <a:lnTo>
                    <a:pt x="1810" y="667"/>
                  </a:lnTo>
                  <a:lnTo>
                    <a:pt x="1812" y="669"/>
                  </a:lnTo>
                  <a:lnTo>
                    <a:pt x="1810" y="669"/>
                  </a:lnTo>
                  <a:lnTo>
                    <a:pt x="1810" y="671"/>
                  </a:lnTo>
                  <a:lnTo>
                    <a:pt x="1808" y="671"/>
                  </a:lnTo>
                  <a:lnTo>
                    <a:pt x="1810" y="671"/>
                  </a:lnTo>
                  <a:lnTo>
                    <a:pt x="1810" y="673"/>
                  </a:lnTo>
                  <a:lnTo>
                    <a:pt x="1810" y="675"/>
                  </a:lnTo>
                  <a:lnTo>
                    <a:pt x="1812" y="675"/>
                  </a:lnTo>
                  <a:lnTo>
                    <a:pt x="1812" y="676"/>
                  </a:lnTo>
                  <a:lnTo>
                    <a:pt x="1812" y="675"/>
                  </a:lnTo>
                  <a:lnTo>
                    <a:pt x="1814" y="676"/>
                  </a:lnTo>
                  <a:lnTo>
                    <a:pt x="1812" y="678"/>
                  </a:lnTo>
                  <a:lnTo>
                    <a:pt x="1812" y="680"/>
                  </a:lnTo>
                  <a:lnTo>
                    <a:pt x="1812" y="682"/>
                  </a:lnTo>
                  <a:lnTo>
                    <a:pt x="1814" y="682"/>
                  </a:lnTo>
                  <a:lnTo>
                    <a:pt x="1814" y="684"/>
                  </a:lnTo>
                  <a:lnTo>
                    <a:pt x="1816" y="686"/>
                  </a:lnTo>
                  <a:lnTo>
                    <a:pt x="1818" y="686"/>
                  </a:lnTo>
                  <a:lnTo>
                    <a:pt x="1818" y="688"/>
                  </a:lnTo>
                  <a:lnTo>
                    <a:pt x="1820" y="690"/>
                  </a:lnTo>
                  <a:lnTo>
                    <a:pt x="1822" y="690"/>
                  </a:lnTo>
                  <a:lnTo>
                    <a:pt x="1822" y="692"/>
                  </a:lnTo>
                  <a:lnTo>
                    <a:pt x="1822" y="690"/>
                  </a:lnTo>
                  <a:lnTo>
                    <a:pt x="1823" y="690"/>
                  </a:lnTo>
                  <a:lnTo>
                    <a:pt x="1823" y="692"/>
                  </a:lnTo>
                  <a:lnTo>
                    <a:pt x="1825" y="692"/>
                  </a:lnTo>
                  <a:lnTo>
                    <a:pt x="1827" y="692"/>
                  </a:lnTo>
                  <a:lnTo>
                    <a:pt x="1827" y="690"/>
                  </a:lnTo>
                  <a:lnTo>
                    <a:pt x="1827" y="692"/>
                  </a:lnTo>
                  <a:lnTo>
                    <a:pt x="1827" y="694"/>
                  </a:lnTo>
                  <a:lnTo>
                    <a:pt x="1825" y="696"/>
                  </a:lnTo>
                  <a:lnTo>
                    <a:pt x="1827" y="696"/>
                  </a:lnTo>
                  <a:lnTo>
                    <a:pt x="1825" y="694"/>
                  </a:lnTo>
                  <a:lnTo>
                    <a:pt x="1823" y="692"/>
                  </a:lnTo>
                  <a:lnTo>
                    <a:pt x="1822" y="692"/>
                  </a:lnTo>
                  <a:lnTo>
                    <a:pt x="1820" y="694"/>
                  </a:lnTo>
                  <a:lnTo>
                    <a:pt x="1822" y="694"/>
                  </a:lnTo>
                  <a:lnTo>
                    <a:pt x="1820" y="694"/>
                  </a:lnTo>
                  <a:lnTo>
                    <a:pt x="1820" y="696"/>
                  </a:lnTo>
                  <a:lnTo>
                    <a:pt x="1822" y="696"/>
                  </a:lnTo>
                  <a:lnTo>
                    <a:pt x="1820" y="696"/>
                  </a:lnTo>
                  <a:lnTo>
                    <a:pt x="1820" y="698"/>
                  </a:lnTo>
                  <a:lnTo>
                    <a:pt x="1820" y="700"/>
                  </a:lnTo>
                  <a:lnTo>
                    <a:pt x="1825" y="696"/>
                  </a:lnTo>
                  <a:lnTo>
                    <a:pt x="1818" y="700"/>
                  </a:lnTo>
                  <a:lnTo>
                    <a:pt x="1818" y="701"/>
                  </a:lnTo>
                  <a:lnTo>
                    <a:pt x="1816" y="701"/>
                  </a:lnTo>
                  <a:lnTo>
                    <a:pt x="1816" y="703"/>
                  </a:lnTo>
                  <a:lnTo>
                    <a:pt x="1816" y="701"/>
                  </a:lnTo>
                  <a:lnTo>
                    <a:pt x="1816" y="703"/>
                  </a:lnTo>
                  <a:lnTo>
                    <a:pt x="1816" y="701"/>
                  </a:lnTo>
                  <a:lnTo>
                    <a:pt x="1814" y="701"/>
                  </a:lnTo>
                  <a:lnTo>
                    <a:pt x="1812" y="701"/>
                  </a:lnTo>
                  <a:lnTo>
                    <a:pt x="1814" y="703"/>
                  </a:lnTo>
                  <a:lnTo>
                    <a:pt x="1816" y="703"/>
                  </a:lnTo>
                  <a:lnTo>
                    <a:pt x="1814" y="703"/>
                  </a:lnTo>
                  <a:lnTo>
                    <a:pt x="1812" y="703"/>
                  </a:lnTo>
                  <a:lnTo>
                    <a:pt x="1814" y="703"/>
                  </a:lnTo>
                  <a:lnTo>
                    <a:pt x="1812" y="703"/>
                  </a:lnTo>
                  <a:lnTo>
                    <a:pt x="1812" y="705"/>
                  </a:lnTo>
                  <a:lnTo>
                    <a:pt x="1808" y="709"/>
                  </a:lnTo>
                  <a:lnTo>
                    <a:pt x="1808" y="707"/>
                  </a:lnTo>
                  <a:lnTo>
                    <a:pt x="1810" y="707"/>
                  </a:lnTo>
                  <a:lnTo>
                    <a:pt x="1812" y="705"/>
                  </a:lnTo>
                  <a:lnTo>
                    <a:pt x="1812" y="703"/>
                  </a:lnTo>
                  <a:lnTo>
                    <a:pt x="1810" y="703"/>
                  </a:lnTo>
                  <a:lnTo>
                    <a:pt x="1808" y="703"/>
                  </a:lnTo>
                  <a:lnTo>
                    <a:pt x="1806" y="703"/>
                  </a:lnTo>
                  <a:lnTo>
                    <a:pt x="1806" y="705"/>
                  </a:lnTo>
                  <a:lnTo>
                    <a:pt x="1808" y="705"/>
                  </a:lnTo>
                  <a:lnTo>
                    <a:pt x="1810" y="703"/>
                  </a:lnTo>
                  <a:lnTo>
                    <a:pt x="1812" y="703"/>
                  </a:lnTo>
                  <a:lnTo>
                    <a:pt x="1810" y="705"/>
                  </a:lnTo>
                  <a:lnTo>
                    <a:pt x="1808" y="705"/>
                  </a:lnTo>
                  <a:lnTo>
                    <a:pt x="1806" y="707"/>
                  </a:lnTo>
                  <a:lnTo>
                    <a:pt x="1804" y="707"/>
                  </a:lnTo>
                  <a:lnTo>
                    <a:pt x="1802" y="707"/>
                  </a:lnTo>
                  <a:lnTo>
                    <a:pt x="1802" y="709"/>
                  </a:lnTo>
                  <a:lnTo>
                    <a:pt x="1804" y="711"/>
                  </a:lnTo>
                  <a:lnTo>
                    <a:pt x="1806" y="711"/>
                  </a:lnTo>
                  <a:lnTo>
                    <a:pt x="1806" y="713"/>
                  </a:lnTo>
                  <a:lnTo>
                    <a:pt x="1806" y="711"/>
                  </a:lnTo>
                  <a:lnTo>
                    <a:pt x="1806" y="713"/>
                  </a:lnTo>
                  <a:lnTo>
                    <a:pt x="1808" y="713"/>
                  </a:lnTo>
                  <a:lnTo>
                    <a:pt x="1808" y="715"/>
                  </a:lnTo>
                  <a:lnTo>
                    <a:pt x="1810" y="715"/>
                  </a:lnTo>
                  <a:lnTo>
                    <a:pt x="1810" y="713"/>
                  </a:lnTo>
                  <a:lnTo>
                    <a:pt x="1812" y="711"/>
                  </a:lnTo>
                  <a:lnTo>
                    <a:pt x="1812" y="709"/>
                  </a:lnTo>
                  <a:lnTo>
                    <a:pt x="1814" y="707"/>
                  </a:lnTo>
                  <a:lnTo>
                    <a:pt x="1816" y="707"/>
                  </a:lnTo>
                  <a:lnTo>
                    <a:pt x="1814" y="709"/>
                  </a:lnTo>
                  <a:lnTo>
                    <a:pt x="1812" y="709"/>
                  </a:lnTo>
                  <a:lnTo>
                    <a:pt x="1812" y="711"/>
                  </a:lnTo>
                  <a:lnTo>
                    <a:pt x="1810" y="711"/>
                  </a:lnTo>
                  <a:lnTo>
                    <a:pt x="1810" y="713"/>
                  </a:lnTo>
                  <a:lnTo>
                    <a:pt x="1810" y="715"/>
                  </a:lnTo>
                  <a:lnTo>
                    <a:pt x="1814" y="713"/>
                  </a:lnTo>
                  <a:lnTo>
                    <a:pt x="1816" y="713"/>
                  </a:lnTo>
                  <a:lnTo>
                    <a:pt x="1816" y="715"/>
                  </a:lnTo>
                  <a:lnTo>
                    <a:pt x="1816" y="717"/>
                  </a:lnTo>
                  <a:lnTo>
                    <a:pt x="1816" y="715"/>
                  </a:lnTo>
                  <a:lnTo>
                    <a:pt x="1816" y="717"/>
                  </a:lnTo>
                  <a:lnTo>
                    <a:pt x="1812" y="717"/>
                  </a:lnTo>
                  <a:lnTo>
                    <a:pt x="1810" y="717"/>
                  </a:lnTo>
                  <a:lnTo>
                    <a:pt x="1808" y="717"/>
                  </a:lnTo>
                  <a:lnTo>
                    <a:pt x="1799" y="724"/>
                  </a:lnTo>
                  <a:lnTo>
                    <a:pt x="1799" y="723"/>
                  </a:lnTo>
                  <a:lnTo>
                    <a:pt x="1799" y="721"/>
                  </a:lnTo>
                  <a:lnTo>
                    <a:pt x="1799" y="723"/>
                  </a:lnTo>
                  <a:lnTo>
                    <a:pt x="1808" y="715"/>
                  </a:lnTo>
                  <a:lnTo>
                    <a:pt x="1806" y="715"/>
                  </a:lnTo>
                  <a:lnTo>
                    <a:pt x="1806" y="713"/>
                  </a:lnTo>
                  <a:lnTo>
                    <a:pt x="1804" y="715"/>
                  </a:lnTo>
                  <a:lnTo>
                    <a:pt x="1804" y="713"/>
                  </a:lnTo>
                  <a:lnTo>
                    <a:pt x="1806" y="713"/>
                  </a:lnTo>
                  <a:lnTo>
                    <a:pt x="1804" y="713"/>
                  </a:lnTo>
                  <a:lnTo>
                    <a:pt x="1802" y="713"/>
                  </a:lnTo>
                  <a:lnTo>
                    <a:pt x="1800" y="715"/>
                  </a:lnTo>
                  <a:lnTo>
                    <a:pt x="1799" y="717"/>
                  </a:lnTo>
                  <a:lnTo>
                    <a:pt x="1797" y="717"/>
                  </a:lnTo>
                  <a:lnTo>
                    <a:pt x="1795" y="719"/>
                  </a:lnTo>
                  <a:lnTo>
                    <a:pt x="1797" y="724"/>
                  </a:lnTo>
                  <a:lnTo>
                    <a:pt x="1795" y="724"/>
                  </a:lnTo>
                  <a:lnTo>
                    <a:pt x="1795" y="719"/>
                  </a:lnTo>
                  <a:lnTo>
                    <a:pt x="1793" y="719"/>
                  </a:lnTo>
                  <a:lnTo>
                    <a:pt x="1791" y="717"/>
                  </a:lnTo>
                  <a:lnTo>
                    <a:pt x="1787" y="719"/>
                  </a:lnTo>
                  <a:lnTo>
                    <a:pt x="1785" y="719"/>
                  </a:lnTo>
                  <a:lnTo>
                    <a:pt x="1787" y="719"/>
                  </a:lnTo>
                  <a:lnTo>
                    <a:pt x="1791" y="717"/>
                  </a:lnTo>
                  <a:lnTo>
                    <a:pt x="1791" y="719"/>
                  </a:lnTo>
                  <a:lnTo>
                    <a:pt x="1787" y="719"/>
                  </a:lnTo>
                  <a:lnTo>
                    <a:pt x="1785" y="719"/>
                  </a:lnTo>
                  <a:lnTo>
                    <a:pt x="1783" y="719"/>
                  </a:lnTo>
                  <a:lnTo>
                    <a:pt x="1781" y="719"/>
                  </a:lnTo>
                  <a:lnTo>
                    <a:pt x="1783" y="719"/>
                  </a:lnTo>
                  <a:lnTo>
                    <a:pt x="1783" y="721"/>
                  </a:lnTo>
                  <a:lnTo>
                    <a:pt x="1781" y="719"/>
                  </a:lnTo>
                  <a:lnTo>
                    <a:pt x="1775" y="719"/>
                  </a:lnTo>
                  <a:lnTo>
                    <a:pt x="1775" y="721"/>
                  </a:lnTo>
                  <a:lnTo>
                    <a:pt x="1774" y="721"/>
                  </a:lnTo>
                  <a:lnTo>
                    <a:pt x="1774" y="723"/>
                  </a:lnTo>
                  <a:lnTo>
                    <a:pt x="1774" y="724"/>
                  </a:lnTo>
                  <a:lnTo>
                    <a:pt x="1772" y="724"/>
                  </a:lnTo>
                  <a:lnTo>
                    <a:pt x="1772" y="726"/>
                  </a:lnTo>
                  <a:lnTo>
                    <a:pt x="1772" y="728"/>
                  </a:lnTo>
                  <a:lnTo>
                    <a:pt x="1772" y="730"/>
                  </a:lnTo>
                  <a:lnTo>
                    <a:pt x="1770" y="730"/>
                  </a:lnTo>
                  <a:lnTo>
                    <a:pt x="1772" y="730"/>
                  </a:lnTo>
                  <a:lnTo>
                    <a:pt x="1772" y="732"/>
                  </a:lnTo>
                  <a:lnTo>
                    <a:pt x="1770" y="734"/>
                  </a:lnTo>
                  <a:lnTo>
                    <a:pt x="1770" y="738"/>
                  </a:lnTo>
                  <a:lnTo>
                    <a:pt x="1768" y="744"/>
                  </a:lnTo>
                  <a:lnTo>
                    <a:pt x="1766" y="748"/>
                  </a:lnTo>
                  <a:lnTo>
                    <a:pt x="1766" y="749"/>
                  </a:lnTo>
                  <a:lnTo>
                    <a:pt x="1764" y="755"/>
                  </a:lnTo>
                  <a:lnTo>
                    <a:pt x="1764" y="757"/>
                  </a:lnTo>
                  <a:lnTo>
                    <a:pt x="1764" y="759"/>
                  </a:lnTo>
                  <a:lnTo>
                    <a:pt x="1762" y="759"/>
                  </a:lnTo>
                  <a:lnTo>
                    <a:pt x="1760" y="761"/>
                  </a:lnTo>
                  <a:lnTo>
                    <a:pt x="1758" y="763"/>
                  </a:lnTo>
                  <a:lnTo>
                    <a:pt x="1758" y="765"/>
                  </a:lnTo>
                  <a:lnTo>
                    <a:pt x="1754" y="767"/>
                  </a:lnTo>
                  <a:lnTo>
                    <a:pt x="1752" y="767"/>
                  </a:lnTo>
                  <a:lnTo>
                    <a:pt x="1752" y="769"/>
                  </a:lnTo>
                  <a:lnTo>
                    <a:pt x="1749" y="769"/>
                  </a:lnTo>
                  <a:lnTo>
                    <a:pt x="1747" y="769"/>
                  </a:lnTo>
                  <a:lnTo>
                    <a:pt x="1747" y="771"/>
                  </a:lnTo>
                  <a:lnTo>
                    <a:pt x="1745" y="771"/>
                  </a:lnTo>
                  <a:lnTo>
                    <a:pt x="1745" y="773"/>
                  </a:lnTo>
                  <a:lnTo>
                    <a:pt x="1743" y="773"/>
                  </a:lnTo>
                  <a:lnTo>
                    <a:pt x="1741" y="774"/>
                  </a:lnTo>
                  <a:lnTo>
                    <a:pt x="1737" y="774"/>
                  </a:lnTo>
                  <a:lnTo>
                    <a:pt x="1737" y="776"/>
                  </a:lnTo>
                  <a:lnTo>
                    <a:pt x="1735" y="776"/>
                  </a:lnTo>
                  <a:lnTo>
                    <a:pt x="1733" y="778"/>
                  </a:lnTo>
                  <a:lnTo>
                    <a:pt x="1731" y="780"/>
                  </a:lnTo>
                  <a:lnTo>
                    <a:pt x="1731" y="782"/>
                  </a:lnTo>
                  <a:lnTo>
                    <a:pt x="1731" y="784"/>
                  </a:lnTo>
                  <a:lnTo>
                    <a:pt x="1729" y="784"/>
                  </a:lnTo>
                  <a:lnTo>
                    <a:pt x="1729" y="786"/>
                  </a:lnTo>
                  <a:lnTo>
                    <a:pt x="1724" y="786"/>
                  </a:lnTo>
                  <a:lnTo>
                    <a:pt x="1722" y="786"/>
                  </a:lnTo>
                  <a:lnTo>
                    <a:pt x="1720" y="786"/>
                  </a:lnTo>
                  <a:lnTo>
                    <a:pt x="1718" y="786"/>
                  </a:lnTo>
                  <a:lnTo>
                    <a:pt x="1714" y="786"/>
                  </a:lnTo>
                  <a:lnTo>
                    <a:pt x="1712" y="788"/>
                  </a:lnTo>
                  <a:lnTo>
                    <a:pt x="1708" y="790"/>
                  </a:lnTo>
                  <a:lnTo>
                    <a:pt x="1706" y="790"/>
                  </a:lnTo>
                  <a:lnTo>
                    <a:pt x="1706" y="792"/>
                  </a:lnTo>
                  <a:lnTo>
                    <a:pt x="1704" y="792"/>
                  </a:lnTo>
                  <a:lnTo>
                    <a:pt x="1706" y="792"/>
                  </a:lnTo>
                  <a:lnTo>
                    <a:pt x="1704" y="792"/>
                  </a:lnTo>
                  <a:lnTo>
                    <a:pt x="1701" y="796"/>
                  </a:lnTo>
                  <a:lnTo>
                    <a:pt x="1699" y="797"/>
                  </a:lnTo>
                  <a:lnTo>
                    <a:pt x="1697" y="799"/>
                  </a:lnTo>
                  <a:lnTo>
                    <a:pt x="1695" y="799"/>
                  </a:lnTo>
                  <a:lnTo>
                    <a:pt x="1695" y="801"/>
                  </a:lnTo>
                  <a:lnTo>
                    <a:pt x="1695" y="803"/>
                  </a:lnTo>
                  <a:lnTo>
                    <a:pt x="1689" y="801"/>
                  </a:lnTo>
                  <a:lnTo>
                    <a:pt x="1687" y="801"/>
                  </a:lnTo>
                  <a:lnTo>
                    <a:pt x="1685" y="801"/>
                  </a:lnTo>
                  <a:lnTo>
                    <a:pt x="1683" y="801"/>
                  </a:lnTo>
                  <a:lnTo>
                    <a:pt x="1680" y="803"/>
                  </a:lnTo>
                  <a:lnTo>
                    <a:pt x="1676" y="803"/>
                  </a:lnTo>
                  <a:lnTo>
                    <a:pt x="1674" y="803"/>
                  </a:lnTo>
                  <a:lnTo>
                    <a:pt x="1672" y="805"/>
                  </a:lnTo>
                  <a:lnTo>
                    <a:pt x="1668" y="805"/>
                  </a:lnTo>
                  <a:lnTo>
                    <a:pt x="1666" y="803"/>
                  </a:lnTo>
                  <a:lnTo>
                    <a:pt x="1666" y="801"/>
                  </a:lnTo>
                  <a:lnTo>
                    <a:pt x="1666" y="799"/>
                  </a:lnTo>
                  <a:lnTo>
                    <a:pt x="1668" y="799"/>
                  </a:lnTo>
                  <a:lnTo>
                    <a:pt x="1668" y="797"/>
                  </a:lnTo>
                  <a:lnTo>
                    <a:pt x="1668" y="796"/>
                  </a:lnTo>
                  <a:lnTo>
                    <a:pt x="1668" y="794"/>
                  </a:lnTo>
                  <a:lnTo>
                    <a:pt x="1666" y="792"/>
                  </a:lnTo>
                  <a:lnTo>
                    <a:pt x="1666" y="790"/>
                  </a:lnTo>
                  <a:lnTo>
                    <a:pt x="1664" y="790"/>
                  </a:lnTo>
                  <a:lnTo>
                    <a:pt x="1664" y="788"/>
                  </a:lnTo>
                  <a:lnTo>
                    <a:pt x="1662" y="788"/>
                  </a:lnTo>
                  <a:lnTo>
                    <a:pt x="1662" y="786"/>
                  </a:lnTo>
                  <a:lnTo>
                    <a:pt x="1660" y="786"/>
                  </a:lnTo>
                  <a:lnTo>
                    <a:pt x="1658" y="786"/>
                  </a:lnTo>
                  <a:lnTo>
                    <a:pt x="1656" y="786"/>
                  </a:lnTo>
                  <a:lnTo>
                    <a:pt x="1655" y="786"/>
                  </a:lnTo>
                  <a:lnTo>
                    <a:pt x="1655" y="788"/>
                  </a:lnTo>
                  <a:lnTo>
                    <a:pt x="1653" y="788"/>
                  </a:lnTo>
                  <a:lnTo>
                    <a:pt x="1653" y="786"/>
                  </a:lnTo>
                  <a:lnTo>
                    <a:pt x="1651" y="784"/>
                  </a:lnTo>
                  <a:lnTo>
                    <a:pt x="1655" y="782"/>
                  </a:lnTo>
                  <a:lnTo>
                    <a:pt x="1653" y="782"/>
                  </a:lnTo>
                  <a:lnTo>
                    <a:pt x="1651" y="782"/>
                  </a:lnTo>
                  <a:lnTo>
                    <a:pt x="1651" y="784"/>
                  </a:lnTo>
                  <a:lnTo>
                    <a:pt x="1653" y="786"/>
                  </a:lnTo>
                  <a:lnTo>
                    <a:pt x="1653" y="788"/>
                  </a:lnTo>
                  <a:lnTo>
                    <a:pt x="1651" y="788"/>
                  </a:lnTo>
                  <a:lnTo>
                    <a:pt x="1649" y="786"/>
                  </a:lnTo>
                  <a:lnTo>
                    <a:pt x="1647" y="784"/>
                  </a:lnTo>
                  <a:lnTo>
                    <a:pt x="1647" y="782"/>
                  </a:lnTo>
                  <a:lnTo>
                    <a:pt x="1645" y="782"/>
                  </a:lnTo>
                  <a:lnTo>
                    <a:pt x="1645" y="780"/>
                  </a:lnTo>
                  <a:lnTo>
                    <a:pt x="1641" y="778"/>
                  </a:lnTo>
                  <a:lnTo>
                    <a:pt x="1641" y="774"/>
                  </a:lnTo>
                  <a:lnTo>
                    <a:pt x="1639" y="774"/>
                  </a:lnTo>
                  <a:lnTo>
                    <a:pt x="1639" y="773"/>
                  </a:lnTo>
                  <a:lnTo>
                    <a:pt x="1637" y="769"/>
                  </a:lnTo>
                  <a:lnTo>
                    <a:pt x="1639" y="773"/>
                  </a:lnTo>
                  <a:lnTo>
                    <a:pt x="1639" y="774"/>
                  </a:lnTo>
                  <a:lnTo>
                    <a:pt x="1637" y="774"/>
                  </a:lnTo>
                  <a:lnTo>
                    <a:pt x="1637" y="773"/>
                  </a:lnTo>
                  <a:lnTo>
                    <a:pt x="1637" y="771"/>
                  </a:lnTo>
                  <a:lnTo>
                    <a:pt x="1632" y="773"/>
                  </a:lnTo>
                  <a:lnTo>
                    <a:pt x="1635" y="774"/>
                  </a:lnTo>
                  <a:lnTo>
                    <a:pt x="1635" y="776"/>
                  </a:lnTo>
                  <a:lnTo>
                    <a:pt x="1635" y="774"/>
                  </a:lnTo>
                  <a:lnTo>
                    <a:pt x="1633" y="774"/>
                  </a:lnTo>
                  <a:lnTo>
                    <a:pt x="1635" y="776"/>
                  </a:lnTo>
                  <a:lnTo>
                    <a:pt x="1637" y="776"/>
                  </a:lnTo>
                  <a:lnTo>
                    <a:pt x="1635" y="776"/>
                  </a:lnTo>
                  <a:lnTo>
                    <a:pt x="1635" y="778"/>
                  </a:lnTo>
                  <a:lnTo>
                    <a:pt x="1633" y="778"/>
                  </a:lnTo>
                  <a:lnTo>
                    <a:pt x="1635" y="778"/>
                  </a:lnTo>
                  <a:lnTo>
                    <a:pt x="1633" y="776"/>
                  </a:lnTo>
                  <a:lnTo>
                    <a:pt x="1633" y="774"/>
                  </a:lnTo>
                  <a:lnTo>
                    <a:pt x="1632" y="773"/>
                  </a:lnTo>
                  <a:lnTo>
                    <a:pt x="1630" y="773"/>
                  </a:lnTo>
                  <a:lnTo>
                    <a:pt x="1632" y="773"/>
                  </a:lnTo>
                  <a:lnTo>
                    <a:pt x="1632" y="771"/>
                  </a:lnTo>
                  <a:lnTo>
                    <a:pt x="1630" y="771"/>
                  </a:lnTo>
                  <a:lnTo>
                    <a:pt x="1630" y="773"/>
                  </a:lnTo>
                  <a:lnTo>
                    <a:pt x="1628" y="773"/>
                  </a:lnTo>
                  <a:lnTo>
                    <a:pt x="1630" y="774"/>
                  </a:lnTo>
                  <a:lnTo>
                    <a:pt x="1630" y="776"/>
                  </a:lnTo>
                  <a:lnTo>
                    <a:pt x="1630" y="778"/>
                  </a:lnTo>
                  <a:lnTo>
                    <a:pt x="1632" y="778"/>
                  </a:lnTo>
                  <a:lnTo>
                    <a:pt x="1632" y="780"/>
                  </a:lnTo>
                  <a:lnTo>
                    <a:pt x="1633" y="780"/>
                  </a:lnTo>
                  <a:lnTo>
                    <a:pt x="1632" y="780"/>
                  </a:lnTo>
                  <a:lnTo>
                    <a:pt x="1632" y="778"/>
                  </a:lnTo>
                  <a:lnTo>
                    <a:pt x="1630" y="778"/>
                  </a:lnTo>
                  <a:lnTo>
                    <a:pt x="1630" y="776"/>
                  </a:lnTo>
                  <a:lnTo>
                    <a:pt x="1628" y="774"/>
                  </a:lnTo>
                  <a:lnTo>
                    <a:pt x="1628" y="773"/>
                  </a:lnTo>
                  <a:lnTo>
                    <a:pt x="1626" y="773"/>
                  </a:lnTo>
                  <a:lnTo>
                    <a:pt x="1626" y="774"/>
                  </a:lnTo>
                  <a:lnTo>
                    <a:pt x="1626" y="773"/>
                  </a:lnTo>
                  <a:lnTo>
                    <a:pt x="1624" y="773"/>
                  </a:lnTo>
                  <a:lnTo>
                    <a:pt x="1622" y="773"/>
                  </a:lnTo>
                  <a:lnTo>
                    <a:pt x="1620" y="773"/>
                  </a:lnTo>
                  <a:lnTo>
                    <a:pt x="1622" y="773"/>
                  </a:lnTo>
                  <a:lnTo>
                    <a:pt x="1624" y="773"/>
                  </a:lnTo>
                  <a:lnTo>
                    <a:pt x="1626" y="774"/>
                  </a:lnTo>
                  <a:lnTo>
                    <a:pt x="1624" y="774"/>
                  </a:lnTo>
                  <a:lnTo>
                    <a:pt x="1624" y="776"/>
                  </a:lnTo>
                  <a:lnTo>
                    <a:pt x="1622" y="776"/>
                  </a:lnTo>
                  <a:lnTo>
                    <a:pt x="1622" y="778"/>
                  </a:lnTo>
                  <a:lnTo>
                    <a:pt x="1620" y="778"/>
                  </a:lnTo>
                  <a:lnTo>
                    <a:pt x="1618" y="780"/>
                  </a:lnTo>
                  <a:lnTo>
                    <a:pt x="1616" y="778"/>
                  </a:lnTo>
                  <a:lnTo>
                    <a:pt x="1618" y="776"/>
                  </a:lnTo>
                  <a:lnTo>
                    <a:pt x="1616" y="776"/>
                  </a:lnTo>
                  <a:lnTo>
                    <a:pt x="1614" y="776"/>
                  </a:lnTo>
                  <a:lnTo>
                    <a:pt x="1616" y="774"/>
                  </a:lnTo>
                  <a:lnTo>
                    <a:pt x="1618" y="774"/>
                  </a:lnTo>
                  <a:lnTo>
                    <a:pt x="1620" y="774"/>
                  </a:lnTo>
                  <a:lnTo>
                    <a:pt x="1620" y="773"/>
                  </a:lnTo>
                  <a:lnTo>
                    <a:pt x="1618" y="773"/>
                  </a:lnTo>
                  <a:lnTo>
                    <a:pt x="1616" y="771"/>
                  </a:lnTo>
                  <a:lnTo>
                    <a:pt x="1614" y="771"/>
                  </a:lnTo>
                  <a:lnTo>
                    <a:pt x="1616" y="771"/>
                  </a:lnTo>
                  <a:lnTo>
                    <a:pt x="1614" y="771"/>
                  </a:lnTo>
                  <a:lnTo>
                    <a:pt x="1616" y="771"/>
                  </a:lnTo>
                  <a:lnTo>
                    <a:pt x="1616" y="773"/>
                  </a:lnTo>
                  <a:lnTo>
                    <a:pt x="1618" y="773"/>
                  </a:lnTo>
                  <a:lnTo>
                    <a:pt x="1618" y="774"/>
                  </a:lnTo>
                  <a:lnTo>
                    <a:pt x="1616" y="774"/>
                  </a:lnTo>
                  <a:lnTo>
                    <a:pt x="1614" y="776"/>
                  </a:lnTo>
                  <a:lnTo>
                    <a:pt x="1614" y="774"/>
                  </a:lnTo>
                  <a:lnTo>
                    <a:pt x="1612" y="774"/>
                  </a:lnTo>
                  <a:lnTo>
                    <a:pt x="1614" y="774"/>
                  </a:lnTo>
                  <a:lnTo>
                    <a:pt x="1614" y="776"/>
                  </a:lnTo>
                  <a:lnTo>
                    <a:pt x="1612" y="776"/>
                  </a:lnTo>
                  <a:lnTo>
                    <a:pt x="1612" y="774"/>
                  </a:lnTo>
                  <a:lnTo>
                    <a:pt x="1612" y="776"/>
                  </a:lnTo>
                  <a:lnTo>
                    <a:pt x="1614" y="776"/>
                  </a:lnTo>
                  <a:lnTo>
                    <a:pt x="1614" y="778"/>
                  </a:lnTo>
                  <a:lnTo>
                    <a:pt x="1614" y="780"/>
                  </a:lnTo>
                  <a:lnTo>
                    <a:pt x="1614" y="782"/>
                  </a:lnTo>
                  <a:lnTo>
                    <a:pt x="1612" y="782"/>
                  </a:lnTo>
                  <a:lnTo>
                    <a:pt x="1612" y="778"/>
                  </a:lnTo>
                  <a:lnTo>
                    <a:pt x="1614" y="778"/>
                  </a:lnTo>
                  <a:lnTo>
                    <a:pt x="1612" y="778"/>
                  </a:lnTo>
                  <a:lnTo>
                    <a:pt x="1610" y="778"/>
                  </a:lnTo>
                  <a:lnTo>
                    <a:pt x="1610" y="780"/>
                  </a:lnTo>
                  <a:lnTo>
                    <a:pt x="1612" y="782"/>
                  </a:lnTo>
                  <a:lnTo>
                    <a:pt x="1614" y="784"/>
                  </a:lnTo>
                  <a:lnTo>
                    <a:pt x="1612" y="784"/>
                  </a:lnTo>
                  <a:lnTo>
                    <a:pt x="1612" y="782"/>
                  </a:lnTo>
                  <a:lnTo>
                    <a:pt x="1610" y="782"/>
                  </a:lnTo>
                  <a:lnTo>
                    <a:pt x="1609" y="782"/>
                  </a:lnTo>
                  <a:lnTo>
                    <a:pt x="1609" y="780"/>
                  </a:lnTo>
                  <a:lnTo>
                    <a:pt x="1609" y="778"/>
                  </a:lnTo>
                  <a:lnTo>
                    <a:pt x="1609" y="776"/>
                  </a:lnTo>
                  <a:lnTo>
                    <a:pt x="1609" y="774"/>
                  </a:lnTo>
                  <a:lnTo>
                    <a:pt x="1609" y="773"/>
                  </a:lnTo>
                  <a:lnTo>
                    <a:pt x="1607" y="773"/>
                  </a:lnTo>
                  <a:lnTo>
                    <a:pt x="1607" y="771"/>
                  </a:lnTo>
                  <a:lnTo>
                    <a:pt x="1605" y="771"/>
                  </a:lnTo>
                  <a:lnTo>
                    <a:pt x="1603" y="771"/>
                  </a:lnTo>
                  <a:lnTo>
                    <a:pt x="1601" y="771"/>
                  </a:lnTo>
                  <a:lnTo>
                    <a:pt x="1599" y="771"/>
                  </a:lnTo>
                  <a:lnTo>
                    <a:pt x="1597" y="773"/>
                  </a:lnTo>
                  <a:lnTo>
                    <a:pt x="1595" y="773"/>
                  </a:lnTo>
                  <a:lnTo>
                    <a:pt x="1595" y="774"/>
                  </a:lnTo>
                  <a:lnTo>
                    <a:pt x="1595" y="776"/>
                  </a:lnTo>
                  <a:lnTo>
                    <a:pt x="1593" y="776"/>
                  </a:lnTo>
                  <a:lnTo>
                    <a:pt x="1591" y="776"/>
                  </a:lnTo>
                  <a:lnTo>
                    <a:pt x="1589" y="776"/>
                  </a:lnTo>
                  <a:lnTo>
                    <a:pt x="1587" y="776"/>
                  </a:lnTo>
                  <a:lnTo>
                    <a:pt x="1585" y="778"/>
                  </a:lnTo>
                  <a:lnTo>
                    <a:pt x="1584" y="778"/>
                  </a:lnTo>
                  <a:lnTo>
                    <a:pt x="1584" y="780"/>
                  </a:lnTo>
                  <a:lnTo>
                    <a:pt x="1582" y="780"/>
                  </a:lnTo>
                  <a:lnTo>
                    <a:pt x="1580" y="780"/>
                  </a:lnTo>
                  <a:lnTo>
                    <a:pt x="1580" y="782"/>
                  </a:lnTo>
                  <a:lnTo>
                    <a:pt x="1578" y="782"/>
                  </a:lnTo>
                  <a:lnTo>
                    <a:pt x="1578" y="780"/>
                  </a:lnTo>
                  <a:lnTo>
                    <a:pt x="1578" y="782"/>
                  </a:lnTo>
                  <a:lnTo>
                    <a:pt x="1578" y="784"/>
                  </a:lnTo>
                  <a:lnTo>
                    <a:pt x="1576" y="784"/>
                  </a:lnTo>
                  <a:lnTo>
                    <a:pt x="1576" y="786"/>
                  </a:lnTo>
                  <a:lnTo>
                    <a:pt x="1576" y="788"/>
                  </a:lnTo>
                  <a:lnTo>
                    <a:pt x="1574" y="790"/>
                  </a:lnTo>
                  <a:lnTo>
                    <a:pt x="1574" y="792"/>
                  </a:lnTo>
                  <a:lnTo>
                    <a:pt x="1572" y="792"/>
                  </a:lnTo>
                  <a:lnTo>
                    <a:pt x="1574" y="792"/>
                  </a:lnTo>
                  <a:lnTo>
                    <a:pt x="1574" y="796"/>
                  </a:lnTo>
                  <a:lnTo>
                    <a:pt x="1574" y="797"/>
                  </a:lnTo>
                  <a:lnTo>
                    <a:pt x="1574" y="799"/>
                  </a:lnTo>
                  <a:lnTo>
                    <a:pt x="1574" y="801"/>
                  </a:lnTo>
                  <a:lnTo>
                    <a:pt x="1574" y="803"/>
                  </a:lnTo>
                  <a:lnTo>
                    <a:pt x="1576" y="809"/>
                  </a:lnTo>
                  <a:lnTo>
                    <a:pt x="1576" y="811"/>
                  </a:lnTo>
                  <a:lnTo>
                    <a:pt x="1574" y="811"/>
                  </a:lnTo>
                  <a:lnTo>
                    <a:pt x="1574" y="813"/>
                  </a:lnTo>
                  <a:lnTo>
                    <a:pt x="1576" y="813"/>
                  </a:lnTo>
                  <a:lnTo>
                    <a:pt x="1576" y="815"/>
                  </a:lnTo>
                  <a:lnTo>
                    <a:pt x="1574" y="815"/>
                  </a:lnTo>
                  <a:lnTo>
                    <a:pt x="1574" y="817"/>
                  </a:lnTo>
                  <a:lnTo>
                    <a:pt x="1574" y="819"/>
                  </a:lnTo>
                  <a:lnTo>
                    <a:pt x="1576" y="819"/>
                  </a:lnTo>
                  <a:lnTo>
                    <a:pt x="1576" y="821"/>
                  </a:lnTo>
                  <a:lnTo>
                    <a:pt x="1576" y="822"/>
                  </a:lnTo>
                  <a:lnTo>
                    <a:pt x="1576" y="824"/>
                  </a:lnTo>
                  <a:lnTo>
                    <a:pt x="1574" y="824"/>
                  </a:lnTo>
                  <a:lnTo>
                    <a:pt x="1576" y="824"/>
                  </a:lnTo>
                  <a:lnTo>
                    <a:pt x="1578" y="824"/>
                  </a:lnTo>
                  <a:lnTo>
                    <a:pt x="1578" y="826"/>
                  </a:lnTo>
                  <a:lnTo>
                    <a:pt x="1576" y="826"/>
                  </a:lnTo>
                  <a:lnTo>
                    <a:pt x="1574" y="832"/>
                  </a:lnTo>
                  <a:lnTo>
                    <a:pt x="1572" y="832"/>
                  </a:lnTo>
                  <a:lnTo>
                    <a:pt x="1572" y="834"/>
                  </a:lnTo>
                  <a:lnTo>
                    <a:pt x="1572" y="832"/>
                  </a:lnTo>
                  <a:lnTo>
                    <a:pt x="1576" y="828"/>
                  </a:lnTo>
                  <a:lnTo>
                    <a:pt x="1578" y="828"/>
                  </a:lnTo>
                  <a:lnTo>
                    <a:pt x="1578" y="826"/>
                  </a:lnTo>
                  <a:lnTo>
                    <a:pt x="1578" y="828"/>
                  </a:lnTo>
                  <a:lnTo>
                    <a:pt x="1576" y="830"/>
                  </a:lnTo>
                  <a:lnTo>
                    <a:pt x="1574" y="832"/>
                  </a:lnTo>
                  <a:lnTo>
                    <a:pt x="1574" y="834"/>
                  </a:lnTo>
                  <a:lnTo>
                    <a:pt x="1576" y="838"/>
                  </a:lnTo>
                  <a:lnTo>
                    <a:pt x="1576" y="840"/>
                  </a:lnTo>
                  <a:lnTo>
                    <a:pt x="1578" y="842"/>
                  </a:lnTo>
                  <a:lnTo>
                    <a:pt x="1578" y="844"/>
                  </a:lnTo>
                  <a:lnTo>
                    <a:pt x="1580" y="844"/>
                  </a:lnTo>
                  <a:lnTo>
                    <a:pt x="1580" y="845"/>
                  </a:lnTo>
                  <a:lnTo>
                    <a:pt x="1580" y="847"/>
                  </a:lnTo>
                  <a:lnTo>
                    <a:pt x="1580" y="849"/>
                  </a:lnTo>
                  <a:lnTo>
                    <a:pt x="1580" y="851"/>
                  </a:lnTo>
                  <a:lnTo>
                    <a:pt x="1580" y="853"/>
                  </a:lnTo>
                  <a:lnTo>
                    <a:pt x="1582" y="857"/>
                  </a:lnTo>
                  <a:lnTo>
                    <a:pt x="1582" y="859"/>
                  </a:lnTo>
                  <a:lnTo>
                    <a:pt x="1582" y="861"/>
                  </a:lnTo>
                  <a:lnTo>
                    <a:pt x="1582" y="863"/>
                  </a:lnTo>
                  <a:lnTo>
                    <a:pt x="1582" y="865"/>
                  </a:lnTo>
                  <a:lnTo>
                    <a:pt x="1582" y="867"/>
                  </a:lnTo>
                  <a:lnTo>
                    <a:pt x="1582" y="869"/>
                  </a:lnTo>
                  <a:lnTo>
                    <a:pt x="1580" y="870"/>
                  </a:lnTo>
                  <a:lnTo>
                    <a:pt x="1580" y="872"/>
                  </a:lnTo>
                  <a:lnTo>
                    <a:pt x="1582" y="872"/>
                  </a:lnTo>
                  <a:lnTo>
                    <a:pt x="1582" y="874"/>
                  </a:lnTo>
                  <a:lnTo>
                    <a:pt x="1584" y="876"/>
                  </a:lnTo>
                  <a:lnTo>
                    <a:pt x="1585" y="878"/>
                  </a:lnTo>
                  <a:lnTo>
                    <a:pt x="1587" y="880"/>
                  </a:lnTo>
                  <a:lnTo>
                    <a:pt x="1589" y="882"/>
                  </a:lnTo>
                  <a:lnTo>
                    <a:pt x="1589" y="884"/>
                  </a:lnTo>
                  <a:lnTo>
                    <a:pt x="1589" y="886"/>
                  </a:lnTo>
                  <a:lnTo>
                    <a:pt x="1591" y="890"/>
                  </a:lnTo>
                  <a:lnTo>
                    <a:pt x="1593" y="894"/>
                  </a:lnTo>
                  <a:lnTo>
                    <a:pt x="1595" y="895"/>
                  </a:lnTo>
                  <a:lnTo>
                    <a:pt x="1595" y="899"/>
                  </a:lnTo>
                  <a:lnTo>
                    <a:pt x="1597" y="903"/>
                  </a:lnTo>
                  <a:lnTo>
                    <a:pt x="1597" y="905"/>
                  </a:lnTo>
                  <a:lnTo>
                    <a:pt x="1599" y="905"/>
                  </a:lnTo>
                  <a:lnTo>
                    <a:pt x="1597" y="911"/>
                  </a:lnTo>
                  <a:lnTo>
                    <a:pt x="1597" y="913"/>
                  </a:lnTo>
                  <a:lnTo>
                    <a:pt x="1597" y="915"/>
                  </a:lnTo>
                  <a:lnTo>
                    <a:pt x="1599" y="915"/>
                  </a:lnTo>
                  <a:lnTo>
                    <a:pt x="1599" y="917"/>
                  </a:lnTo>
                  <a:lnTo>
                    <a:pt x="1601" y="917"/>
                  </a:lnTo>
                  <a:lnTo>
                    <a:pt x="1603" y="922"/>
                  </a:lnTo>
                  <a:lnTo>
                    <a:pt x="1603" y="924"/>
                  </a:lnTo>
                  <a:lnTo>
                    <a:pt x="1605" y="926"/>
                  </a:lnTo>
                  <a:lnTo>
                    <a:pt x="1605" y="928"/>
                  </a:lnTo>
                  <a:lnTo>
                    <a:pt x="1607" y="930"/>
                  </a:lnTo>
                  <a:lnTo>
                    <a:pt x="1605" y="930"/>
                  </a:lnTo>
                  <a:lnTo>
                    <a:pt x="1607" y="932"/>
                  </a:lnTo>
                  <a:lnTo>
                    <a:pt x="1607" y="934"/>
                  </a:lnTo>
                  <a:lnTo>
                    <a:pt x="1607" y="936"/>
                  </a:lnTo>
                  <a:lnTo>
                    <a:pt x="1607" y="938"/>
                  </a:lnTo>
                  <a:lnTo>
                    <a:pt x="1609" y="940"/>
                  </a:lnTo>
                  <a:lnTo>
                    <a:pt x="1609" y="942"/>
                  </a:lnTo>
                  <a:lnTo>
                    <a:pt x="1610" y="943"/>
                  </a:lnTo>
                  <a:lnTo>
                    <a:pt x="1612" y="943"/>
                  </a:lnTo>
                  <a:lnTo>
                    <a:pt x="1612" y="942"/>
                  </a:lnTo>
                  <a:lnTo>
                    <a:pt x="1612" y="943"/>
                  </a:lnTo>
                  <a:lnTo>
                    <a:pt x="1614" y="943"/>
                  </a:lnTo>
                  <a:lnTo>
                    <a:pt x="1612" y="943"/>
                  </a:lnTo>
                  <a:lnTo>
                    <a:pt x="1610" y="945"/>
                  </a:lnTo>
                  <a:lnTo>
                    <a:pt x="1612" y="943"/>
                  </a:lnTo>
                  <a:lnTo>
                    <a:pt x="1614" y="943"/>
                  </a:lnTo>
                  <a:lnTo>
                    <a:pt x="1612" y="943"/>
                  </a:lnTo>
                  <a:lnTo>
                    <a:pt x="1612" y="945"/>
                  </a:lnTo>
                  <a:lnTo>
                    <a:pt x="1612" y="947"/>
                  </a:lnTo>
                  <a:lnTo>
                    <a:pt x="1612" y="949"/>
                  </a:lnTo>
                  <a:lnTo>
                    <a:pt x="1616" y="951"/>
                  </a:lnTo>
                  <a:lnTo>
                    <a:pt x="1618" y="951"/>
                  </a:lnTo>
                  <a:lnTo>
                    <a:pt x="1618" y="955"/>
                  </a:lnTo>
                  <a:lnTo>
                    <a:pt x="1618" y="957"/>
                  </a:lnTo>
                  <a:lnTo>
                    <a:pt x="1620" y="959"/>
                  </a:lnTo>
                  <a:lnTo>
                    <a:pt x="1620" y="961"/>
                  </a:lnTo>
                  <a:lnTo>
                    <a:pt x="1620" y="965"/>
                  </a:lnTo>
                  <a:lnTo>
                    <a:pt x="1618" y="967"/>
                  </a:lnTo>
                  <a:lnTo>
                    <a:pt x="1618" y="968"/>
                  </a:lnTo>
                  <a:lnTo>
                    <a:pt x="1616" y="970"/>
                  </a:lnTo>
                  <a:lnTo>
                    <a:pt x="1616" y="972"/>
                  </a:lnTo>
                  <a:lnTo>
                    <a:pt x="1614" y="974"/>
                  </a:lnTo>
                  <a:lnTo>
                    <a:pt x="1614" y="976"/>
                  </a:lnTo>
                  <a:lnTo>
                    <a:pt x="1614" y="978"/>
                  </a:lnTo>
                  <a:lnTo>
                    <a:pt x="1612" y="978"/>
                  </a:lnTo>
                  <a:lnTo>
                    <a:pt x="1612" y="980"/>
                  </a:lnTo>
                  <a:lnTo>
                    <a:pt x="1612" y="978"/>
                  </a:lnTo>
                  <a:lnTo>
                    <a:pt x="1610" y="978"/>
                  </a:lnTo>
                  <a:lnTo>
                    <a:pt x="1610" y="980"/>
                  </a:lnTo>
                  <a:lnTo>
                    <a:pt x="1609" y="980"/>
                  </a:lnTo>
                  <a:lnTo>
                    <a:pt x="1610" y="980"/>
                  </a:lnTo>
                  <a:lnTo>
                    <a:pt x="1612" y="980"/>
                  </a:lnTo>
                  <a:lnTo>
                    <a:pt x="1610" y="980"/>
                  </a:lnTo>
                  <a:lnTo>
                    <a:pt x="1609" y="980"/>
                  </a:lnTo>
                  <a:lnTo>
                    <a:pt x="1609" y="982"/>
                  </a:lnTo>
                  <a:lnTo>
                    <a:pt x="1607" y="982"/>
                  </a:lnTo>
                  <a:lnTo>
                    <a:pt x="1607" y="984"/>
                  </a:lnTo>
                  <a:lnTo>
                    <a:pt x="1605" y="984"/>
                  </a:lnTo>
                  <a:lnTo>
                    <a:pt x="1603" y="984"/>
                  </a:lnTo>
                  <a:lnTo>
                    <a:pt x="1605" y="984"/>
                  </a:lnTo>
                  <a:lnTo>
                    <a:pt x="1603" y="984"/>
                  </a:lnTo>
                  <a:lnTo>
                    <a:pt x="1603" y="982"/>
                  </a:lnTo>
                  <a:lnTo>
                    <a:pt x="1601" y="982"/>
                  </a:lnTo>
                  <a:lnTo>
                    <a:pt x="1599" y="982"/>
                  </a:lnTo>
                  <a:lnTo>
                    <a:pt x="1597" y="982"/>
                  </a:lnTo>
                  <a:lnTo>
                    <a:pt x="1601" y="982"/>
                  </a:lnTo>
                  <a:lnTo>
                    <a:pt x="1601" y="984"/>
                  </a:lnTo>
                  <a:lnTo>
                    <a:pt x="1599" y="986"/>
                  </a:lnTo>
                  <a:lnTo>
                    <a:pt x="1601" y="988"/>
                  </a:lnTo>
                  <a:lnTo>
                    <a:pt x="1603" y="984"/>
                  </a:lnTo>
                  <a:lnTo>
                    <a:pt x="1603" y="988"/>
                  </a:lnTo>
                  <a:lnTo>
                    <a:pt x="1601" y="988"/>
                  </a:lnTo>
                  <a:lnTo>
                    <a:pt x="1599" y="986"/>
                  </a:lnTo>
                  <a:lnTo>
                    <a:pt x="1597" y="986"/>
                  </a:lnTo>
                  <a:lnTo>
                    <a:pt x="1599" y="988"/>
                  </a:lnTo>
                  <a:lnTo>
                    <a:pt x="1597" y="986"/>
                  </a:lnTo>
                  <a:lnTo>
                    <a:pt x="1597" y="988"/>
                  </a:lnTo>
                  <a:lnTo>
                    <a:pt x="1597" y="990"/>
                  </a:lnTo>
                  <a:lnTo>
                    <a:pt x="1597" y="991"/>
                  </a:lnTo>
                  <a:lnTo>
                    <a:pt x="1597" y="993"/>
                  </a:lnTo>
                  <a:lnTo>
                    <a:pt x="1595" y="993"/>
                  </a:lnTo>
                  <a:lnTo>
                    <a:pt x="1597" y="997"/>
                  </a:lnTo>
                  <a:lnTo>
                    <a:pt x="1597" y="999"/>
                  </a:lnTo>
                  <a:lnTo>
                    <a:pt x="1597" y="1001"/>
                  </a:lnTo>
                  <a:lnTo>
                    <a:pt x="1597" y="1003"/>
                  </a:lnTo>
                  <a:lnTo>
                    <a:pt x="1599" y="1003"/>
                  </a:lnTo>
                  <a:lnTo>
                    <a:pt x="1599" y="1005"/>
                  </a:lnTo>
                  <a:lnTo>
                    <a:pt x="1601" y="1005"/>
                  </a:lnTo>
                  <a:lnTo>
                    <a:pt x="1601" y="1007"/>
                  </a:lnTo>
                  <a:lnTo>
                    <a:pt x="1603" y="1007"/>
                  </a:lnTo>
                  <a:lnTo>
                    <a:pt x="1603" y="1009"/>
                  </a:lnTo>
                  <a:lnTo>
                    <a:pt x="1603" y="1011"/>
                  </a:lnTo>
                  <a:lnTo>
                    <a:pt x="1603" y="1013"/>
                  </a:lnTo>
                  <a:lnTo>
                    <a:pt x="1601" y="1015"/>
                  </a:lnTo>
                  <a:lnTo>
                    <a:pt x="1599" y="1015"/>
                  </a:lnTo>
                  <a:lnTo>
                    <a:pt x="1597" y="1015"/>
                  </a:lnTo>
                  <a:lnTo>
                    <a:pt x="1593" y="1013"/>
                  </a:lnTo>
                  <a:lnTo>
                    <a:pt x="1589" y="1013"/>
                  </a:lnTo>
                  <a:lnTo>
                    <a:pt x="1587" y="1011"/>
                  </a:lnTo>
                  <a:lnTo>
                    <a:pt x="1587" y="1013"/>
                  </a:lnTo>
                  <a:lnTo>
                    <a:pt x="1585" y="1013"/>
                  </a:lnTo>
                  <a:lnTo>
                    <a:pt x="1584" y="1013"/>
                  </a:lnTo>
                  <a:lnTo>
                    <a:pt x="1580" y="1015"/>
                  </a:lnTo>
                  <a:lnTo>
                    <a:pt x="1580" y="1016"/>
                  </a:lnTo>
                  <a:lnTo>
                    <a:pt x="1578" y="1015"/>
                  </a:lnTo>
                  <a:lnTo>
                    <a:pt x="1578" y="1016"/>
                  </a:lnTo>
                  <a:lnTo>
                    <a:pt x="1578" y="1015"/>
                  </a:lnTo>
                  <a:lnTo>
                    <a:pt x="1578" y="1016"/>
                  </a:lnTo>
                  <a:lnTo>
                    <a:pt x="1578" y="1015"/>
                  </a:lnTo>
                  <a:lnTo>
                    <a:pt x="1576" y="1015"/>
                  </a:lnTo>
                  <a:lnTo>
                    <a:pt x="1574" y="1013"/>
                  </a:lnTo>
                  <a:lnTo>
                    <a:pt x="1572" y="1013"/>
                  </a:lnTo>
                  <a:lnTo>
                    <a:pt x="1572" y="1015"/>
                  </a:lnTo>
                  <a:lnTo>
                    <a:pt x="1572" y="1016"/>
                  </a:lnTo>
                  <a:lnTo>
                    <a:pt x="1574" y="1016"/>
                  </a:lnTo>
                  <a:lnTo>
                    <a:pt x="1576" y="1016"/>
                  </a:lnTo>
                  <a:lnTo>
                    <a:pt x="1576" y="1018"/>
                  </a:lnTo>
                  <a:lnTo>
                    <a:pt x="1578" y="1018"/>
                  </a:lnTo>
                  <a:lnTo>
                    <a:pt x="1576" y="1018"/>
                  </a:lnTo>
                  <a:lnTo>
                    <a:pt x="1576" y="1020"/>
                  </a:lnTo>
                  <a:lnTo>
                    <a:pt x="1576" y="1022"/>
                  </a:lnTo>
                  <a:lnTo>
                    <a:pt x="1576" y="1020"/>
                  </a:lnTo>
                  <a:lnTo>
                    <a:pt x="1574" y="1018"/>
                  </a:lnTo>
                  <a:lnTo>
                    <a:pt x="1574" y="1020"/>
                  </a:lnTo>
                  <a:lnTo>
                    <a:pt x="1576" y="1020"/>
                  </a:lnTo>
                  <a:lnTo>
                    <a:pt x="1576" y="1022"/>
                  </a:lnTo>
                  <a:lnTo>
                    <a:pt x="1576" y="1024"/>
                  </a:lnTo>
                  <a:lnTo>
                    <a:pt x="1578" y="1026"/>
                  </a:lnTo>
                  <a:lnTo>
                    <a:pt x="1578" y="1024"/>
                  </a:lnTo>
                  <a:lnTo>
                    <a:pt x="1576" y="1022"/>
                  </a:lnTo>
                  <a:lnTo>
                    <a:pt x="1578" y="1022"/>
                  </a:lnTo>
                  <a:lnTo>
                    <a:pt x="1578" y="1024"/>
                  </a:lnTo>
                  <a:lnTo>
                    <a:pt x="1580" y="1022"/>
                  </a:lnTo>
                  <a:lnTo>
                    <a:pt x="1580" y="1024"/>
                  </a:lnTo>
                  <a:lnTo>
                    <a:pt x="1578" y="1024"/>
                  </a:lnTo>
                  <a:lnTo>
                    <a:pt x="1578" y="1026"/>
                  </a:lnTo>
                  <a:lnTo>
                    <a:pt x="1580" y="1026"/>
                  </a:lnTo>
                  <a:lnTo>
                    <a:pt x="1582" y="1026"/>
                  </a:lnTo>
                  <a:lnTo>
                    <a:pt x="1582" y="1024"/>
                  </a:lnTo>
                  <a:lnTo>
                    <a:pt x="1584" y="1024"/>
                  </a:lnTo>
                  <a:lnTo>
                    <a:pt x="1582" y="1022"/>
                  </a:lnTo>
                  <a:lnTo>
                    <a:pt x="1584" y="1022"/>
                  </a:lnTo>
                  <a:lnTo>
                    <a:pt x="1584" y="1020"/>
                  </a:lnTo>
                  <a:lnTo>
                    <a:pt x="1585" y="1020"/>
                  </a:lnTo>
                  <a:lnTo>
                    <a:pt x="1589" y="1020"/>
                  </a:lnTo>
                  <a:lnTo>
                    <a:pt x="1589" y="1022"/>
                  </a:lnTo>
                  <a:lnTo>
                    <a:pt x="1591" y="1022"/>
                  </a:lnTo>
                  <a:lnTo>
                    <a:pt x="1591" y="1024"/>
                  </a:lnTo>
                  <a:lnTo>
                    <a:pt x="1589" y="1026"/>
                  </a:lnTo>
                  <a:lnTo>
                    <a:pt x="1587" y="1026"/>
                  </a:lnTo>
                  <a:lnTo>
                    <a:pt x="1587" y="1028"/>
                  </a:lnTo>
                  <a:lnTo>
                    <a:pt x="1587" y="1030"/>
                  </a:lnTo>
                  <a:lnTo>
                    <a:pt x="1585" y="1030"/>
                  </a:lnTo>
                  <a:lnTo>
                    <a:pt x="1584" y="1030"/>
                  </a:lnTo>
                  <a:lnTo>
                    <a:pt x="1584" y="1032"/>
                  </a:lnTo>
                  <a:lnTo>
                    <a:pt x="1584" y="1034"/>
                  </a:lnTo>
                  <a:lnTo>
                    <a:pt x="1584" y="1036"/>
                  </a:lnTo>
                  <a:lnTo>
                    <a:pt x="1584" y="1038"/>
                  </a:lnTo>
                  <a:lnTo>
                    <a:pt x="1584" y="1039"/>
                  </a:lnTo>
                  <a:lnTo>
                    <a:pt x="1584" y="1041"/>
                  </a:lnTo>
                  <a:lnTo>
                    <a:pt x="1584" y="1043"/>
                  </a:lnTo>
                  <a:lnTo>
                    <a:pt x="1585" y="1045"/>
                  </a:lnTo>
                  <a:lnTo>
                    <a:pt x="1584" y="1047"/>
                  </a:lnTo>
                  <a:lnTo>
                    <a:pt x="1584" y="1049"/>
                  </a:lnTo>
                  <a:lnTo>
                    <a:pt x="1584" y="1051"/>
                  </a:lnTo>
                  <a:lnTo>
                    <a:pt x="1584" y="1053"/>
                  </a:lnTo>
                  <a:lnTo>
                    <a:pt x="1585" y="1053"/>
                  </a:lnTo>
                  <a:lnTo>
                    <a:pt x="1587" y="1053"/>
                  </a:lnTo>
                  <a:lnTo>
                    <a:pt x="1589" y="1053"/>
                  </a:lnTo>
                  <a:lnTo>
                    <a:pt x="1591" y="1053"/>
                  </a:lnTo>
                  <a:lnTo>
                    <a:pt x="1591" y="1055"/>
                  </a:lnTo>
                  <a:lnTo>
                    <a:pt x="1593" y="1055"/>
                  </a:lnTo>
                  <a:lnTo>
                    <a:pt x="1593" y="1057"/>
                  </a:lnTo>
                  <a:lnTo>
                    <a:pt x="1595" y="1057"/>
                  </a:lnTo>
                  <a:lnTo>
                    <a:pt x="1597" y="1057"/>
                  </a:lnTo>
                  <a:lnTo>
                    <a:pt x="1597" y="1055"/>
                  </a:lnTo>
                  <a:lnTo>
                    <a:pt x="1599" y="1055"/>
                  </a:lnTo>
                  <a:lnTo>
                    <a:pt x="1601" y="1055"/>
                  </a:lnTo>
                  <a:lnTo>
                    <a:pt x="1603" y="1055"/>
                  </a:lnTo>
                  <a:lnTo>
                    <a:pt x="1603" y="1057"/>
                  </a:lnTo>
                  <a:lnTo>
                    <a:pt x="1605" y="1057"/>
                  </a:lnTo>
                  <a:lnTo>
                    <a:pt x="1607" y="1057"/>
                  </a:lnTo>
                  <a:lnTo>
                    <a:pt x="1607" y="1059"/>
                  </a:lnTo>
                  <a:lnTo>
                    <a:pt x="1609" y="1059"/>
                  </a:lnTo>
                  <a:lnTo>
                    <a:pt x="1610" y="1059"/>
                  </a:lnTo>
                  <a:lnTo>
                    <a:pt x="1612" y="1059"/>
                  </a:lnTo>
                  <a:lnTo>
                    <a:pt x="1616" y="1059"/>
                  </a:lnTo>
                  <a:lnTo>
                    <a:pt x="1614" y="1061"/>
                  </a:lnTo>
                  <a:lnTo>
                    <a:pt x="1616" y="1061"/>
                  </a:lnTo>
                  <a:lnTo>
                    <a:pt x="1620" y="1059"/>
                  </a:lnTo>
                  <a:lnTo>
                    <a:pt x="1620" y="1057"/>
                  </a:lnTo>
                  <a:lnTo>
                    <a:pt x="1620" y="1055"/>
                  </a:lnTo>
                  <a:lnTo>
                    <a:pt x="1622" y="1053"/>
                  </a:lnTo>
                  <a:lnTo>
                    <a:pt x="1624" y="1043"/>
                  </a:lnTo>
                  <a:lnTo>
                    <a:pt x="1622" y="1041"/>
                  </a:lnTo>
                  <a:lnTo>
                    <a:pt x="1622" y="1039"/>
                  </a:lnTo>
                  <a:lnTo>
                    <a:pt x="1622" y="1038"/>
                  </a:lnTo>
                  <a:lnTo>
                    <a:pt x="1624" y="1036"/>
                  </a:lnTo>
                  <a:lnTo>
                    <a:pt x="1628" y="1030"/>
                  </a:lnTo>
                  <a:lnTo>
                    <a:pt x="1628" y="1028"/>
                  </a:lnTo>
                  <a:lnTo>
                    <a:pt x="1628" y="1030"/>
                  </a:lnTo>
                  <a:lnTo>
                    <a:pt x="1630" y="1032"/>
                  </a:lnTo>
                  <a:lnTo>
                    <a:pt x="1630" y="1030"/>
                  </a:lnTo>
                  <a:lnTo>
                    <a:pt x="1630" y="1028"/>
                  </a:lnTo>
                  <a:lnTo>
                    <a:pt x="1630" y="1030"/>
                  </a:lnTo>
                  <a:lnTo>
                    <a:pt x="1628" y="1028"/>
                  </a:lnTo>
                  <a:lnTo>
                    <a:pt x="1630" y="1028"/>
                  </a:lnTo>
                  <a:lnTo>
                    <a:pt x="1630" y="1026"/>
                  </a:lnTo>
                  <a:lnTo>
                    <a:pt x="1630" y="1024"/>
                  </a:lnTo>
                  <a:lnTo>
                    <a:pt x="1630" y="1020"/>
                  </a:lnTo>
                  <a:lnTo>
                    <a:pt x="1632" y="1018"/>
                  </a:lnTo>
                  <a:lnTo>
                    <a:pt x="1632" y="1016"/>
                  </a:lnTo>
                  <a:lnTo>
                    <a:pt x="1632" y="1015"/>
                  </a:lnTo>
                  <a:lnTo>
                    <a:pt x="1626" y="988"/>
                  </a:lnTo>
                  <a:lnTo>
                    <a:pt x="1626" y="986"/>
                  </a:lnTo>
                  <a:lnTo>
                    <a:pt x="1628" y="986"/>
                  </a:lnTo>
                  <a:lnTo>
                    <a:pt x="1628" y="991"/>
                  </a:lnTo>
                  <a:lnTo>
                    <a:pt x="1630" y="1005"/>
                  </a:lnTo>
                  <a:lnTo>
                    <a:pt x="1630" y="1007"/>
                  </a:lnTo>
                  <a:lnTo>
                    <a:pt x="1632" y="1015"/>
                  </a:lnTo>
                  <a:lnTo>
                    <a:pt x="1633" y="1016"/>
                  </a:lnTo>
                  <a:lnTo>
                    <a:pt x="1635" y="1016"/>
                  </a:lnTo>
                  <a:lnTo>
                    <a:pt x="1637" y="1020"/>
                  </a:lnTo>
                  <a:lnTo>
                    <a:pt x="1639" y="1022"/>
                  </a:lnTo>
                  <a:lnTo>
                    <a:pt x="1639" y="1024"/>
                  </a:lnTo>
                  <a:lnTo>
                    <a:pt x="1641" y="1026"/>
                  </a:lnTo>
                  <a:lnTo>
                    <a:pt x="1645" y="1026"/>
                  </a:lnTo>
                  <a:lnTo>
                    <a:pt x="1647" y="1026"/>
                  </a:lnTo>
                  <a:lnTo>
                    <a:pt x="1656" y="1024"/>
                  </a:lnTo>
                  <a:lnTo>
                    <a:pt x="1658" y="1024"/>
                  </a:lnTo>
                  <a:lnTo>
                    <a:pt x="1658" y="1026"/>
                  </a:lnTo>
                  <a:lnTo>
                    <a:pt x="1660" y="1026"/>
                  </a:lnTo>
                  <a:lnTo>
                    <a:pt x="1660" y="1028"/>
                  </a:lnTo>
                  <a:lnTo>
                    <a:pt x="1662" y="1030"/>
                  </a:lnTo>
                  <a:lnTo>
                    <a:pt x="1660" y="1030"/>
                  </a:lnTo>
                  <a:lnTo>
                    <a:pt x="1662" y="1030"/>
                  </a:lnTo>
                  <a:lnTo>
                    <a:pt x="1660" y="1030"/>
                  </a:lnTo>
                  <a:lnTo>
                    <a:pt x="1660" y="1028"/>
                  </a:lnTo>
                  <a:lnTo>
                    <a:pt x="1656" y="1030"/>
                  </a:lnTo>
                  <a:lnTo>
                    <a:pt x="1655" y="1030"/>
                  </a:lnTo>
                  <a:lnTo>
                    <a:pt x="1653" y="1030"/>
                  </a:lnTo>
                  <a:lnTo>
                    <a:pt x="1651" y="1032"/>
                  </a:lnTo>
                  <a:lnTo>
                    <a:pt x="1649" y="1032"/>
                  </a:lnTo>
                  <a:lnTo>
                    <a:pt x="1647" y="1034"/>
                  </a:lnTo>
                  <a:lnTo>
                    <a:pt x="1643" y="1036"/>
                  </a:lnTo>
                  <a:lnTo>
                    <a:pt x="1643" y="1034"/>
                  </a:lnTo>
                  <a:lnTo>
                    <a:pt x="1641" y="1036"/>
                  </a:lnTo>
                  <a:lnTo>
                    <a:pt x="1637" y="1036"/>
                  </a:lnTo>
                  <a:lnTo>
                    <a:pt x="1635" y="1038"/>
                  </a:lnTo>
                  <a:lnTo>
                    <a:pt x="1635" y="1039"/>
                  </a:lnTo>
                  <a:lnTo>
                    <a:pt x="1633" y="1039"/>
                  </a:lnTo>
                  <a:lnTo>
                    <a:pt x="1633" y="1041"/>
                  </a:lnTo>
                  <a:lnTo>
                    <a:pt x="1632" y="1041"/>
                  </a:lnTo>
                  <a:lnTo>
                    <a:pt x="1630" y="1041"/>
                  </a:lnTo>
                  <a:lnTo>
                    <a:pt x="1628" y="1039"/>
                  </a:lnTo>
                  <a:lnTo>
                    <a:pt x="1626" y="1041"/>
                  </a:lnTo>
                  <a:lnTo>
                    <a:pt x="1624" y="1043"/>
                  </a:lnTo>
                  <a:lnTo>
                    <a:pt x="1622" y="1053"/>
                  </a:lnTo>
                  <a:lnTo>
                    <a:pt x="1622" y="1055"/>
                  </a:lnTo>
                  <a:lnTo>
                    <a:pt x="1620" y="1057"/>
                  </a:lnTo>
                  <a:lnTo>
                    <a:pt x="1616" y="1063"/>
                  </a:lnTo>
                  <a:lnTo>
                    <a:pt x="1614" y="1064"/>
                  </a:lnTo>
                  <a:lnTo>
                    <a:pt x="1616" y="1063"/>
                  </a:lnTo>
                  <a:lnTo>
                    <a:pt x="1614" y="1061"/>
                  </a:lnTo>
                  <a:lnTo>
                    <a:pt x="1612" y="1063"/>
                  </a:lnTo>
                  <a:lnTo>
                    <a:pt x="1612" y="1064"/>
                  </a:lnTo>
                  <a:lnTo>
                    <a:pt x="1610" y="1064"/>
                  </a:lnTo>
                  <a:lnTo>
                    <a:pt x="1610" y="1066"/>
                  </a:lnTo>
                  <a:lnTo>
                    <a:pt x="1609" y="1066"/>
                  </a:lnTo>
                  <a:lnTo>
                    <a:pt x="1607" y="1068"/>
                  </a:lnTo>
                  <a:lnTo>
                    <a:pt x="1605" y="1070"/>
                  </a:lnTo>
                  <a:lnTo>
                    <a:pt x="1607" y="1070"/>
                  </a:lnTo>
                  <a:lnTo>
                    <a:pt x="1607" y="1072"/>
                  </a:lnTo>
                  <a:lnTo>
                    <a:pt x="1607" y="1070"/>
                  </a:lnTo>
                  <a:lnTo>
                    <a:pt x="1605" y="1070"/>
                  </a:lnTo>
                  <a:lnTo>
                    <a:pt x="1605" y="1068"/>
                  </a:lnTo>
                  <a:lnTo>
                    <a:pt x="1605" y="1070"/>
                  </a:lnTo>
                  <a:lnTo>
                    <a:pt x="1603" y="1070"/>
                  </a:lnTo>
                  <a:lnTo>
                    <a:pt x="1605" y="1072"/>
                  </a:lnTo>
                  <a:lnTo>
                    <a:pt x="1603" y="1074"/>
                  </a:lnTo>
                  <a:lnTo>
                    <a:pt x="1605" y="1076"/>
                  </a:lnTo>
                  <a:lnTo>
                    <a:pt x="1603" y="1076"/>
                  </a:lnTo>
                  <a:lnTo>
                    <a:pt x="1603" y="1078"/>
                  </a:lnTo>
                  <a:lnTo>
                    <a:pt x="1603" y="1080"/>
                  </a:lnTo>
                  <a:lnTo>
                    <a:pt x="1603" y="1082"/>
                  </a:lnTo>
                  <a:lnTo>
                    <a:pt x="1601" y="1082"/>
                  </a:lnTo>
                  <a:lnTo>
                    <a:pt x="1599" y="1084"/>
                  </a:lnTo>
                  <a:lnTo>
                    <a:pt x="1599" y="1086"/>
                  </a:lnTo>
                  <a:lnTo>
                    <a:pt x="1597" y="1086"/>
                  </a:lnTo>
                  <a:lnTo>
                    <a:pt x="1597" y="1088"/>
                  </a:lnTo>
                  <a:lnTo>
                    <a:pt x="1597" y="1089"/>
                  </a:lnTo>
                  <a:lnTo>
                    <a:pt x="1593" y="1089"/>
                  </a:lnTo>
                  <a:lnTo>
                    <a:pt x="1589" y="1088"/>
                  </a:lnTo>
                  <a:lnTo>
                    <a:pt x="1587" y="1088"/>
                  </a:lnTo>
                  <a:lnTo>
                    <a:pt x="1584" y="1089"/>
                  </a:lnTo>
                  <a:lnTo>
                    <a:pt x="1580" y="1095"/>
                  </a:lnTo>
                  <a:lnTo>
                    <a:pt x="1578" y="1097"/>
                  </a:lnTo>
                  <a:lnTo>
                    <a:pt x="1578" y="1099"/>
                  </a:lnTo>
                  <a:lnTo>
                    <a:pt x="1576" y="1099"/>
                  </a:lnTo>
                  <a:lnTo>
                    <a:pt x="1574" y="1099"/>
                  </a:lnTo>
                  <a:lnTo>
                    <a:pt x="1572" y="1101"/>
                  </a:lnTo>
                  <a:lnTo>
                    <a:pt x="1570" y="1101"/>
                  </a:lnTo>
                  <a:lnTo>
                    <a:pt x="1568" y="1103"/>
                  </a:lnTo>
                  <a:lnTo>
                    <a:pt x="1566" y="1103"/>
                  </a:lnTo>
                  <a:lnTo>
                    <a:pt x="1566" y="1105"/>
                  </a:lnTo>
                  <a:lnTo>
                    <a:pt x="1564" y="1105"/>
                  </a:lnTo>
                  <a:lnTo>
                    <a:pt x="1564" y="1107"/>
                  </a:lnTo>
                  <a:lnTo>
                    <a:pt x="1562" y="1109"/>
                  </a:lnTo>
                  <a:lnTo>
                    <a:pt x="1562" y="1111"/>
                  </a:lnTo>
                  <a:lnTo>
                    <a:pt x="1562" y="1112"/>
                  </a:lnTo>
                  <a:lnTo>
                    <a:pt x="1561" y="1112"/>
                  </a:lnTo>
                  <a:lnTo>
                    <a:pt x="1561" y="1114"/>
                  </a:lnTo>
                  <a:lnTo>
                    <a:pt x="1561" y="1116"/>
                  </a:lnTo>
                  <a:lnTo>
                    <a:pt x="1559" y="1118"/>
                  </a:lnTo>
                  <a:lnTo>
                    <a:pt x="1559" y="1120"/>
                  </a:lnTo>
                  <a:lnTo>
                    <a:pt x="1559" y="1122"/>
                  </a:lnTo>
                  <a:lnTo>
                    <a:pt x="1559" y="1124"/>
                  </a:lnTo>
                  <a:lnTo>
                    <a:pt x="1557" y="1124"/>
                  </a:lnTo>
                  <a:lnTo>
                    <a:pt x="1555" y="1124"/>
                  </a:lnTo>
                  <a:lnTo>
                    <a:pt x="1553" y="1124"/>
                  </a:lnTo>
                  <a:lnTo>
                    <a:pt x="1553" y="1126"/>
                  </a:lnTo>
                  <a:lnTo>
                    <a:pt x="1551" y="1126"/>
                  </a:lnTo>
                  <a:lnTo>
                    <a:pt x="1551" y="1128"/>
                  </a:lnTo>
                  <a:lnTo>
                    <a:pt x="1549" y="1128"/>
                  </a:lnTo>
                  <a:lnTo>
                    <a:pt x="1547" y="1128"/>
                  </a:lnTo>
                  <a:lnTo>
                    <a:pt x="1543" y="1130"/>
                  </a:lnTo>
                  <a:lnTo>
                    <a:pt x="1547" y="1128"/>
                  </a:lnTo>
                  <a:lnTo>
                    <a:pt x="1545" y="1130"/>
                  </a:lnTo>
                  <a:lnTo>
                    <a:pt x="1547" y="1130"/>
                  </a:lnTo>
                  <a:lnTo>
                    <a:pt x="1547" y="1132"/>
                  </a:lnTo>
                  <a:lnTo>
                    <a:pt x="1547" y="1134"/>
                  </a:lnTo>
                  <a:lnTo>
                    <a:pt x="1547" y="1136"/>
                  </a:lnTo>
                  <a:lnTo>
                    <a:pt x="1547" y="1137"/>
                  </a:lnTo>
                  <a:lnTo>
                    <a:pt x="1545" y="1139"/>
                  </a:lnTo>
                  <a:lnTo>
                    <a:pt x="1545" y="1141"/>
                  </a:lnTo>
                  <a:lnTo>
                    <a:pt x="1547" y="1143"/>
                  </a:lnTo>
                  <a:lnTo>
                    <a:pt x="1545" y="1143"/>
                  </a:lnTo>
                  <a:lnTo>
                    <a:pt x="1543" y="1143"/>
                  </a:lnTo>
                  <a:lnTo>
                    <a:pt x="1541" y="1143"/>
                  </a:lnTo>
                  <a:lnTo>
                    <a:pt x="1541" y="1141"/>
                  </a:lnTo>
                  <a:lnTo>
                    <a:pt x="1537" y="1139"/>
                  </a:lnTo>
                  <a:lnTo>
                    <a:pt x="1536" y="1137"/>
                  </a:lnTo>
                  <a:lnTo>
                    <a:pt x="1536" y="1136"/>
                  </a:lnTo>
                  <a:lnTo>
                    <a:pt x="1534" y="1134"/>
                  </a:lnTo>
                  <a:lnTo>
                    <a:pt x="1534" y="1136"/>
                  </a:lnTo>
                  <a:lnTo>
                    <a:pt x="1532" y="1136"/>
                  </a:lnTo>
                  <a:lnTo>
                    <a:pt x="1530" y="1136"/>
                  </a:lnTo>
                  <a:lnTo>
                    <a:pt x="1532" y="1134"/>
                  </a:lnTo>
                  <a:lnTo>
                    <a:pt x="1534" y="1134"/>
                  </a:lnTo>
                  <a:lnTo>
                    <a:pt x="1532" y="1134"/>
                  </a:lnTo>
                  <a:lnTo>
                    <a:pt x="1530" y="1134"/>
                  </a:lnTo>
                  <a:lnTo>
                    <a:pt x="1530" y="1136"/>
                  </a:lnTo>
                  <a:lnTo>
                    <a:pt x="1528" y="1136"/>
                  </a:lnTo>
                  <a:lnTo>
                    <a:pt x="1526" y="1136"/>
                  </a:lnTo>
                  <a:lnTo>
                    <a:pt x="1526" y="1137"/>
                  </a:lnTo>
                  <a:lnTo>
                    <a:pt x="1524" y="1137"/>
                  </a:lnTo>
                  <a:lnTo>
                    <a:pt x="1522" y="1139"/>
                  </a:lnTo>
                  <a:lnTo>
                    <a:pt x="1520" y="1139"/>
                  </a:lnTo>
                  <a:lnTo>
                    <a:pt x="1520" y="1141"/>
                  </a:lnTo>
                  <a:lnTo>
                    <a:pt x="1518" y="1141"/>
                  </a:lnTo>
                  <a:lnTo>
                    <a:pt x="1518" y="1139"/>
                  </a:lnTo>
                  <a:lnTo>
                    <a:pt x="1516" y="1139"/>
                  </a:lnTo>
                  <a:lnTo>
                    <a:pt x="1516" y="1137"/>
                  </a:lnTo>
                  <a:lnTo>
                    <a:pt x="1516" y="1136"/>
                  </a:lnTo>
                  <a:lnTo>
                    <a:pt x="1514" y="1136"/>
                  </a:lnTo>
                  <a:lnTo>
                    <a:pt x="1514" y="1134"/>
                  </a:lnTo>
                  <a:lnTo>
                    <a:pt x="1514" y="1132"/>
                  </a:lnTo>
                  <a:lnTo>
                    <a:pt x="1514" y="1134"/>
                  </a:lnTo>
                  <a:lnTo>
                    <a:pt x="1514" y="1136"/>
                  </a:lnTo>
                  <a:lnTo>
                    <a:pt x="1513" y="1136"/>
                  </a:lnTo>
                  <a:lnTo>
                    <a:pt x="1513" y="1134"/>
                  </a:lnTo>
                  <a:lnTo>
                    <a:pt x="1513" y="1132"/>
                  </a:lnTo>
                  <a:lnTo>
                    <a:pt x="1511" y="1132"/>
                  </a:lnTo>
                  <a:lnTo>
                    <a:pt x="1509" y="1132"/>
                  </a:lnTo>
                  <a:lnTo>
                    <a:pt x="1511" y="1132"/>
                  </a:lnTo>
                  <a:lnTo>
                    <a:pt x="1509" y="1132"/>
                  </a:lnTo>
                  <a:lnTo>
                    <a:pt x="1507" y="1130"/>
                  </a:lnTo>
                  <a:lnTo>
                    <a:pt x="1509" y="1130"/>
                  </a:lnTo>
                  <a:lnTo>
                    <a:pt x="1509" y="1132"/>
                  </a:lnTo>
                  <a:lnTo>
                    <a:pt x="1509" y="1130"/>
                  </a:lnTo>
                  <a:lnTo>
                    <a:pt x="1507" y="1130"/>
                  </a:lnTo>
                  <a:lnTo>
                    <a:pt x="1507" y="1128"/>
                  </a:lnTo>
                  <a:lnTo>
                    <a:pt x="1507" y="1130"/>
                  </a:lnTo>
                  <a:lnTo>
                    <a:pt x="1507" y="1128"/>
                  </a:lnTo>
                  <a:lnTo>
                    <a:pt x="1507" y="1126"/>
                  </a:lnTo>
                  <a:lnTo>
                    <a:pt x="1505" y="1126"/>
                  </a:lnTo>
                  <a:lnTo>
                    <a:pt x="1503" y="1128"/>
                  </a:lnTo>
                  <a:lnTo>
                    <a:pt x="1503" y="1126"/>
                  </a:lnTo>
                  <a:lnTo>
                    <a:pt x="1501" y="1126"/>
                  </a:lnTo>
                  <a:lnTo>
                    <a:pt x="1499" y="1124"/>
                  </a:lnTo>
                  <a:lnTo>
                    <a:pt x="1497" y="1124"/>
                  </a:lnTo>
                  <a:lnTo>
                    <a:pt x="1495" y="1124"/>
                  </a:lnTo>
                  <a:lnTo>
                    <a:pt x="1493" y="1124"/>
                  </a:lnTo>
                  <a:lnTo>
                    <a:pt x="1491" y="1124"/>
                  </a:lnTo>
                  <a:lnTo>
                    <a:pt x="1493" y="1122"/>
                  </a:lnTo>
                  <a:lnTo>
                    <a:pt x="1491" y="1122"/>
                  </a:lnTo>
                  <a:lnTo>
                    <a:pt x="1491" y="1124"/>
                  </a:lnTo>
                  <a:lnTo>
                    <a:pt x="1491" y="1122"/>
                  </a:lnTo>
                  <a:lnTo>
                    <a:pt x="1491" y="1124"/>
                  </a:lnTo>
                  <a:lnTo>
                    <a:pt x="1490" y="1124"/>
                  </a:lnTo>
                  <a:lnTo>
                    <a:pt x="1488" y="1124"/>
                  </a:lnTo>
                  <a:lnTo>
                    <a:pt x="1486" y="1124"/>
                  </a:lnTo>
                  <a:lnTo>
                    <a:pt x="1484" y="1124"/>
                  </a:lnTo>
                  <a:lnTo>
                    <a:pt x="1482" y="1122"/>
                  </a:lnTo>
                  <a:lnTo>
                    <a:pt x="1480" y="1124"/>
                  </a:lnTo>
                  <a:lnTo>
                    <a:pt x="1480" y="1122"/>
                  </a:lnTo>
                  <a:lnTo>
                    <a:pt x="1478" y="1122"/>
                  </a:lnTo>
                  <a:lnTo>
                    <a:pt x="1476" y="1122"/>
                  </a:lnTo>
                  <a:lnTo>
                    <a:pt x="1478" y="1124"/>
                  </a:lnTo>
                  <a:lnTo>
                    <a:pt x="1476" y="1124"/>
                  </a:lnTo>
                  <a:lnTo>
                    <a:pt x="1474" y="1122"/>
                  </a:lnTo>
                  <a:lnTo>
                    <a:pt x="1474" y="1124"/>
                  </a:lnTo>
                  <a:lnTo>
                    <a:pt x="1472" y="1124"/>
                  </a:lnTo>
                  <a:lnTo>
                    <a:pt x="1470" y="1126"/>
                  </a:lnTo>
                  <a:lnTo>
                    <a:pt x="1468" y="1126"/>
                  </a:lnTo>
                  <a:lnTo>
                    <a:pt x="1468" y="1124"/>
                  </a:lnTo>
                  <a:lnTo>
                    <a:pt x="1466" y="1124"/>
                  </a:lnTo>
                  <a:lnTo>
                    <a:pt x="1466" y="1126"/>
                  </a:lnTo>
                  <a:lnTo>
                    <a:pt x="1465" y="1126"/>
                  </a:lnTo>
                  <a:lnTo>
                    <a:pt x="1463" y="1126"/>
                  </a:lnTo>
                  <a:lnTo>
                    <a:pt x="1461" y="1126"/>
                  </a:lnTo>
                  <a:lnTo>
                    <a:pt x="1459" y="1126"/>
                  </a:lnTo>
                  <a:lnTo>
                    <a:pt x="1459" y="1124"/>
                  </a:lnTo>
                  <a:lnTo>
                    <a:pt x="1459" y="1126"/>
                  </a:lnTo>
                  <a:lnTo>
                    <a:pt x="1459" y="1124"/>
                  </a:lnTo>
                  <a:lnTo>
                    <a:pt x="1457" y="1124"/>
                  </a:lnTo>
                  <a:lnTo>
                    <a:pt x="1459" y="1124"/>
                  </a:lnTo>
                  <a:lnTo>
                    <a:pt x="1457" y="1124"/>
                  </a:lnTo>
                  <a:lnTo>
                    <a:pt x="1459" y="1124"/>
                  </a:lnTo>
                  <a:lnTo>
                    <a:pt x="1459" y="1122"/>
                  </a:lnTo>
                  <a:lnTo>
                    <a:pt x="1457" y="1124"/>
                  </a:lnTo>
                  <a:lnTo>
                    <a:pt x="1457" y="1122"/>
                  </a:lnTo>
                  <a:lnTo>
                    <a:pt x="1457" y="1124"/>
                  </a:lnTo>
                  <a:lnTo>
                    <a:pt x="1457" y="1122"/>
                  </a:lnTo>
                  <a:lnTo>
                    <a:pt x="1455" y="1124"/>
                  </a:lnTo>
                  <a:lnTo>
                    <a:pt x="1455" y="1126"/>
                  </a:lnTo>
                  <a:lnTo>
                    <a:pt x="1457" y="1124"/>
                  </a:lnTo>
                  <a:lnTo>
                    <a:pt x="1457" y="1126"/>
                  </a:lnTo>
                  <a:lnTo>
                    <a:pt x="1455" y="1126"/>
                  </a:lnTo>
                  <a:lnTo>
                    <a:pt x="1455" y="1124"/>
                  </a:lnTo>
                  <a:lnTo>
                    <a:pt x="1457" y="1122"/>
                  </a:lnTo>
                  <a:lnTo>
                    <a:pt x="1455" y="1122"/>
                  </a:lnTo>
                  <a:lnTo>
                    <a:pt x="1455" y="1124"/>
                  </a:lnTo>
                  <a:lnTo>
                    <a:pt x="1453" y="1124"/>
                  </a:lnTo>
                  <a:lnTo>
                    <a:pt x="1453" y="1122"/>
                  </a:lnTo>
                  <a:lnTo>
                    <a:pt x="1451" y="1122"/>
                  </a:lnTo>
                  <a:lnTo>
                    <a:pt x="1451" y="1120"/>
                  </a:lnTo>
                  <a:lnTo>
                    <a:pt x="1451" y="1118"/>
                  </a:lnTo>
                  <a:lnTo>
                    <a:pt x="1449" y="1114"/>
                  </a:lnTo>
                  <a:lnTo>
                    <a:pt x="1449" y="1112"/>
                  </a:lnTo>
                  <a:lnTo>
                    <a:pt x="1451" y="1112"/>
                  </a:lnTo>
                  <a:lnTo>
                    <a:pt x="1451" y="1116"/>
                  </a:lnTo>
                  <a:lnTo>
                    <a:pt x="1451" y="1114"/>
                  </a:lnTo>
                  <a:lnTo>
                    <a:pt x="1451" y="1112"/>
                  </a:lnTo>
                  <a:lnTo>
                    <a:pt x="1451" y="1111"/>
                  </a:lnTo>
                  <a:lnTo>
                    <a:pt x="1449" y="1111"/>
                  </a:lnTo>
                  <a:lnTo>
                    <a:pt x="1451" y="1111"/>
                  </a:lnTo>
                  <a:lnTo>
                    <a:pt x="1449" y="1111"/>
                  </a:lnTo>
                  <a:lnTo>
                    <a:pt x="1449" y="1109"/>
                  </a:lnTo>
                  <a:lnTo>
                    <a:pt x="1449" y="1107"/>
                  </a:lnTo>
                  <a:lnTo>
                    <a:pt x="1451" y="1107"/>
                  </a:lnTo>
                  <a:lnTo>
                    <a:pt x="1449" y="1107"/>
                  </a:lnTo>
                  <a:lnTo>
                    <a:pt x="1449" y="1105"/>
                  </a:lnTo>
                  <a:lnTo>
                    <a:pt x="1449" y="1103"/>
                  </a:lnTo>
                  <a:lnTo>
                    <a:pt x="1451" y="1105"/>
                  </a:lnTo>
                  <a:lnTo>
                    <a:pt x="1453" y="1105"/>
                  </a:lnTo>
                  <a:lnTo>
                    <a:pt x="1455" y="1107"/>
                  </a:lnTo>
                  <a:lnTo>
                    <a:pt x="1457" y="1107"/>
                  </a:lnTo>
                  <a:lnTo>
                    <a:pt x="1457" y="1109"/>
                  </a:lnTo>
                  <a:lnTo>
                    <a:pt x="1459" y="1109"/>
                  </a:lnTo>
                  <a:lnTo>
                    <a:pt x="1459" y="1111"/>
                  </a:lnTo>
                  <a:lnTo>
                    <a:pt x="1457" y="1111"/>
                  </a:lnTo>
                  <a:lnTo>
                    <a:pt x="1459" y="1111"/>
                  </a:lnTo>
                  <a:lnTo>
                    <a:pt x="1459" y="1109"/>
                  </a:lnTo>
                  <a:lnTo>
                    <a:pt x="1459" y="1111"/>
                  </a:lnTo>
                  <a:lnTo>
                    <a:pt x="1461" y="1111"/>
                  </a:lnTo>
                  <a:lnTo>
                    <a:pt x="1461" y="1109"/>
                  </a:lnTo>
                  <a:lnTo>
                    <a:pt x="1459" y="1109"/>
                  </a:lnTo>
                  <a:lnTo>
                    <a:pt x="1457" y="1107"/>
                  </a:lnTo>
                  <a:lnTo>
                    <a:pt x="1455" y="1105"/>
                  </a:lnTo>
                  <a:lnTo>
                    <a:pt x="1453" y="1105"/>
                  </a:lnTo>
                  <a:lnTo>
                    <a:pt x="1453" y="1103"/>
                  </a:lnTo>
                  <a:lnTo>
                    <a:pt x="1451" y="1101"/>
                  </a:lnTo>
                  <a:lnTo>
                    <a:pt x="1451" y="1099"/>
                  </a:lnTo>
                  <a:lnTo>
                    <a:pt x="1449" y="1099"/>
                  </a:lnTo>
                  <a:lnTo>
                    <a:pt x="1449" y="1101"/>
                  </a:lnTo>
                  <a:lnTo>
                    <a:pt x="1447" y="1101"/>
                  </a:lnTo>
                  <a:lnTo>
                    <a:pt x="1445" y="1101"/>
                  </a:lnTo>
                  <a:lnTo>
                    <a:pt x="1445" y="1099"/>
                  </a:lnTo>
                  <a:lnTo>
                    <a:pt x="1445" y="1097"/>
                  </a:lnTo>
                  <a:lnTo>
                    <a:pt x="1445" y="1095"/>
                  </a:lnTo>
                  <a:lnTo>
                    <a:pt x="1443" y="1099"/>
                  </a:lnTo>
                  <a:lnTo>
                    <a:pt x="1442" y="1099"/>
                  </a:lnTo>
                  <a:lnTo>
                    <a:pt x="1445" y="1095"/>
                  </a:lnTo>
                  <a:lnTo>
                    <a:pt x="1443" y="1095"/>
                  </a:lnTo>
                  <a:lnTo>
                    <a:pt x="1445" y="1095"/>
                  </a:lnTo>
                  <a:lnTo>
                    <a:pt x="1443" y="1095"/>
                  </a:lnTo>
                  <a:lnTo>
                    <a:pt x="1442" y="1093"/>
                  </a:lnTo>
                  <a:lnTo>
                    <a:pt x="1440" y="1093"/>
                  </a:lnTo>
                  <a:lnTo>
                    <a:pt x="1442" y="1093"/>
                  </a:lnTo>
                  <a:lnTo>
                    <a:pt x="1443" y="1089"/>
                  </a:lnTo>
                  <a:lnTo>
                    <a:pt x="1443" y="1088"/>
                  </a:lnTo>
                  <a:lnTo>
                    <a:pt x="1442" y="1089"/>
                  </a:lnTo>
                  <a:lnTo>
                    <a:pt x="1440" y="1093"/>
                  </a:lnTo>
                  <a:lnTo>
                    <a:pt x="1438" y="1093"/>
                  </a:lnTo>
                  <a:lnTo>
                    <a:pt x="1440" y="1093"/>
                  </a:lnTo>
                  <a:lnTo>
                    <a:pt x="1440" y="1091"/>
                  </a:lnTo>
                  <a:lnTo>
                    <a:pt x="1440" y="1089"/>
                  </a:lnTo>
                  <a:lnTo>
                    <a:pt x="1438" y="1091"/>
                  </a:lnTo>
                  <a:lnTo>
                    <a:pt x="1440" y="1089"/>
                  </a:lnTo>
                  <a:lnTo>
                    <a:pt x="1438" y="1089"/>
                  </a:lnTo>
                  <a:lnTo>
                    <a:pt x="1436" y="1088"/>
                  </a:lnTo>
                  <a:lnTo>
                    <a:pt x="1434" y="1086"/>
                  </a:lnTo>
                  <a:lnTo>
                    <a:pt x="1436" y="1082"/>
                  </a:lnTo>
                  <a:lnTo>
                    <a:pt x="1434" y="1082"/>
                  </a:lnTo>
                  <a:lnTo>
                    <a:pt x="1434" y="1084"/>
                  </a:lnTo>
                  <a:lnTo>
                    <a:pt x="1432" y="1084"/>
                  </a:lnTo>
                  <a:lnTo>
                    <a:pt x="1430" y="1082"/>
                  </a:lnTo>
                  <a:lnTo>
                    <a:pt x="1430" y="1080"/>
                  </a:lnTo>
                  <a:lnTo>
                    <a:pt x="1430" y="1078"/>
                  </a:lnTo>
                  <a:lnTo>
                    <a:pt x="1428" y="1080"/>
                  </a:lnTo>
                  <a:lnTo>
                    <a:pt x="1424" y="1076"/>
                  </a:lnTo>
                  <a:lnTo>
                    <a:pt x="1426" y="1074"/>
                  </a:lnTo>
                  <a:lnTo>
                    <a:pt x="1424" y="1074"/>
                  </a:lnTo>
                  <a:lnTo>
                    <a:pt x="1422" y="1074"/>
                  </a:lnTo>
                  <a:lnTo>
                    <a:pt x="1419" y="1072"/>
                  </a:lnTo>
                  <a:lnTo>
                    <a:pt x="1420" y="1070"/>
                  </a:lnTo>
                  <a:lnTo>
                    <a:pt x="1420" y="1068"/>
                  </a:lnTo>
                  <a:lnTo>
                    <a:pt x="1419" y="1068"/>
                  </a:lnTo>
                  <a:lnTo>
                    <a:pt x="1419" y="1070"/>
                  </a:lnTo>
                  <a:lnTo>
                    <a:pt x="1417" y="1070"/>
                  </a:lnTo>
                  <a:lnTo>
                    <a:pt x="1415" y="1070"/>
                  </a:lnTo>
                  <a:lnTo>
                    <a:pt x="1413" y="1070"/>
                  </a:lnTo>
                  <a:lnTo>
                    <a:pt x="1411" y="1070"/>
                  </a:lnTo>
                  <a:lnTo>
                    <a:pt x="1409" y="1070"/>
                  </a:lnTo>
                  <a:lnTo>
                    <a:pt x="1407" y="1068"/>
                  </a:lnTo>
                  <a:lnTo>
                    <a:pt x="1405" y="1068"/>
                  </a:lnTo>
                  <a:lnTo>
                    <a:pt x="1407" y="1068"/>
                  </a:lnTo>
                  <a:lnTo>
                    <a:pt x="1407" y="1066"/>
                  </a:lnTo>
                  <a:lnTo>
                    <a:pt x="1407" y="1068"/>
                  </a:lnTo>
                  <a:lnTo>
                    <a:pt x="1409" y="1068"/>
                  </a:lnTo>
                  <a:lnTo>
                    <a:pt x="1409" y="1066"/>
                  </a:lnTo>
                  <a:lnTo>
                    <a:pt x="1411" y="1066"/>
                  </a:lnTo>
                  <a:lnTo>
                    <a:pt x="1411" y="1068"/>
                  </a:lnTo>
                  <a:lnTo>
                    <a:pt x="1411" y="1066"/>
                  </a:lnTo>
                  <a:lnTo>
                    <a:pt x="1411" y="1068"/>
                  </a:lnTo>
                  <a:lnTo>
                    <a:pt x="1413" y="1068"/>
                  </a:lnTo>
                  <a:lnTo>
                    <a:pt x="1413" y="1066"/>
                  </a:lnTo>
                  <a:lnTo>
                    <a:pt x="1409" y="1066"/>
                  </a:lnTo>
                  <a:lnTo>
                    <a:pt x="1409" y="1063"/>
                  </a:lnTo>
                  <a:lnTo>
                    <a:pt x="1411" y="1063"/>
                  </a:lnTo>
                  <a:lnTo>
                    <a:pt x="1413" y="1063"/>
                  </a:lnTo>
                  <a:lnTo>
                    <a:pt x="1415" y="1063"/>
                  </a:lnTo>
                  <a:lnTo>
                    <a:pt x="1417" y="1063"/>
                  </a:lnTo>
                  <a:lnTo>
                    <a:pt x="1419" y="1063"/>
                  </a:lnTo>
                  <a:lnTo>
                    <a:pt x="1417" y="1063"/>
                  </a:lnTo>
                  <a:lnTo>
                    <a:pt x="1417" y="1061"/>
                  </a:lnTo>
                  <a:lnTo>
                    <a:pt x="1419" y="1061"/>
                  </a:lnTo>
                  <a:lnTo>
                    <a:pt x="1417" y="1061"/>
                  </a:lnTo>
                  <a:lnTo>
                    <a:pt x="1417" y="1059"/>
                  </a:lnTo>
                  <a:lnTo>
                    <a:pt x="1417" y="1061"/>
                  </a:lnTo>
                  <a:lnTo>
                    <a:pt x="1415" y="1061"/>
                  </a:lnTo>
                  <a:lnTo>
                    <a:pt x="1411" y="1061"/>
                  </a:lnTo>
                  <a:lnTo>
                    <a:pt x="1409" y="1063"/>
                  </a:lnTo>
                  <a:lnTo>
                    <a:pt x="1407" y="1064"/>
                  </a:lnTo>
                  <a:lnTo>
                    <a:pt x="1407" y="1063"/>
                  </a:lnTo>
                  <a:lnTo>
                    <a:pt x="1403" y="1063"/>
                  </a:lnTo>
                  <a:lnTo>
                    <a:pt x="1403" y="1061"/>
                  </a:lnTo>
                  <a:lnTo>
                    <a:pt x="1403" y="1059"/>
                  </a:lnTo>
                  <a:lnTo>
                    <a:pt x="1401" y="1059"/>
                  </a:lnTo>
                  <a:lnTo>
                    <a:pt x="1401" y="1057"/>
                  </a:lnTo>
                  <a:lnTo>
                    <a:pt x="1401" y="1055"/>
                  </a:lnTo>
                  <a:lnTo>
                    <a:pt x="1399" y="1057"/>
                  </a:lnTo>
                  <a:lnTo>
                    <a:pt x="1399" y="1059"/>
                  </a:lnTo>
                  <a:lnTo>
                    <a:pt x="1401" y="1061"/>
                  </a:lnTo>
                  <a:lnTo>
                    <a:pt x="1401" y="1063"/>
                  </a:lnTo>
                  <a:lnTo>
                    <a:pt x="1403" y="1064"/>
                  </a:lnTo>
                  <a:lnTo>
                    <a:pt x="1403" y="1066"/>
                  </a:lnTo>
                  <a:lnTo>
                    <a:pt x="1401" y="1068"/>
                  </a:lnTo>
                  <a:lnTo>
                    <a:pt x="1397" y="1066"/>
                  </a:lnTo>
                  <a:lnTo>
                    <a:pt x="1395" y="1066"/>
                  </a:lnTo>
                  <a:lnTo>
                    <a:pt x="1394" y="1064"/>
                  </a:lnTo>
                  <a:lnTo>
                    <a:pt x="1392" y="1064"/>
                  </a:lnTo>
                  <a:lnTo>
                    <a:pt x="1382" y="1063"/>
                  </a:lnTo>
                  <a:lnTo>
                    <a:pt x="1382" y="1061"/>
                  </a:lnTo>
                  <a:lnTo>
                    <a:pt x="1382" y="1059"/>
                  </a:lnTo>
                  <a:lnTo>
                    <a:pt x="1384" y="1059"/>
                  </a:lnTo>
                  <a:lnTo>
                    <a:pt x="1382" y="1057"/>
                  </a:lnTo>
                  <a:lnTo>
                    <a:pt x="1380" y="1057"/>
                  </a:lnTo>
                  <a:lnTo>
                    <a:pt x="1380" y="1059"/>
                  </a:lnTo>
                  <a:lnTo>
                    <a:pt x="1378" y="1061"/>
                  </a:lnTo>
                  <a:lnTo>
                    <a:pt x="1374" y="1061"/>
                  </a:lnTo>
                  <a:lnTo>
                    <a:pt x="1371" y="1059"/>
                  </a:lnTo>
                  <a:lnTo>
                    <a:pt x="1365" y="1057"/>
                  </a:lnTo>
                  <a:lnTo>
                    <a:pt x="1363" y="1057"/>
                  </a:lnTo>
                  <a:lnTo>
                    <a:pt x="1361" y="1055"/>
                  </a:lnTo>
                  <a:lnTo>
                    <a:pt x="1357" y="1055"/>
                  </a:lnTo>
                  <a:lnTo>
                    <a:pt x="1357" y="1053"/>
                  </a:lnTo>
                  <a:lnTo>
                    <a:pt x="1357" y="1051"/>
                  </a:lnTo>
                  <a:lnTo>
                    <a:pt x="1357" y="1049"/>
                  </a:lnTo>
                  <a:lnTo>
                    <a:pt x="1357" y="1051"/>
                  </a:lnTo>
                  <a:lnTo>
                    <a:pt x="1357" y="1053"/>
                  </a:lnTo>
                  <a:lnTo>
                    <a:pt x="1355" y="1053"/>
                  </a:lnTo>
                  <a:lnTo>
                    <a:pt x="1355" y="1055"/>
                  </a:lnTo>
                  <a:lnTo>
                    <a:pt x="1355" y="1053"/>
                  </a:lnTo>
                  <a:lnTo>
                    <a:pt x="1351" y="1053"/>
                  </a:lnTo>
                  <a:lnTo>
                    <a:pt x="1347" y="1051"/>
                  </a:lnTo>
                  <a:lnTo>
                    <a:pt x="1338" y="1049"/>
                  </a:lnTo>
                  <a:lnTo>
                    <a:pt x="1330" y="1047"/>
                  </a:lnTo>
                  <a:lnTo>
                    <a:pt x="1328" y="1047"/>
                  </a:lnTo>
                  <a:lnTo>
                    <a:pt x="1326" y="1045"/>
                  </a:lnTo>
                  <a:lnTo>
                    <a:pt x="1324" y="1045"/>
                  </a:lnTo>
                  <a:lnTo>
                    <a:pt x="1309" y="1041"/>
                  </a:lnTo>
                  <a:lnTo>
                    <a:pt x="1307" y="1039"/>
                  </a:lnTo>
                  <a:lnTo>
                    <a:pt x="1305" y="1039"/>
                  </a:lnTo>
                  <a:lnTo>
                    <a:pt x="1303" y="1039"/>
                  </a:lnTo>
                  <a:lnTo>
                    <a:pt x="1301" y="1038"/>
                  </a:lnTo>
                  <a:lnTo>
                    <a:pt x="1300" y="1036"/>
                  </a:lnTo>
                  <a:lnTo>
                    <a:pt x="1296" y="1034"/>
                  </a:lnTo>
                  <a:lnTo>
                    <a:pt x="1292" y="1032"/>
                  </a:lnTo>
                  <a:lnTo>
                    <a:pt x="1290" y="1030"/>
                  </a:lnTo>
                  <a:lnTo>
                    <a:pt x="1280" y="1018"/>
                  </a:lnTo>
                  <a:lnTo>
                    <a:pt x="1267" y="1007"/>
                  </a:lnTo>
                  <a:lnTo>
                    <a:pt x="1265" y="1003"/>
                  </a:lnTo>
                  <a:lnTo>
                    <a:pt x="1265" y="1001"/>
                  </a:lnTo>
                  <a:lnTo>
                    <a:pt x="1263" y="1001"/>
                  </a:lnTo>
                  <a:lnTo>
                    <a:pt x="1259" y="999"/>
                  </a:lnTo>
                  <a:lnTo>
                    <a:pt x="1259" y="997"/>
                  </a:lnTo>
                  <a:lnTo>
                    <a:pt x="1257" y="997"/>
                  </a:lnTo>
                  <a:lnTo>
                    <a:pt x="1263" y="990"/>
                  </a:lnTo>
                  <a:lnTo>
                    <a:pt x="1263" y="988"/>
                  </a:lnTo>
                  <a:lnTo>
                    <a:pt x="1265" y="986"/>
                  </a:lnTo>
                  <a:lnTo>
                    <a:pt x="1263" y="986"/>
                  </a:lnTo>
                  <a:lnTo>
                    <a:pt x="1261" y="986"/>
                  </a:lnTo>
                  <a:lnTo>
                    <a:pt x="1261" y="988"/>
                  </a:lnTo>
                  <a:lnTo>
                    <a:pt x="1261" y="990"/>
                  </a:lnTo>
                  <a:lnTo>
                    <a:pt x="1261" y="991"/>
                  </a:lnTo>
                  <a:lnTo>
                    <a:pt x="1259" y="993"/>
                  </a:lnTo>
                  <a:lnTo>
                    <a:pt x="1257" y="995"/>
                  </a:lnTo>
                  <a:lnTo>
                    <a:pt x="1255" y="995"/>
                  </a:lnTo>
                  <a:lnTo>
                    <a:pt x="1253" y="995"/>
                  </a:lnTo>
                  <a:lnTo>
                    <a:pt x="1250" y="993"/>
                  </a:lnTo>
                  <a:lnTo>
                    <a:pt x="1248" y="993"/>
                  </a:lnTo>
                  <a:lnTo>
                    <a:pt x="1246" y="991"/>
                  </a:lnTo>
                  <a:lnTo>
                    <a:pt x="1244" y="991"/>
                  </a:lnTo>
                  <a:lnTo>
                    <a:pt x="1242" y="991"/>
                  </a:lnTo>
                  <a:lnTo>
                    <a:pt x="1240" y="991"/>
                  </a:lnTo>
                  <a:lnTo>
                    <a:pt x="1238" y="991"/>
                  </a:lnTo>
                  <a:lnTo>
                    <a:pt x="1234" y="991"/>
                  </a:lnTo>
                  <a:lnTo>
                    <a:pt x="1232" y="991"/>
                  </a:lnTo>
                  <a:lnTo>
                    <a:pt x="1232" y="990"/>
                  </a:lnTo>
                  <a:lnTo>
                    <a:pt x="1230" y="991"/>
                  </a:lnTo>
                  <a:lnTo>
                    <a:pt x="1230" y="990"/>
                  </a:lnTo>
                  <a:lnTo>
                    <a:pt x="1232" y="990"/>
                  </a:lnTo>
                  <a:lnTo>
                    <a:pt x="1232" y="988"/>
                  </a:lnTo>
                  <a:lnTo>
                    <a:pt x="1232" y="986"/>
                  </a:lnTo>
                  <a:lnTo>
                    <a:pt x="1232" y="984"/>
                  </a:lnTo>
                  <a:lnTo>
                    <a:pt x="1232" y="986"/>
                  </a:lnTo>
                  <a:lnTo>
                    <a:pt x="1230" y="986"/>
                  </a:lnTo>
                  <a:lnTo>
                    <a:pt x="1230" y="988"/>
                  </a:lnTo>
                  <a:lnTo>
                    <a:pt x="1230" y="986"/>
                  </a:lnTo>
                  <a:lnTo>
                    <a:pt x="1230" y="988"/>
                  </a:lnTo>
                  <a:lnTo>
                    <a:pt x="1230" y="990"/>
                  </a:lnTo>
                  <a:lnTo>
                    <a:pt x="1228" y="986"/>
                  </a:lnTo>
                  <a:lnTo>
                    <a:pt x="1227" y="984"/>
                  </a:lnTo>
                  <a:lnTo>
                    <a:pt x="1228" y="984"/>
                  </a:lnTo>
                  <a:lnTo>
                    <a:pt x="1227" y="984"/>
                  </a:lnTo>
                  <a:lnTo>
                    <a:pt x="1227" y="986"/>
                  </a:lnTo>
                  <a:lnTo>
                    <a:pt x="1228" y="988"/>
                  </a:lnTo>
                  <a:lnTo>
                    <a:pt x="1228" y="990"/>
                  </a:lnTo>
                  <a:lnTo>
                    <a:pt x="1227" y="988"/>
                  </a:lnTo>
                  <a:lnTo>
                    <a:pt x="1227" y="984"/>
                  </a:lnTo>
                  <a:lnTo>
                    <a:pt x="1225" y="984"/>
                  </a:lnTo>
                  <a:lnTo>
                    <a:pt x="1223" y="984"/>
                  </a:lnTo>
                  <a:lnTo>
                    <a:pt x="1219" y="982"/>
                  </a:lnTo>
                  <a:lnTo>
                    <a:pt x="1217" y="982"/>
                  </a:lnTo>
                  <a:lnTo>
                    <a:pt x="1215" y="982"/>
                  </a:lnTo>
                  <a:lnTo>
                    <a:pt x="1223" y="984"/>
                  </a:lnTo>
                  <a:lnTo>
                    <a:pt x="1225" y="984"/>
                  </a:lnTo>
                  <a:lnTo>
                    <a:pt x="1225" y="986"/>
                  </a:lnTo>
                  <a:lnTo>
                    <a:pt x="1225" y="988"/>
                  </a:lnTo>
                  <a:lnTo>
                    <a:pt x="1223" y="986"/>
                  </a:lnTo>
                  <a:lnTo>
                    <a:pt x="1221" y="984"/>
                  </a:lnTo>
                  <a:lnTo>
                    <a:pt x="1219" y="984"/>
                  </a:lnTo>
                  <a:lnTo>
                    <a:pt x="1217" y="984"/>
                  </a:lnTo>
                  <a:lnTo>
                    <a:pt x="1213" y="982"/>
                  </a:lnTo>
                  <a:lnTo>
                    <a:pt x="1211" y="982"/>
                  </a:lnTo>
                  <a:lnTo>
                    <a:pt x="1209" y="982"/>
                  </a:lnTo>
                  <a:lnTo>
                    <a:pt x="1207" y="980"/>
                  </a:lnTo>
                  <a:lnTo>
                    <a:pt x="1207" y="982"/>
                  </a:lnTo>
                  <a:lnTo>
                    <a:pt x="1205" y="982"/>
                  </a:lnTo>
                  <a:lnTo>
                    <a:pt x="1205" y="984"/>
                  </a:lnTo>
                  <a:lnTo>
                    <a:pt x="1209" y="984"/>
                  </a:lnTo>
                  <a:lnTo>
                    <a:pt x="1217" y="986"/>
                  </a:lnTo>
                  <a:lnTo>
                    <a:pt x="1219" y="986"/>
                  </a:lnTo>
                  <a:lnTo>
                    <a:pt x="1221" y="986"/>
                  </a:lnTo>
                  <a:lnTo>
                    <a:pt x="1215" y="986"/>
                  </a:lnTo>
                  <a:lnTo>
                    <a:pt x="1215" y="988"/>
                  </a:lnTo>
                  <a:lnTo>
                    <a:pt x="1209" y="986"/>
                  </a:lnTo>
                  <a:lnTo>
                    <a:pt x="1205" y="984"/>
                  </a:lnTo>
                  <a:lnTo>
                    <a:pt x="1198" y="982"/>
                  </a:lnTo>
                  <a:lnTo>
                    <a:pt x="1200" y="982"/>
                  </a:lnTo>
                  <a:lnTo>
                    <a:pt x="1205" y="982"/>
                  </a:lnTo>
                  <a:lnTo>
                    <a:pt x="1205" y="980"/>
                  </a:lnTo>
                  <a:lnTo>
                    <a:pt x="1204" y="980"/>
                  </a:lnTo>
                  <a:lnTo>
                    <a:pt x="1202" y="980"/>
                  </a:lnTo>
                  <a:lnTo>
                    <a:pt x="1200" y="980"/>
                  </a:lnTo>
                  <a:lnTo>
                    <a:pt x="1202" y="980"/>
                  </a:lnTo>
                  <a:lnTo>
                    <a:pt x="1204" y="978"/>
                  </a:lnTo>
                  <a:lnTo>
                    <a:pt x="1207" y="980"/>
                  </a:lnTo>
                  <a:lnTo>
                    <a:pt x="1211" y="980"/>
                  </a:lnTo>
                  <a:lnTo>
                    <a:pt x="1213" y="980"/>
                  </a:lnTo>
                  <a:lnTo>
                    <a:pt x="1213" y="978"/>
                  </a:lnTo>
                  <a:lnTo>
                    <a:pt x="1207" y="978"/>
                  </a:lnTo>
                  <a:lnTo>
                    <a:pt x="1205" y="976"/>
                  </a:lnTo>
                  <a:lnTo>
                    <a:pt x="1204" y="976"/>
                  </a:lnTo>
                  <a:lnTo>
                    <a:pt x="1204" y="978"/>
                  </a:lnTo>
                  <a:lnTo>
                    <a:pt x="1202" y="978"/>
                  </a:lnTo>
                  <a:lnTo>
                    <a:pt x="1202" y="976"/>
                  </a:lnTo>
                  <a:lnTo>
                    <a:pt x="1194" y="980"/>
                  </a:lnTo>
                  <a:lnTo>
                    <a:pt x="1192" y="978"/>
                  </a:lnTo>
                  <a:lnTo>
                    <a:pt x="1190" y="978"/>
                  </a:lnTo>
                  <a:lnTo>
                    <a:pt x="1192" y="980"/>
                  </a:lnTo>
                  <a:lnTo>
                    <a:pt x="1190" y="978"/>
                  </a:lnTo>
                  <a:lnTo>
                    <a:pt x="1190" y="980"/>
                  </a:lnTo>
                  <a:lnTo>
                    <a:pt x="1186" y="982"/>
                  </a:lnTo>
                  <a:lnTo>
                    <a:pt x="1182" y="982"/>
                  </a:lnTo>
                  <a:lnTo>
                    <a:pt x="1181" y="982"/>
                  </a:lnTo>
                  <a:lnTo>
                    <a:pt x="1177" y="984"/>
                  </a:lnTo>
                  <a:lnTo>
                    <a:pt x="1169" y="982"/>
                  </a:lnTo>
                  <a:lnTo>
                    <a:pt x="1167" y="984"/>
                  </a:lnTo>
                  <a:lnTo>
                    <a:pt x="1165" y="984"/>
                  </a:lnTo>
                  <a:lnTo>
                    <a:pt x="1167" y="982"/>
                  </a:lnTo>
                  <a:lnTo>
                    <a:pt x="1161" y="980"/>
                  </a:lnTo>
                  <a:lnTo>
                    <a:pt x="1159" y="980"/>
                  </a:lnTo>
                  <a:lnTo>
                    <a:pt x="1156" y="982"/>
                  </a:lnTo>
                  <a:lnTo>
                    <a:pt x="1159" y="980"/>
                  </a:lnTo>
                  <a:lnTo>
                    <a:pt x="1161" y="980"/>
                  </a:lnTo>
                  <a:lnTo>
                    <a:pt x="1169" y="982"/>
                  </a:lnTo>
                  <a:lnTo>
                    <a:pt x="1175" y="984"/>
                  </a:lnTo>
                  <a:lnTo>
                    <a:pt x="1175" y="982"/>
                  </a:lnTo>
                  <a:lnTo>
                    <a:pt x="1177" y="978"/>
                  </a:lnTo>
                  <a:lnTo>
                    <a:pt x="1179" y="978"/>
                  </a:lnTo>
                  <a:lnTo>
                    <a:pt x="1179" y="976"/>
                  </a:lnTo>
                  <a:lnTo>
                    <a:pt x="1181" y="976"/>
                  </a:lnTo>
                  <a:lnTo>
                    <a:pt x="1181" y="974"/>
                  </a:lnTo>
                  <a:lnTo>
                    <a:pt x="1182" y="972"/>
                  </a:lnTo>
                  <a:lnTo>
                    <a:pt x="1182" y="970"/>
                  </a:lnTo>
                  <a:lnTo>
                    <a:pt x="1184" y="968"/>
                  </a:lnTo>
                  <a:lnTo>
                    <a:pt x="1186" y="967"/>
                  </a:lnTo>
                  <a:lnTo>
                    <a:pt x="1186" y="965"/>
                  </a:lnTo>
                  <a:lnTo>
                    <a:pt x="1188" y="963"/>
                  </a:lnTo>
                  <a:lnTo>
                    <a:pt x="1190" y="959"/>
                  </a:lnTo>
                  <a:lnTo>
                    <a:pt x="1190" y="957"/>
                  </a:lnTo>
                  <a:lnTo>
                    <a:pt x="1192" y="955"/>
                  </a:lnTo>
                  <a:lnTo>
                    <a:pt x="1192" y="951"/>
                  </a:lnTo>
                  <a:lnTo>
                    <a:pt x="1194" y="949"/>
                  </a:lnTo>
                  <a:lnTo>
                    <a:pt x="1194" y="945"/>
                  </a:lnTo>
                  <a:lnTo>
                    <a:pt x="1196" y="945"/>
                  </a:lnTo>
                  <a:lnTo>
                    <a:pt x="1196" y="943"/>
                  </a:lnTo>
                  <a:lnTo>
                    <a:pt x="1196" y="942"/>
                  </a:lnTo>
                  <a:lnTo>
                    <a:pt x="1198" y="940"/>
                  </a:lnTo>
                  <a:lnTo>
                    <a:pt x="1200" y="936"/>
                  </a:lnTo>
                  <a:lnTo>
                    <a:pt x="1200" y="934"/>
                  </a:lnTo>
                  <a:lnTo>
                    <a:pt x="1202" y="930"/>
                  </a:lnTo>
                  <a:lnTo>
                    <a:pt x="1202" y="926"/>
                  </a:lnTo>
                  <a:lnTo>
                    <a:pt x="1202" y="924"/>
                  </a:lnTo>
                  <a:lnTo>
                    <a:pt x="1204" y="922"/>
                  </a:lnTo>
                  <a:lnTo>
                    <a:pt x="1204" y="920"/>
                  </a:lnTo>
                  <a:lnTo>
                    <a:pt x="1205" y="917"/>
                  </a:lnTo>
                  <a:lnTo>
                    <a:pt x="1205" y="913"/>
                  </a:lnTo>
                  <a:lnTo>
                    <a:pt x="1205" y="911"/>
                  </a:lnTo>
                  <a:lnTo>
                    <a:pt x="1207" y="907"/>
                  </a:lnTo>
                  <a:lnTo>
                    <a:pt x="1207" y="905"/>
                  </a:lnTo>
                  <a:lnTo>
                    <a:pt x="1207" y="903"/>
                  </a:lnTo>
                  <a:lnTo>
                    <a:pt x="1209" y="901"/>
                  </a:lnTo>
                  <a:lnTo>
                    <a:pt x="1209" y="897"/>
                  </a:lnTo>
                  <a:lnTo>
                    <a:pt x="1211" y="894"/>
                  </a:lnTo>
                  <a:lnTo>
                    <a:pt x="1211" y="892"/>
                  </a:lnTo>
                  <a:lnTo>
                    <a:pt x="1211" y="890"/>
                  </a:lnTo>
                  <a:lnTo>
                    <a:pt x="1211" y="888"/>
                  </a:lnTo>
                  <a:lnTo>
                    <a:pt x="1213" y="886"/>
                  </a:lnTo>
                  <a:lnTo>
                    <a:pt x="1213" y="882"/>
                  </a:lnTo>
                  <a:lnTo>
                    <a:pt x="1215" y="880"/>
                  </a:lnTo>
                  <a:lnTo>
                    <a:pt x="1215" y="878"/>
                  </a:lnTo>
                  <a:lnTo>
                    <a:pt x="1215" y="876"/>
                  </a:lnTo>
                  <a:lnTo>
                    <a:pt x="1215" y="874"/>
                  </a:lnTo>
                  <a:lnTo>
                    <a:pt x="1217" y="870"/>
                  </a:lnTo>
                  <a:lnTo>
                    <a:pt x="1217" y="869"/>
                  </a:lnTo>
                  <a:lnTo>
                    <a:pt x="1219" y="865"/>
                  </a:lnTo>
                  <a:lnTo>
                    <a:pt x="1219" y="863"/>
                  </a:lnTo>
                  <a:lnTo>
                    <a:pt x="1219" y="861"/>
                  </a:lnTo>
                  <a:lnTo>
                    <a:pt x="1219" y="859"/>
                  </a:lnTo>
                  <a:lnTo>
                    <a:pt x="1221" y="851"/>
                  </a:lnTo>
                  <a:lnTo>
                    <a:pt x="1223" y="849"/>
                  </a:lnTo>
                  <a:lnTo>
                    <a:pt x="1223" y="847"/>
                  </a:lnTo>
                  <a:lnTo>
                    <a:pt x="1223" y="842"/>
                  </a:lnTo>
                  <a:lnTo>
                    <a:pt x="1225" y="838"/>
                  </a:lnTo>
                  <a:lnTo>
                    <a:pt x="1225" y="836"/>
                  </a:lnTo>
                  <a:lnTo>
                    <a:pt x="1225" y="832"/>
                  </a:lnTo>
                  <a:lnTo>
                    <a:pt x="1227" y="830"/>
                  </a:lnTo>
                  <a:lnTo>
                    <a:pt x="1227" y="826"/>
                  </a:lnTo>
                  <a:lnTo>
                    <a:pt x="1227" y="824"/>
                  </a:lnTo>
                  <a:lnTo>
                    <a:pt x="1227" y="822"/>
                  </a:lnTo>
                  <a:lnTo>
                    <a:pt x="1228" y="821"/>
                  </a:lnTo>
                  <a:lnTo>
                    <a:pt x="1228" y="819"/>
                  </a:lnTo>
                  <a:lnTo>
                    <a:pt x="1228" y="817"/>
                  </a:lnTo>
                  <a:lnTo>
                    <a:pt x="1228" y="815"/>
                  </a:lnTo>
                  <a:lnTo>
                    <a:pt x="1228" y="813"/>
                  </a:lnTo>
                  <a:lnTo>
                    <a:pt x="1230" y="813"/>
                  </a:lnTo>
                  <a:lnTo>
                    <a:pt x="1230" y="811"/>
                  </a:lnTo>
                  <a:lnTo>
                    <a:pt x="1230" y="809"/>
                  </a:lnTo>
                  <a:lnTo>
                    <a:pt x="1232" y="805"/>
                  </a:lnTo>
                  <a:lnTo>
                    <a:pt x="1232" y="803"/>
                  </a:lnTo>
                  <a:lnTo>
                    <a:pt x="1232" y="801"/>
                  </a:lnTo>
                  <a:lnTo>
                    <a:pt x="1232" y="797"/>
                  </a:lnTo>
                  <a:lnTo>
                    <a:pt x="1234" y="794"/>
                  </a:lnTo>
                  <a:lnTo>
                    <a:pt x="1234" y="790"/>
                  </a:lnTo>
                  <a:lnTo>
                    <a:pt x="1234" y="788"/>
                  </a:lnTo>
                  <a:lnTo>
                    <a:pt x="1234" y="786"/>
                  </a:lnTo>
                  <a:lnTo>
                    <a:pt x="1234" y="784"/>
                  </a:lnTo>
                  <a:lnTo>
                    <a:pt x="1236" y="782"/>
                  </a:lnTo>
                  <a:lnTo>
                    <a:pt x="1236" y="780"/>
                  </a:lnTo>
                  <a:lnTo>
                    <a:pt x="1236" y="778"/>
                  </a:lnTo>
                  <a:lnTo>
                    <a:pt x="1236" y="776"/>
                  </a:lnTo>
                  <a:lnTo>
                    <a:pt x="1236" y="774"/>
                  </a:lnTo>
                  <a:lnTo>
                    <a:pt x="1238" y="773"/>
                  </a:lnTo>
                  <a:lnTo>
                    <a:pt x="1238" y="771"/>
                  </a:lnTo>
                  <a:lnTo>
                    <a:pt x="1238" y="769"/>
                  </a:lnTo>
                  <a:lnTo>
                    <a:pt x="1238" y="767"/>
                  </a:lnTo>
                  <a:lnTo>
                    <a:pt x="1240" y="767"/>
                  </a:lnTo>
                  <a:lnTo>
                    <a:pt x="1240" y="765"/>
                  </a:lnTo>
                  <a:lnTo>
                    <a:pt x="1240" y="763"/>
                  </a:lnTo>
                  <a:lnTo>
                    <a:pt x="1240" y="759"/>
                  </a:lnTo>
                  <a:lnTo>
                    <a:pt x="1242" y="755"/>
                  </a:lnTo>
                  <a:lnTo>
                    <a:pt x="1242" y="753"/>
                  </a:lnTo>
                  <a:lnTo>
                    <a:pt x="1242" y="751"/>
                  </a:lnTo>
                  <a:lnTo>
                    <a:pt x="1242" y="748"/>
                  </a:lnTo>
                  <a:lnTo>
                    <a:pt x="1244" y="744"/>
                  </a:lnTo>
                  <a:lnTo>
                    <a:pt x="1244" y="742"/>
                  </a:lnTo>
                  <a:lnTo>
                    <a:pt x="1244" y="740"/>
                  </a:lnTo>
                  <a:lnTo>
                    <a:pt x="1246" y="736"/>
                  </a:lnTo>
                  <a:lnTo>
                    <a:pt x="1246" y="732"/>
                  </a:lnTo>
                  <a:lnTo>
                    <a:pt x="1246" y="730"/>
                  </a:lnTo>
                  <a:lnTo>
                    <a:pt x="1246" y="726"/>
                  </a:lnTo>
                  <a:lnTo>
                    <a:pt x="1248" y="724"/>
                  </a:lnTo>
                  <a:lnTo>
                    <a:pt x="1246" y="724"/>
                  </a:lnTo>
                  <a:lnTo>
                    <a:pt x="1248" y="715"/>
                  </a:lnTo>
                  <a:lnTo>
                    <a:pt x="1250" y="709"/>
                  </a:lnTo>
                  <a:lnTo>
                    <a:pt x="1250" y="707"/>
                  </a:lnTo>
                  <a:lnTo>
                    <a:pt x="1252" y="705"/>
                  </a:lnTo>
                  <a:lnTo>
                    <a:pt x="1252" y="703"/>
                  </a:lnTo>
                  <a:lnTo>
                    <a:pt x="1252" y="701"/>
                  </a:lnTo>
                  <a:lnTo>
                    <a:pt x="1252" y="700"/>
                  </a:lnTo>
                  <a:lnTo>
                    <a:pt x="1253" y="698"/>
                  </a:lnTo>
                  <a:lnTo>
                    <a:pt x="1253" y="690"/>
                  </a:lnTo>
                  <a:lnTo>
                    <a:pt x="1255" y="690"/>
                  </a:lnTo>
                  <a:lnTo>
                    <a:pt x="1255" y="688"/>
                  </a:lnTo>
                  <a:lnTo>
                    <a:pt x="1255" y="686"/>
                  </a:lnTo>
                  <a:lnTo>
                    <a:pt x="1257" y="686"/>
                  </a:lnTo>
                  <a:lnTo>
                    <a:pt x="1259" y="686"/>
                  </a:lnTo>
                  <a:lnTo>
                    <a:pt x="1259" y="688"/>
                  </a:lnTo>
                  <a:lnTo>
                    <a:pt x="1261" y="686"/>
                  </a:lnTo>
                  <a:lnTo>
                    <a:pt x="1259" y="686"/>
                  </a:lnTo>
                  <a:lnTo>
                    <a:pt x="1261" y="686"/>
                  </a:lnTo>
                  <a:lnTo>
                    <a:pt x="1259" y="684"/>
                  </a:lnTo>
                  <a:lnTo>
                    <a:pt x="1257" y="684"/>
                  </a:lnTo>
                  <a:lnTo>
                    <a:pt x="1255" y="684"/>
                  </a:lnTo>
                  <a:lnTo>
                    <a:pt x="1255" y="682"/>
                  </a:lnTo>
                  <a:lnTo>
                    <a:pt x="1255" y="680"/>
                  </a:lnTo>
                  <a:lnTo>
                    <a:pt x="1257" y="676"/>
                  </a:lnTo>
                  <a:lnTo>
                    <a:pt x="1257" y="673"/>
                  </a:lnTo>
                  <a:lnTo>
                    <a:pt x="1257" y="671"/>
                  </a:lnTo>
                  <a:lnTo>
                    <a:pt x="1257" y="667"/>
                  </a:lnTo>
                  <a:lnTo>
                    <a:pt x="1259" y="665"/>
                  </a:lnTo>
                  <a:lnTo>
                    <a:pt x="1259" y="663"/>
                  </a:lnTo>
                  <a:lnTo>
                    <a:pt x="1259" y="661"/>
                  </a:lnTo>
                  <a:lnTo>
                    <a:pt x="1259" y="659"/>
                  </a:lnTo>
                  <a:lnTo>
                    <a:pt x="1259" y="657"/>
                  </a:lnTo>
                  <a:lnTo>
                    <a:pt x="1261" y="657"/>
                  </a:lnTo>
                  <a:lnTo>
                    <a:pt x="1261" y="655"/>
                  </a:lnTo>
                  <a:lnTo>
                    <a:pt x="1261" y="653"/>
                  </a:lnTo>
                  <a:lnTo>
                    <a:pt x="1261" y="651"/>
                  </a:lnTo>
                  <a:lnTo>
                    <a:pt x="1263" y="650"/>
                  </a:lnTo>
                  <a:lnTo>
                    <a:pt x="1263" y="648"/>
                  </a:lnTo>
                  <a:lnTo>
                    <a:pt x="1263" y="644"/>
                  </a:lnTo>
                  <a:lnTo>
                    <a:pt x="1261" y="644"/>
                  </a:lnTo>
                  <a:lnTo>
                    <a:pt x="1263" y="644"/>
                  </a:lnTo>
                  <a:lnTo>
                    <a:pt x="1263" y="642"/>
                  </a:lnTo>
                  <a:lnTo>
                    <a:pt x="1263" y="640"/>
                  </a:lnTo>
                  <a:lnTo>
                    <a:pt x="1263" y="638"/>
                  </a:lnTo>
                  <a:lnTo>
                    <a:pt x="1261" y="636"/>
                  </a:lnTo>
                  <a:lnTo>
                    <a:pt x="1263" y="638"/>
                  </a:lnTo>
                  <a:lnTo>
                    <a:pt x="1263" y="636"/>
                  </a:lnTo>
                  <a:lnTo>
                    <a:pt x="1263" y="634"/>
                  </a:lnTo>
                  <a:lnTo>
                    <a:pt x="1261" y="634"/>
                  </a:lnTo>
                  <a:lnTo>
                    <a:pt x="1263" y="634"/>
                  </a:lnTo>
                  <a:lnTo>
                    <a:pt x="1265" y="632"/>
                  </a:lnTo>
                  <a:lnTo>
                    <a:pt x="1265" y="630"/>
                  </a:lnTo>
                  <a:lnTo>
                    <a:pt x="1263" y="630"/>
                  </a:lnTo>
                  <a:lnTo>
                    <a:pt x="1265" y="630"/>
                  </a:lnTo>
                  <a:lnTo>
                    <a:pt x="1265" y="628"/>
                  </a:lnTo>
                  <a:lnTo>
                    <a:pt x="1263" y="627"/>
                  </a:lnTo>
                  <a:lnTo>
                    <a:pt x="1265" y="628"/>
                  </a:lnTo>
                  <a:lnTo>
                    <a:pt x="1265" y="627"/>
                  </a:lnTo>
                  <a:lnTo>
                    <a:pt x="1265" y="625"/>
                  </a:lnTo>
                  <a:lnTo>
                    <a:pt x="1263" y="625"/>
                  </a:lnTo>
                  <a:lnTo>
                    <a:pt x="1265" y="625"/>
                  </a:lnTo>
                  <a:lnTo>
                    <a:pt x="1265" y="621"/>
                  </a:lnTo>
                  <a:lnTo>
                    <a:pt x="1267" y="619"/>
                  </a:lnTo>
                  <a:lnTo>
                    <a:pt x="1265" y="619"/>
                  </a:lnTo>
                  <a:lnTo>
                    <a:pt x="1267" y="619"/>
                  </a:lnTo>
                  <a:lnTo>
                    <a:pt x="1267" y="617"/>
                  </a:lnTo>
                  <a:lnTo>
                    <a:pt x="1267" y="615"/>
                  </a:lnTo>
                  <a:lnTo>
                    <a:pt x="1269" y="613"/>
                  </a:lnTo>
                  <a:lnTo>
                    <a:pt x="1267" y="613"/>
                  </a:lnTo>
                  <a:lnTo>
                    <a:pt x="1269" y="613"/>
                  </a:lnTo>
                  <a:lnTo>
                    <a:pt x="1269" y="611"/>
                  </a:lnTo>
                  <a:lnTo>
                    <a:pt x="1267" y="611"/>
                  </a:lnTo>
                  <a:lnTo>
                    <a:pt x="1269" y="611"/>
                  </a:lnTo>
                  <a:lnTo>
                    <a:pt x="1269" y="609"/>
                  </a:lnTo>
                  <a:lnTo>
                    <a:pt x="1269" y="607"/>
                  </a:lnTo>
                  <a:lnTo>
                    <a:pt x="1271" y="607"/>
                  </a:lnTo>
                  <a:lnTo>
                    <a:pt x="1269" y="605"/>
                  </a:lnTo>
                  <a:lnTo>
                    <a:pt x="1271" y="605"/>
                  </a:lnTo>
                  <a:lnTo>
                    <a:pt x="1269" y="605"/>
                  </a:lnTo>
                  <a:lnTo>
                    <a:pt x="1269" y="603"/>
                  </a:lnTo>
                  <a:lnTo>
                    <a:pt x="1271" y="603"/>
                  </a:lnTo>
                  <a:lnTo>
                    <a:pt x="1271" y="602"/>
                  </a:lnTo>
                  <a:lnTo>
                    <a:pt x="1271" y="600"/>
                  </a:lnTo>
                  <a:lnTo>
                    <a:pt x="1273" y="600"/>
                  </a:lnTo>
                  <a:lnTo>
                    <a:pt x="1271" y="600"/>
                  </a:lnTo>
                  <a:lnTo>
                    <a:pt x="1271" y="598"/>
                  </a:lnTo>
                  <a:lnTo>
                    <a:pt x="1273" y="600"/>
                  </a:lnTo>
                  <a:lnTo>
                    <a:pt x="1273" y="598"/>
                  </a:lnTo>
                  <a:lnTo>
                    <a:pt x="1271" y="598"/>
                  </a:lnTo>
                  <a:lnTo>
                    <a:pt x="1273" y="598"/>
                  </a:lnTo>
                  <a:lnTo>
                    <a:pt x="1273" y="596"/>
                  </a:lnTo>
                  <a:lnTo>
                    <a:pt x="1273" y="594"/>
                  </a:lnTo>
                  <a:lnTo>
                    <a:pt x="1275" y="592"/>
                  </a:lnTo>
                  <a:lnTo>
                    <a:pt x="1273" y="592"/>
                  </a:lnTo>
                  <a:lnTo>
                    <a:pt x="1275" y="592"/>
                  </a:lnTo>
                  <a:lnTo>
                    <a:pt x="1275" y="590"/>
                  </a:lnTo>
                  <a:lnTo>
                    <a:pt x="1275" y="588"/>
                  </a:lnTo>
                  <a:lnTo>
                    <a:pt x="1276" y="586"/>
                  </a:lnTo>
                  <a:lnTo>
                    <a:pt x="1275" y="586"/>
                  </a:lnTo>
                  <a:lnTo>
                    <a:pt x="1276" y="586"/>
                  </a:lnTo>
                  <a:lnTo>
                    <a:pt x="1276" y="584"/>
                  </a:lnTo>
                  <a:lnTo>
                    <a:pt x="1275" y="584"/>
                  </a:lnTo>
                  <a:lnTo>
                    <a:pt x="1276" y="584"/>
                  </a:lnTo>
                  <a:lnTo>
                    <a:pt x="1276" y="582"/>
                  </a:lnTo>
                  <a:lnTo>
                    <a:pt x="1276" y="580"/>
                  </a:lnTo>
                  <a:lnTo>
                    <a:pt x="1278" y="580"/>
                  </a:lnTo>
                  <a:lnTo>
                    <a:pt x="1276" y="578"/>
                  </a:lnTo>
                  <a:lnTo>
                    <a:pt x="1278" y="578"/>
                  </a:lnTo>
                  <a:lnTo>
                    <a:pt x="1276" y="578"/>
                  </a:lnTo>
                  <a:lnTo>
                    <a:pt x="1278" y="578"/>
                  </a:lnTo>
                  <a:lnTo>
                    <a:pt x="1278" y="577"/>
                  </a:lnTo>
                  <a:lnTo>
                    <a:pt x="1280" y="575"/>
                  </a:lnTo>
                  <a:lnTo>
                    <a:pt x="1278" y="575"/>
                  </a:lnTo>
                  <a:lnTo>
                    <a:pt x="1280" y="575"/>
                  </a:lnTo>
                  <a:lnTo>
                    <a:pt x="1280" y="573"/>
                  </a:lnTo>
                  <a:lnTo>
                    <a:pt x="1278" y="573"/>
                  </a:lnTo>
                  <a:lnTo>
                    <a:pt x="1280" y="573"/>
                  </a:lnTo>
                  <a:lnTo>
                    <a:pt x="1280" y="571"/>
                  </a:lnTo>
                  <a:lnTo>
                    <a:pt x="1280" y="573"/>
                  </a:lnTo>
                  <a:lnTo>
                    <a:pt x="1282" y="571"/>
                  </a:lnTo>
                  <a:lnTo>
                    <a:pt x="1280" y="571"/>
                  </a:lnTo>
                  <a:lnTo>
                    <a:pt x="1282" y="571"/>
                  </a:lnTo>
                  <a:lnTo>
                    <a:pt x="1282" y="569"/>
                  </a:lnTo>
                  <a:lnTo>
                    <a:pt x="1280" y="569"/>
                  </a:lnTo>
                  <a:lnTo>
                    <a:pt x="1282" y="569"/>
                  </a:lnTo>
                  <a:lnTo>
                    <a:pt x="1282" y="567"/>
                  </a:lnTo>
                  <a:lnTo>
                    <a:pt x="1282" y="569"/>
                  </a:lnTo>
                  <a:lnTo>
                    <a:pt x="1284" y="567"/>
                  </a:lnTo>
                  <a:lnTo>
                    <a:pt x="1282" y="567"/>
                  </a:lnTo>
                  <a:lnTo>
                    <a:pt x="1284" y="567"/>
                  </a:lnTo>
                  <a:lnTo>
                    <a:pt x="1284" y="565"/>
                  </a:lnTo>
                  <a:lnTo>
                    <a:pt x="1286" y="565"/>
                  </a:lnTo>
                  <a:lnTo>
                    <a:pt x="1284" y="563"/>
                  </a:lnTo>
                  <a:lnTo>
                    <a:pt x="1284" y="565"/>
                  </a:lnTo>
                  <a:lnTo>
                    <a:pt x="1284" y="563"/>
                  </a:lnTo>
                  <a:lnTo>
                    <a:pt x="1286" y="565"/>
                  </a:lnTo>
                  <a:lnTo>
                    <a:pt x="1286" y="563"/>
                  </a:lnTo>
                  <a:lnTo>
                    <a:pt x="1286" y="561"/>
                  </a:lnTo>
                  <a:lnTo>
                    <a:pt x="1288" y="561"/>
                  </a:lnTo>
                  <a:lnTo>
                    <a:pt x="1288" y="559"/>
                  </a:lnTo>
                  <a:lnTo>
                    <a:pt x="1286" y="559"/>
                  </a:lnTo>
                  <a:lnTo>
                    <a:pt x="1288" y="559"/>
                  </a:lnTo>
                  <a:lnTo>
                    <a:pt x="1290" y="557"/>
                  </a:lnTo>
                  <a:lnTo>
                    <a:pt x="1288" y="557"/>
                  </a:lnTo>
                  <a:lnTo>
                    <a:pt x="1290" y="557"/>
                  </a:lnTo>
                  <a:lnTo>
                    <a:pt x="1290" y="555"/>
                  </a:lnTo>
                  <a:lnTo>
                    <a:pt x="1290" y="554"/>
                  </a:lnTo>
                  <a:lnTo>
                    <a:pt x="1292" y="554"/>
                  </a:lnTo>
                  <a:lnTo>
                    <a:pt x="1292" y="552"/>
                  </a:lnTo>
                  <a:lnTo>
                    <a:pt x="1290" y="550"/>
                  </a:lnTo>
                  <a:lnTo>
                    <a:pt x="1292" y="552"/>
                  </a:lnTo>
                  <a:lnTo>
                    <a:pt x="1292" y="550"/>
                  </a:lnTo>
                  <a:lnTo>
                    <a:pt x="1294" y="550"/>
                  </a:lnTo>
                  <a:lnTo>
                    <a:pt x="1294" y="548"/>
                  </a:lnTo>
                  <a:lnTo>
                    <a:pt x="1292" y="546"/>
                  </a:lnTo>
                  <a:lnTo>
                    <a:pt x="1294" y="548"/>
                  </a:lnTo>
                  <a:lnTo>
                    <a:pt x="1294" y="546"/>
                  </a:lnTo>
                  <a:lnTo>
                    <a:pt x="1294" y="544"/>
                  </a:lnTo>
                  <a:lnTo>
                    <a:pt x="1296" y="542"/>
                  </a:lnTo>
                  <a:lnTo>
                    <a:pt x="1296" y="540"/>
                  </a:lnTo>
                  <a:lnTo>
                    <a:pt x="1294" y="538"/>
                  </a:lnTo>
                  <a:lnTo>
                    <a:pt x="1296" y="538"/>
                  </a:lnTo>
                  <a:lnTo>
                    <a:pt x="1296" y="540"/>
                  </a:lnTo>
                  <a:lnTo>
                    <a:pt x="1298" y="540"/>
                  </a:lnTo>
                  <a:lnTo>
                    <a:pt x="1298" y="538"/>
                  </a:lnTo>
                  <a:lnTo>
                    <a:pt x="1300" y="534"/>
                  </a:lnTo>
                  <a:lnTo>
                    <a:pt x="1300" y="532"/>
                  </a:lnTo>
                  <a:lnTo>
                    <a:pt x="1301" y="530"/>
                  </a:lnTo>
                  <a:lnTo>
                    <a:pt x="1301" y="529"/>
                  </a:lnTo>
                  <a:lnTo>
                    <a:pt x="1303" y="525"/>
                  </a:lnTo>
                  <a:lnTo>
                    <a:pt x="1303" y="523"/>
                  </a:lnTo>
                  <a:lnTo>
                    <a:pt x="1301" y="521"/>
                  </a:lnTo>
                  <a:lnTo>
                    <a:pt x="1303" y="521"/>
                  </a:lnTo>
                  <a:lnTo>
                    <a:pt x="1305" y="521"/>
                  </a:lnTo>
                  <a:lnTo>
                    <a:pt x="1305" y="519"/>
                  </a:lnTo>
                  <a:lnTo>
                    <a:pt x="1303" y="519"/>
                  </a:lnTo>
                  <a:lnTo>
                    <a:pt x="1305" y="519"/>
                  </a:lnTo>
                  <a:lnTo>
                    <a:pt x="1305" y="517"/>
                  </a:lnTo>
                  <a:lnTo>
                    <a:pt x="1303" y="517"/>
                  </a:lnTo>
                  <a:lnTo>
                    <a:pt x="1305" y="517"/>
                  </a:lnTo>
                  <a:lnTo>
                    <a:pt x="1307" y="517"/>
                  </a:lnTo>
                  <a:lnTo>
                    <a:pt x="1307" y="515"/>
                  </a:lnTo>
                  <a:lnTo>
                    <a:pt x="1305" y="513"/>
                  </a:lnTo>
                  <a:lnTo>
                    <a:pt x="1307" y="515"/>
                  </a:lnTo>
                  <a:lnTo>
                    <a:pt x="1307" y="513"/>
                  </a:lnTo>
                  <a:lnTo>
                    <a:pt x="1307" y="511"/>
                  </a:lnTo>
                  <a:lnTo>
                    <a:pt x="1305" y="511"/>
                  </a:lnTo>
                  <a:lnTo>
                    <a:pt x="1307" y="511"/>
                  </a:lnTo>
                  <a:lnTo>
                    <a:pt x="1309" y="511"/>
                  </a:lnTo>
                  <a:lnTo>
                    <a:pt x="1309" y="509"/>
                  </a:lnTo>
                  <a:lnTo>
                    <a:pt x="1307" y="509"/>
                  </a:lnTo>
                  <a:lnTo>
                    <a:pt x="1309" y="509"/>
                  </a:lnTo>
                  <a:lnTo>
                    <a:pt x="1309" y="507"/>
                  </a:lnTo>
                  <a:lnTo>
                    <a:pt x="1307" y="507"/>
                  </a:lnTo>
                  <a:lnTo>
                    <a:pt x="1307" y="506"/>
                  </a:lnTo>
                  <a:lnTo>
                    <a:pt x="1309" y="507"/>
                  </a:lnTo>
                  <a:lnTo>
                    <a:pt x="1309" y="506"/>
                  </a:lnTo>
                  <a:lnTo>
                    <a:pt x="1309" y="504"/>
                  </a:lnTo>
                  <a:lnTo>
                    <a:pt x="1311" y="502"/>
                  </a:lnTo>
                  <a:lnTo>
                    <a:pt x="1309" y="502"/>
                  </a:lnTo>
                  <a:lnTo>
                    <a:pt x="1311" y="502"/>
                  </a:lnTo>
                  <a:lnTo>
                    <a:pt x="1311" y="500"/>
                  </a:lnTo>
                  <a:lnTo>
                    <a:pt x="1309" y="500"/>
                  </a:lnTo>
                  <a:lnTo>
                    <a:pt x="1311" y="500"/>
                  </a:lnTo>
                  <a:lnTo>
                    <a:pt x="1311" y="498"/>
                  </a:lnTo>
                  <a:lnTo>
                    <a:pt x="1313" y="496"/>
                  </a:lnTo>
                  <a:lnTo>
                    <a:pt x="1313" y="494"/>
                  </a:lnTo>
                  <a:lnTo>
                    <a:pt x="1311" y="494"/>
                  </a:lnTo>
                  <a:lnTo>
                    <a:pt x="1313" y="494"/>
                  </a:lnTo>
                  <a:lnTo>
                    <a:pt x="1313" y="492"/>
                  </a:lnTo>
                  <a:lnTo>
                    <a:pt x="1315" y="490"/>
                  </a:lnTo>
                  <a:lnTo>
                    <a:pt x="1313" y="490"/>
                  </a:lnTo>
                  <a:lnTo>
                    <a:pt x="1315" y="490"/>
                  </a:lnTo>
                  <a:lnTo>
                    <a:pt x="1315" y="488"/>
                  </a:lnTo>
                  <a:lnTo>
                    <a:pt x="1313" y="486"/>
                  </a:lnTo>
                  <a:lnTo>
                    <a:pt x="1315" y="486"/>
                  </a:lnTo>
                  <a:lnTo>
                    <a:pt x="1317" y="484"/>
                  </a:lnTo>
                  <a:lnTo>
                    <a:pt x="1315" y="484"/>
                  </a:lnTo>
                  <a:lnTo>
                    <a:pt x="1317" y="484"/>
                  </a:lnTo>
                  <a:lnTo>
                    <a:pt x="1317" y="482"/>
                  </a:lnTo>
                  <a:lnTo>
                    <a:pt x="1315" y="482"/>
                  </a:lnTo>
                  <a:lnTo>
                    <a:pt x="1317" y="482"/>
                  </a:lnTo>
                  <a:lnTo>
                    <a:pt x="1317" y="481"/>
                  </a:lnTo>
                  <a:lnTo>
                    <a:pt x="1317" y="479"/>
                  </a:lnTo>
                  <a:lnTo>
                    <a:pt x="1317" y="481"/>
                  </a:lnTo>
                  <a:lnTo>
                    <a:pt x="1317" y="479"/>
                  </a:lnTo>
                  <a:lnTo>
                    <a:pt x="1319" y="479"/>
                  </a:lnTo>
                  <a:lnTo>
                    <a:pt x="1319" y="477"/>
                  </a:lnTo>
                  <a:lnTo>
                    <a:pt x="1317" y="477"/>
                  </a:lnTo>
                  <a:lnTo>
                    <a:pt x="1319" y="477"/>
                  </a:lnTo>
                  <a:lnTo>
                    <a:pt x="1319" y="475"/>
                  </a:lnTo>
                  <a:lnTo>
                    <a:pt x="1321" y="475"/>
                  </a:lnTo>
                  <a:lnTo>
                    <a:pt x="1321" y="473"/>
                  </a:lnTo>
                  <a:lnTo>
                    <a:pt x="1321" y="471"/>
                  </a:lnTo>
                  <a:lnTo>
                    <a:pt x="1319" y="471"/>
                  </a:lnTo>
                  <a:lnTo>
                    <a:pt x="1321" y="471"/>
                  </a:lnTo>
                  <a:lnTo>
                    <a:pt x="1321" y="469"/>
                  </a:lnTo>
                  <a:lnTo>
                    <a:pt x="1323" y="469"/>
                  </a:lnTo>
                  <a:lnTo>
                    <a:pt x="1321" y="467"/>
                  </a:lnTo>
                  <a:lnTo>
                    <a:pt x="1323" y="467"/>
                  </a:lnTo>
                  <a:lnTo>
                    <a:pt x="1323" y="465"/>
                  </a:lnTo>
                  <a:lnTo>
                    <a:pt x="1323" y="463"/>
                  </a:lnTo>
                  <a:lnTo>
                    <a:pt x="1323" y="465"/>
                  </a:lnTo>
                  <a:lnTo>
                    <a:pt x="1323" y="463"/>
                  </a:lnTo>
                  <a:lnTo>
                    <a:pt x="1324" y="461"/>
                  </a:lnTo>
                  <a:lnTo>
                    <a:pt x="1323" y="461"/>
                  </a:lnTo>
                  <a:lnTo>
                    <a:pt x="1324" y="461"/>
                  </a:lnTo>
                  <a:lnTo>
                    <a:pt x="1324" y="459"/>
                  </a:lnTo>
                  <a:lnTo>
                    <a:pt x="1324" y="457"/>
                  </a:lnTo>
                  <a:lnTo>
                    <a:pt x="1326" y="456"/>
                  </a:lnTo>
                  <a:lnTo>
                    <a:pt x="1326" y="454"/>
                  </a:lnTo>
                  <a:lnTo>
                    <a:pt x="1324" y="454"/>
                  </a:lnTo>
                  <a:lnTo>
                    <a:pt x="1326" y="454"/>
                  </a:lnTo>
                  <a:lnTo>
                    <a:pt x="1326" y="452"/>
                  </a:lnTo>
                  <a:lnTo>
                    <a:pt x="1328" y="452"/>
                  </a:lnTo>
                  <a:lnTo>
                    <a:pt x="1328" y="450"/>
                  </a:lnTo>
                  <a:lnTo>
                    <a:pt x="1326" y="450"/>
                  </a:lnTo>
                  <a:lnTo>
                    <a:pt x="1328" y="450"/>
                  </a:lnTo>
                  <a:lnTo>
                    <a:pt x="1328" y="448"/>
                  </a:lnTo>
                  <a:lnTo>
                    <a:pt x="1328" y="446"/>
                  </a:lnTo>
                  <a:lnTo>
                    <a:pt x="1330" y="446"/>
                  </a:lnTo>
                  <a:lnTo>
                    <a:pt x="1330" y="444"/>
                  </a:lnTo>
                  <a:lnTo>
                    <a:pt x="1330" y="442"/>
                  </a:lnTo>
                  <a:lnTo>
                    <a:pt x="1328" y="442"/>
                  </a:lnTo>
                  <a:lnTo>
                    <a:pt x="1330" y="442"/>
                  </a:lnTo>
                  <a:lnTo>
                    <a:pt x="1330" y="440"/>
                  </a:lnTo>
                  <a:lnTo>
                    <a:pt x="1332" y="440"/>
                  </a:lnTo>
                  <a:lnTo>
                    <a:pt x="1332" y="438"/>
                  </a:lnTo>
                  <a:lnTo>
                    <a:pt x="1330" y="438"/>
                  </a:lnTo>
                  <a:lnTo>
                    <a:pt x="1332" y="438"/>
                  </a:lnTo>
                  <a:lnTo>
                    <a:pt x="1332" y="436"/>
                  </a:lnTo>
                  <a:lnTo>
                    <a:pt x="1330" y="434"/>
                  </a:lnTo>
                  <a:lnTo>
                    <a:pt x="1332" y="436"/>
                  </a:lnTo>
                  <a:lnTo>
                    <a:pt x="1334" y="434"/>
                  </a:lnTo>
                  <a:lnTo>
                    <a:pt x="1334" y="433"/>
                  </a:lnTo>
                  <a:lnTo>
                    <a:pt x="1334" y="431"/>
                  </a:lnTo>
                  <a:lnTo>
                    <a:pt x="1336" y="429"/>
                  </a:lnTo>
                  <a:lnTo>
                    <a:pt x="1336" y="427"/>
                  </a:lnTo>
                  <a:lnTo>
                    <a:pt x="1336" y="425"/>
                  </a:lnTo>
                  <a:lnTo>
                    <a:pt x="1336" y="423"/>
                  </a:lnTo>
                  <a:lnTo>
                    <a:pt x="1334" y="423"/>
                  </a:lnTo>
                  <a:lnTo>
                    <a:pt x="1336" y="423"/>
                  </a:lnTo>
                  <a:lnTo>
                    <a:pt x="1338" y="423"/>
                  </a:lnTo>
                  <a:lnTo>
                    <a:pt x="1338" y="421"/>
                  </a:lnTo>
                  <a:lnTo>
                    <a:pt x="1336" y="421"/>
                  </a:lnTo>
                  <a:lnTo>
                    <a:pt x="1338" y="421"/>
                  </a:lnTo>
                  <a:lnTo>
                    <a:pt x="1338" y="419"/>
                  </a:lnTo>
                  <a:lnTo>
                    <a:pt x="1336" y="419"/>
                  </a:lnTo>
                  <a:lnTo>
                    <a:pt x="1338" y="419"/>
                  </a:lnTo>
                  <a:lnTo>
                    <a:pt x="1338" y="417"/>
                  </a:lnTo>
                  <a:lnTo>
                    <a:pt x="1340" y="417"/>
                  </a:lnTo>
                  <a:lnTo>
                    <a:pt x="1340" y="415"/>
                  </a:lnTo>
                  <a:lnTo>
                    <a:pt x="1340" y="413"/>
                  </a:lnTo>
                  <a:lnTo>
                    <a:pt x="1340" y="411"/>
                  </a:lnTo>
                  <a:lnTo>
                    <a:pt x="1340" y="409"/>
                  </a:lnTo>
                  <a:lnTo>
                    <a:pt x="1342" y="406"/>
                  </a:lnTo>
                  <a:lnTo>
                    <a:pt x="1342" y="404"/>
                  </a:lnTo>
                  <a:lnTo>
                    <a:pt x="1342" y="402"/>
                  </a:lnTo>
                  <a:lnTo>
                    <a:pt x="1342" y="400"/>
                  </a:lnTo>
                  <a:lnTo>
                    <a:pt x="1344" y="398"/>
                  </a:lnTo>
                  <a:lnTo>
                    <a:pt x="1344" y="396"/>
                  </a:lnTo>
                  <a:lnTo>
                    <a:pt x="1344" y="394"/>
                  </a:lnTo>
                  <a:lnTo>
                    <a:pt x="1344" y="392"/>
                  </a:lnTo>
                  <a:lnTo>
                    <a:pt x="1344" y="390"/>
                  </a:lnTo>
                  <a:lnTo>
                    <a:pt x="1344" y="388"/>
                  </a:lnTo>
                  <a:lnTo>
                    <a:pt x="1344" y="386"/>
                  </a:lnTo>
                  <a:lnTo>
                    <a:pt x="1346" y="386"/>
                  </a:lnTo>
                  <a:lnTo>
                    <a:pt x="1346" y="384"/>
                  </a:lnTo>
                  <a:lnTo>
                    <a:pt x="1346" y="383"/>
                  </a:lnTo>
                  <a:lnTo>
                    <a:pt x="1346" y="381"/>
                  </a:lnTo>
                  <a:lnTo>
                    <a:pt x="1346" y="379"/>
                  </a:lnTo>
                  <a:lnTo>
                    <a:pt x="1346" y="377"/>
                  </a:lnTo>
                  <a:lnTo>
                    <a:pt x="1346" y="375"/>
                  </a:lnTo>
                  <a:lnTo>
                    <a:pt x="1346" y="373"/>
                  </a:lnTo>
                  <a:lnTo>
                    <a:pt x="1346" y="371"/>
                  </a:lnTo>
                  <a:lnTo>
                    <a:pt x="1346" y="369"/>
                  </a:lnTo>
                  <a:lnTo>
                    <a:pt x="1347" y="367"/>
                  </a:lnTo>
                  <a:lnTo>
                    <a:pt x="1347" y="365"/>
                  </a:lnTo>
                  <a:lnTo>
                    <a:pt x="1347" y="363"/>
                  </a:lnTo>
                  <a:lnTo>
                    <a:pt x="1347" y="361"/>
                  </a:lnTo>
                  <a:lnTo>
                    <a:pt x="1347" y="360"/>
                  </a:lnTo>
                  <a:lnTo>
                    <a:pt x="1347" y="358"/>
                  </a:lnTo>
                  <a:lnTo>
                    <a:pt x="1347" y="356"/>
                  </a:lnTo>
                  <a:lnTo>
                    <a:pt x="1347" y="354"/>
                  </a:lnTo>
                  <a:lnTo>
                    <a:pt x="1347" y="352"/>
                  </a:lnTo>
                  <a:lnTo>
                    <a:pt x="1347" y="350"/>
                  </a:lnTo>
                  <a:lnTo>
                    <a:pt x="1349" y="346"/>
                  </a:lnTo>
                  <a:lnTo>
                    <a:pt x="1349" y="344"/>
                  </a:lnTo>
                  <a:lnTo>
                    <a:pt x="1349" y="342"/>
                  </a:lnTo>
                  <a:lnTo>
                    <a:pt x="1349" y="340"/>
                  </a:lnTo>
                  <a:lnTo>
                    <a:pt x="1349" y="338"/>
                  </a:lnTo>
                  <a:lnTo>
                    <a:pt x="1351" y="336"/>
                  </a:lnTo>
                  <a:lnTo>
                    <a:pt x="1351" y="335"/>
                  </a:lnTo>
                  <a:lnTo>
                    <a:pt x="1351" y="333"/>
                  </a:lnTo>
                  <a:lnTo>
                    <a:pt x="1351" y="331"/>
                  </a:lnTo>
                  <a:lnTo>
                    <a:pt x="1351" y="327"/>
                  </a:lnTo>
                  <a:lnTo>
                    <a:pt x="1353" y="325"/>
                  </a:lnTo>
                  <a:lnTo>
                    <a:pt x="1353" y="323"/>
                  </a:lnTo>
                  <a:lnTo>
                    <a:pt x="1353" y="321"/>
                  </a:lnTo>
                  <a:lnTo>
                    <a:pt x="1353" y="323"/>
                  </a:lnTo>
                  <a:lnTo>
                    <a:pt x="1353" y="321"/>
                  </a:lnTo>
                  <a:lnTo>
                    <a:pt x="1355" y="321"/>
                  </a:lnTo>
                  <a:lnTo>
                    <a:pt x="1355" y="319"/>
                  </a:lnTo>
                  <a:lnTo>
                    <a:pt x="1353" y="319"/>
                  </a:lnTo>
                  <a:lnTo>
                    <a:pt x="1355" y="319"/>
                  </a:lnTo>
                  <a:lnTo>
                    <a:pt x="1355" y="317"/>
                  </a:lnTo>
                  <a:lnTo>
                    <a:pt x="1357" y="315"/>
                  </a:lnTo>
                  <a:lnTo>
                    <a:pt x="1359" y="313"/>
                  </a:lnTo>
                  <a:lnTo>
                    <a:pt x="1361" y="311"/>
                  </a:lnTo>
                  <a:lnTo>
                    <a:pt x="1361" y="310"/>
                  </a:lnTo>
                  <a:lnTo>
                    <a:pt x="1361" y="308"/>
                  </a:lnTo>
                  <a:lnTo>
                    <a:pt x="1363" y="306"/>
                  </a:lnTo>
                  <a:lnTo>
                    <a:pt x="1365" y="304"/>
                  </a:lnTo>
                  <a:lnTo>
                    <a:pt x="1367" y="302"/>
                  </a:lnTo>
                  <a:lnTo>
                    <a:pt x="1372" y="302"/>
                  </a:lnTo>
                  <a:lnTo>
                    <a:pt x="1374" y="302"/>
                  </a:lnTo>
                  <a:lnTo>
                    <a:pt x="1378" y="302"/>
                  </a:lnTo>
                  <a:lnTo>
                    <a:pt x="1380" y="302"/>
                  </a:lnTo>
                  <a:lnTo>
                    <a:pt x="1382" y="302"/>
                  </a:lnTo>
                  <a:lnTo>
                    <a:pt x="1384" y="302"/>
                  </a:lnTo>
                  <a:lnTo>
                    <a:pt x="1386" y="302"/>
                  </a:lnTo>
                  <a:lnTo>
                    <a:pt x="1388" y="302"/>
                  </a:lnTo>
                  <a:lnTo>
                    <a:pt x="1390" y="302"/>
                  </a:lnTo>
                  <a:lnTo>
                    <a:pt x="1392" y="302"/>
                  </a:lnTo>
                  <a:lnTo>
                    <a:pt x="1392" y="300"/>
                  </a:lnTo>
                  <a:lnTo>
                    <a:pt x="1394" y="300"/>
                  </a:lnTo>
                  <a:lnTo>
                    <a:pt x="1395" y="300"/>
                  </a:lnTo>
                  <a:lnTo>
                    <a:pt x="1397" y="300"/>
                  </a:lnTo>
                  <a:lnTo>
                    <a:pt x="1399" y="302"/>
                  </a:lnTo>
                  <a:lnTo>
                    <a:pt x="1403" y="302"/>
                  </a:lnTo>
                  <a:lnTo>
                    <a:pt x="1405" y="302"/>
                  </a:lnTo>
                  <a:lnTo>
                    <a:pt x="1407" y="302"/>
                  </a:lnTo>
                  <a:lnTo>
                    <a:pt x="1407" y="304"/>
                  </a:lnTo>
                  <a:lnTo>
                    <a:pt x="1405" y="304"/>
                  </a:lnTo>
                  <a:lnTo>
                    <a:pt x="1405" y="306"/>
                  </a:lnTo>
                  <a:lnTo>
                    <a:pt x="1405" y="304"/>
                  </a:lnTo>
                  <a:lnTo>
                    <a:pt x="1405" y="306"/>
                  </a:lnTo>
                  <a:lnTo>
                    <a:pt x="1407" y="304"/>
                  </a:lnTo>
                  <a:lnTo>
                    <a:pt x="1409" y="304"/>
                  </a:lnTo>
                  <a:lnTo>
                    <a:pt x="1409" y="302"/>
                  </a:lnTo>
                  <a:lnTo>
                    <a:pt x="1409" y="304"/>
                  </a:lnTo>
                  <a:lnTo>
                    <a:pt x="1411" y="302"/>
                  </a:lnTo>
                  <a:lnTo>
                    <a:pt x="1411" y="300"/>
                  </a:lnTo>
                  <a:lnTo>
                    <a:pt x="1413" y="302"/>
                  </a:lnTo>
                  <a:lnTo>
                    <a:pt x="1411" y="302"/>
                  </a:lnTo>
                  <a:lnTo>
                    <a:pt x="1411" y="304"/>
                  </a:lnTo>
                  <a:lnTo>
                    <a:pt x="1411" y="306"/>
                  </a:lnTo>
                  <a:lnTo>
                    <a:pt x="1409" y="306"/>
                  </a:lnTo>
                  <a:lnTo>
                    <a:pt x="1409" y="304"/>
                  </a:lnTo>
                  <a:close/>
                  <a:moveTo>
                    <a:pt x="1344" y="287"/>
                  </a:moveTo>
                  <a:lnTo>
                    <a:pt x="1340" y="287"/>
                  </a:lnTo>
                  <a:lnTo>
                    <a:pt x="1332" y="292"/>
                  </a:lnTo>
                  <a:lnTo>
                    <a:pt x="1330" y="292"/>
                  </a:lnTo>
                  <a:lnTo>
                    <a:pt x="1326" y="296"/>
                  </a:lnTo>
                  <a:lnTo>
                    <a:pt x="1324" y="298"/>
                  </a:lnTo>
                  <a:lnTo>
                    <a:pt x="1323" y="304"/>
                  </a:lnTo>
                  <a:lnTo>
                    <a:pt x="1321" y="304"/>
                  </a:lnTo>
                  <a:lnTo>
                    <a:pt x="1317" y="304"/>
                  </a:lnTo>
                  <a:lnTo>
                    <a:pt x="1315" y="304"/>
                  </a:lnTo>
                  <a:lnTo>
                    <a:pt x="1313" y="302"/>
                  </a:lnTo>
                  <a:lnTo>
                    <a:pt x="1309" y="300"/>
                  </a:lnTo>
                  <a:lnTo>
                    <a:pt x="1307" y="298"/>
                  </a:lnTo>
                  <a:lnTo>
                    <a:pt x="1305" y="296"/>
                  </a:lnTo>
                  <a:lnTo>
                    <a:pt x="1305" y="294"/>
                  </a:lnTo>
                  <a:lnTo>
                    <a:pt x="1305" y="292"/>
                  </a:lnTo>
                  <a:lnTo>
                    <a:pt x="1303" y="292"/>
                  </a:lnTo>
                  <a:lnTo>
                    <a:pt x="1303" y="290"/>
                  </a:lnTo>
                  <a:lnTo>
                    <a:pt x="1303" y="288"/>
                  </a:lnTo>
                  <a:lnTo>
                    <a:pt x="1303" y="285"/>
                  </a:lnTo>
                  <a:lnTo>
                    <a:pt x="1305" y="281"/>
                  </a:lnTo>
                  <a:lnTo>
                    <a:pt x="1305" y="275"/>
                  </a:lnTo>
                  <a:lnTo>
                    <a:pt x="1307" y="275"/>
                  </a:lnTo>
                  <a:lnTo>
                    <a:pt x="1307" y="273"/>
                  </a:lnTo>
                  <a:lnTo>
                    <a:pt x="1309" y="271"/>
                  </a:lnTo>
                  <a:lnTo>
                    <a:pt x="1311" y="269"/>
                  </a:lnTo>
                  <a:lnTo>
                    <a:pt x="1313" y="267"/>
                  </a:lnTo>
                  <a:lnTo>
                    <a:pt x="1317" y="267"/>
                  </a:lnTo>
                  <a:lnTo>
                    <a:pt x="1319" y="267"/>
                  </a:lnTo>
                  <a:lnTo>
                    <a:pt x="1323" y="267"/>
                  </a:lnTo>
                  <a:lnTo>
                    <a:pt x="1324" y="269"/>
                  </a:lnTo>
                  <a:lnTo>
                    <a:pt x="1326" y="273"/>
                  </a:lnTo>
                  <a:lnTo>
                    <a:pt x="1326" y="275"/>
                  </a:lnTo>
                  <a:lnTo>
                    <a:pt x="1328" y="275"/>
                  </a:lnTo>
                  <a:lnTo>
                    <a:pt x="1330" y="277"/>
                  </a:lnTo>
                  <a:lnTo>
                    <a:pt x="1332" y="277"/>
                  </a:lnTo>
                  <a:lnTo>
                    <a:pt x="1334" y="277"/>
                  </a:lnTo>
                  <a:lnTo>
                    <a:pt x="1334" y="279"/>
                  </a:lnTo>
                  <a:lnTo>
                    <a:pt x="1336" y="279"/>
                  </a:lnTo>
                  <a:lnTo>
                    <a:pt x="1338" y="281"/>
                  </a:lnTo>
                  <a:lnTo>
                    <a:pt x="1340" y="281"/>
                  </a:lnTo>
                  <a:lnTo>
                    <a:pt x="1342" y="283"/>
                  </a:lnTo>
                  <a:lnTo>
                    <a:pt x="1344" y="285"/>
                  </a:lnTo>
                  <a:lnTo>
                    <a:pt x="1344" y="287"/>
                  </a:lnTo>
                  <a:close/>
                  <a:moveTo>
                    <a:pt x="1735" y="277"/>
                  </a:moveTo>
                  <a:lnTo>
                    <a:pt x="1737" y="277"/>
                  </a:lnTo>
                  <a:lnTo>
                    <a:pt x="1728" y="285"/>
                  </a:lnTo>
                  <a:lnTo>
                    <a:pt x="1701" y="304"/>
                  </a:lnTo>
                  <a:lnTo>
                    <a:pt x="1701" y="306"/>
                  </a:lnTo>
                  <a:lnTo>
                    <a:pt x="1699" y="306"/>
                  </a:lnTo>
                  <a:lnTo>
                    <a:pt x="1689" y="311"/>
                  </a:lnTo>
                  <a:lnTo>
                    <a:pt x="1685" y="315"/>
                  </a:lnTo>
                  <a:lnTo>
                    <a:pt x="1683" y="317"/>
                  </a:lnTo>
                  <a:lnTo>
                    <a:pt x="1653" y="340"/>
                  </a:lnTo>
                  <a:lnTo>
                    <a:pt x="1653" y="342"/>
                  </a:lnTo>
                  <a:lnTo>
                    <a:pt x="1651" y="342"/>
                  </a:lnTo>
                  <a:lnTo>
                    <a:pt x="1637" y="354"/>
                  </a:lnTo>
                  <a:lnTo>
                    <a:pt x="1635" y="354"/>
                  </a:lnTo>
                  <a:lnTo>
                    <a:pt x="1635" y="356"/>
                  </a:lnTo>
                  <a:lnTo>
                    <a:pt x="1635" y="358"/>
                  </a:lnTo>
                  <a:lnTo>
                    <a:pt x="1633" y="358"/>
                  </a:lnTo>
                  <a:lnTo>
                    <a:pt x="1633" y="356"/>
                  </a:lnTo>
                  <a:lnTo>
                    <a:pt x="1632" y="356"/>
                  </a:lnTo>
                  <a:lnTo>
                    <a:pt x="1632" y="354"/>
                  </a:lnTo>
                  <a:lnTo>
                    <a:pt x="1632" y="352"/>
                  </a:lnTo>
                  <a:lnTo>
                    <a:pt x="1633" y="352"/>
                  </a:lnTo>
                  <a:lnTo>
                    <a:pt x="1635" y="352"/>
                  </a:lnTo>
                  <a:lnTo>
                    <a:pt x="1735" y="277"/>
                  </a:lnTo>
                  <a:close/>
                  <a:moveTo>
                    <a:pt x="1528" y="77"/>
                  </a:moveTo>
                  <a:lnTo>
                    <a:pt x="1530" y="77"/>
                  </a:lnTo>
                  <a:lnTo>
                    <a:pt x="1530" y="79"/>
                  </a:lnTo>
                  <a:lnTo>
                    <a:pt x="1526" y="79"/>
                  </a:lnTo>
                  <a:lnTo>
                    <a:pt x="1528" y="77"/>
                  </a:lnTo>
                  <a:close/>
                  <a:moveTo>
                    <a:pt x="1451" y="60"/>
                  </a:moveTo>
                  <a:lnTo>
                    <a:pt x="1453" y="60"/>
                  </a:lnTo>
                  <a:lnTo>
                    <a:pt x="1453" y="62"/>
                  </a:lnTo>
                  <a:lnTo>
                    <a:pt x="1451" y="62"/>
                  </a:lnTo>
                  <a:lnTo>
                    <a:pt x="1451" y="60"/>
                  </a:lnTo>
                  <a:close/>
                  <a:moveTo>
                    <a:pt x="1459" y="56"/>
                  </a:moveTo>
                  <a:lnTo>
                    <a:pt x="1457" y="56"/>
                  </a:lnTo>
                  <a:lnTo>
                    <a:pt x="1455" y="58"/>
                  </a:lnTo>
                  <a:lnTo>
                    <a:pt x="1455" y="60"/>
                  </a:lnTo>
                  <a:lnTo>
                    <a:pt x="1453" y="60"/>
                  </a:lnTo>
                  <a:lnTo>
                    <a:pt x="1451" y="60"/>
                  </a:lnTo>
                  <a:lnTo>
                    <a:pt x="1451" y="58"/>
                  </a:lnTo>
                  <a:lnTo>
                    <a:pt x="1453" y="58"/>
                  </a:lnTo>
                  <a:lnTo>
                    <a:pt x="1455" y="56"/>
                  </a:lnTo>
                  <a:lnTo>
                    <a:pt x="1457" y="56"/>
                  </a:lnTo>
                  <a:lnTo>
                    <a:pt x="1455" y="56"/>
                  </a:lnTo>
                  <a:lnTo>
                    <a:pt x="1457" y="56"/>
                  </a:lnTo>
                  <a:lnTo>
                    <a:pt x="1457" y="54"/>
                  </a:lnTo>
                  <a:lnTo>
                    <a:pt x="1459" y="54"/>
                  </a:lnTo>
                  <a:lnTo>
                    <a:pt x="1459" y="52"/>
                  </a:lnTo>
                  <a:lnTo>
                    <a:pt x="1457" y="52"/>
                  </a:lnTo>
                  <a:lnTo>
                    <a:pt x="1459" y="52"/>
                  </a:lnTo>
                  <a:lnTo>
                    <a:pt x="1459" y="54"/>
                  </a:lnTo>
                  <a:lnTo>
                    <a:pt x="1461" y="54"/>
                  </a:lnTo>
                  <a:lnTo>
                    <a:pt x="1461" y="56"/>
                  </a:lnTo>
                  <a:lnTo>
                    <a:pt x="1459" y="56"/>
                  </a:lnTo>
                  <a:close/>
                  <a:moveTo>
                    <a:pt x="1497" y="2"/>
                  </a:moveTo>
                  <a:lnTo>
                    <a:pt x="1497" y="4"/>
                  </a:lnTo>
                  <a:lnTo>
                    <a:pt x="1495" y="2"/>
                  </a:lnTo>
                  <a:lnTo>
                    <a:pt x="1491" y="2"/>
                  </a:lnTo>
                  <a:lnTo>
                    <a:pt x="1490" y="2"/>
                  </a:lnTo>
                  <a:lnTo>
                    <a:pt x="1488" y="4"/>
                  </a:lnTo>
                  <a:lnTo>
                    <a:pt x="1486" y="4"/>
                  </a:lnTo>
                  <a:lnTo>
                    <a:pt x="1488" y="4"/>
                  </a:lnTo>
                  <a:lnTo>
                    <a:pt x="1490" y="4"/>
                  </a:lnTo>
                  <a:lnTo>
                    <a:pt x="1491" y="2"/>
                  </a:lnTo>
                  <a:lnTo>
                    <a:pt x="1493" y="2"/>
                  </a:lnTo>
                  <a:lnTo>
                    <a:pt x="1495" y="2"/>
                  </a:lnTo>
                  <a:lnTo>
                    <a:pt x="1495" y="4"/>
                  </a:lnTo>
                  <a:lnTo>
                    <a:pt x="1497" y="4"/>
                  </a:lnTo>
                  <a:lnTo>
                    <a:pt x="1499" y="4"/>
                  </a:lnTo>
                  <a:lnTo>
                    <a:pt x="1497" y="4"/>
                  </a:lnTo>
                  <a:lnTo>
                    <a:pt x="1497" y="6"/>
                  </a:lnTo>
                  <a:lnTo>
                    <a:pt x="1499" y="6"/>
                  </a:lnTo>
                  <a:lnTo>
                    <a:pt x="1499" y="4"/>
                  </a:lnTo>
                  <a:lnTo>
                    <a:pt x="1499" y="6"/>
                  </a:lnTo>
                  <a:lnTo>
                    <a:pt x="1501" y="8"/>
                  </a:lnTo>
                  <a:lnTo>
                    <a:pt x="1501" y="10"/>
                  </a:lnTo>
                  <a:lnTo>
                    <a:pt x="1503" y="12"/>
                  </a:lnTo>
                  <a:lnTo>
                    <a:pt x="1503" y="14"/>
                  </a:lnTo>
                  <a:lnTo>
                    <a:pt x="1505" y="16"/>
                  </a:lnTo>
                  <a:lnTo>
                    <a:pt x="1507" y="18"/>
                  </a:lnTo>
                  <a:lnTo>
                    <a:pt x="1507" y="20"/>
                  </a:lnTo>
                  <a:lnTo>
                    <a:pt x="1507" y="23"/>
                  </a:lnTo>
                  <a:lnTo>
                    <a:pt x="1509" y="25"/>
                  </a:lnTo>
                  <a:lnTo>
                    <a:pt x="1509" y="27"/>
                  </a:lnTo>
                  <a:lnTo>
                    <a:pt x="1511" y="27"/>
                  </a:lnTo>
                  <a:lnTo>
                    <a:pt x="1511" y="29"/>
                  </a:lnTo>
                  <a:lnTo>
                    <a:pt x="1511" y="31"/>
                  </a:lnTo>
                  <a:lnTo>
                    <a:pt x="1513" y="31"/>
                  </a:lnTo>
                  <a:lnTo>
                    <a:pt x="1513" y="33"/>
                  </a:lnTo>
                  <a:lnTo>
                    <a:pt x="1513" y="35"/>
                  </a:lnTo>
                  <a:lnTo>
                    <a:pt x="1511" y="35"/>
                  </a:lnTo>
                  <a:lnTo>
                    <a:pt x="1513" y="35"/>
                  </a:lnTo>
                  <a:lnTo>
                    <a:pt x="1513" y="33"/>
                  </a:lnTo>
                  <a:lnTo>
                    <a:pt x="1511" y="33"/>
                  </a:lnTo>
                  <a:lnTo>
                    <a:pt x="1511" y="31"/>
                  </a:lnTo>
                  <a:lnTo>
                    <a:pt x="1511" y="29"/>
                  </a:lnTo>
                  <a:lnTo>
                    <a:pt x="1509" y="29"/>
                  </a:lnTo>
                  <a:lnTo>
                    <a:pt x="1509" y="31"/>
                  </a:lnTo>
                  <a:lnTo>
                    <a:pt x="1509" y="33"/>
                  </a:lnTo>
                  <a:lnTo>
                    <a:pt x="1509" y="35"/>
                  </a:lnTo>
                  <a:lnTo>
                    <a:pt x="1509" y="37"/>
                  </a:lnTo>
                  <a:lnTo>
                    <a:pt x="1509" y="39"/>
                  </a:lnTo>
                  <a:lnTo>
                    <a:pt x="1511" y="39"/>
                  </a:lnTo>
                  <a:lnTo>
                    <a:pt x="1509" y="39"/>
                  </a:lnTo>
                  <a:lnTo>
                    <a:pt x="1511" y="41"/>
                  </a:lnTo>
                  <a:lnTo>
                    <a:pt x="1513" y="43"/>
                  </a:lnTo>
                  <a:lnTo>
                    <a:pt x="1514" y="43"/>
                  </a:lnTo>
                  <a:lnTo>
                    <a:pt x="1516" y="41"/>
                  </a:lnTo>
                  <a:lnTo>
                    <a:pt x="1516" y="43"/>
                  </a:lnTo>
                  <a:lnTo>
                    <a:pt x="1518" y="43"/>
                  </a:lnTo>
                  <a:lnTo>
                    <a:pt x="1518" y="45"/>
                  </a:lnTo>
                  <a:lnTo>
                    <a:pt x="1522" y="48"/>
                  </a:lnTo>
                  <a:lnTo>
                    <a:pt x="1524" y="54"/>
                  </a:lnTo>
                  <a:lnTo>
                    <a:pt x="1524" y="56"/>
                  </a:lnTo>
                  <a:lnTo>
                    <a:pt x="1526" y="56"/>
                  </a:lnTo>
                  <a:lnTo>
                    <a:pt x="1526" y="58"/>
                  </a:lnTo>
                  <a:lnTo>
                    <a:pt x="1526" y="60"/>
                  </a:lnTo>
                  <a:lnTo>
                    <a:pt x="1528" y="60"/>
                  </a:lnTo>
                  <a:lnTo>
                    <a:pt x="1526" y="60"/>
                  </a:lnTo>
                  <a:lnTo>
                    <a:pt x="1526" y="62"/>
                  </a:lnTo>
                  <a:lnTo>
                    <a:pt x="1528" y="62"/>
                  </a:lnTo>
                  <a:lnTo>
                    <a:pt x="1528" y="64"/>
                  </a:lnTo>
                  <a:lnTo>
                    <a:pt x="1530" y="66"/>
                  </a:lnTo>
                  <a:lnTo>
                    <a:pt x="1530" y="68"/>
                  </a:lnTo>
                  <a:lnTo>
                    <a:pt x="1530" y="69"/>
                  </a:lnTo>
                  <a:lnTo>
                    <a:pt x="1532" y="69"/>
                  </a:lnTo>
                  <a:lnTo>
                    <a:pt x="1530" y="69"/>
                  </a:lnTo>
                  <a:lnTo>
                    <a:pt x="1528" y="69"/>
                  </a:lnTo>
                  <a:lnTo>
                    <a:pt x="1530" y="69"/>
                  </a:lnTo>
                  <a:lnTo>
                    <a:pt x="1530" y="71"/>
                  </a:lnTo>
                  <a:lnTo>
                    <a:pt x="1530" y="69"/>
                  </a:lnTo>
                  <a:lnTo>
                    <a:pt x="1532" y="69"/>
                  </a:lnTo>
                  <a:lnTo>
                    <a:pt x="1532" y="71"/>
                  </a:lnTo>
                  <a:lnTo>
                    <a:pt x="1532" y="73"/>
                  </a:lnTo>
                  <a:lnTo>
                    <a:pt x="1532" y="75"/>
                  </a:lnTo>
                  <a:lnTo>
                    <a:pt x="1532" y="77"/>
                  </a:lnTo>
                  <a:lnTo>
                    <a:pt x="1530" y="77"/>
                  </a:lnTo>
                  <a:lnTo>
                    <a:pt x="1528" y="75"/>
                  </a:lnTo>
                  <a:lnTo>
                    <a:pt x="1528" y="73"/>
                  </a:lnTo>
                  <a:lnTo>
                    <a:pt x="1528" y="75"/>
                  </a:lnTo>
                  <a:lnTo>
                    <a:pt x="1528" y="77"/>
                  </a:lnTo>
                  <a:lnTo>
                    <a:pt x="1528" y="75"/>
                  </a:lnTo>
                  <a:lnTo>
                    <a:pt x="1526" y="75"/>
                  </a:lnTo>
                  <a:lnTo>
                    <a:pt x="1528" y="73"/>
                  </a:lnTo>
                  <a:lnTo>
                    <a:pt x="1526" y="73"/>
                  </a:lnTo>
                  <a:lnTo>
                    <a:pt x="1526" y="75"/>
                  </a:lnTo>
                  <a:lnTo>
                    <a:pt x="1528" y="75"/>
                  </a:lnTo>
                  <a:lnTo>
                    <a:pt x="1528" y="77"/>
                  </a:lnTo>
                  <a:lnTo>
                    <a:pt x="1526" y="75"/>
                  </a:lnTo>
                  <a:lnTo>
                    <a:pt x="1526" y="77"/>
                  </a:lnTo>
                  <a:lnTo>
                    <a:pt x="1526" y="79"/>
                  </a:lnTo>
                  <a:lnTo>
                    <a:pt x="1528" y="79"/>
                  </a:lnTo>
                  <a:lnTo>
                    <a:pt x="1530" y="79"/>
                  </a:lnTo>
                  <a:lnTo>
                    <a:pt x="1528" y="79"/>
                  </a:lnTo>
                  <a:lnTo>
                    <a:pt x="1528" y="81"/>
                  </a:lnTo>
                  <a:lnTo>
                    <a:pt x="1526" y="81"/>
                  </a:lnTo>
                  <a:lnTo>
                    <a:pt x="1528" y="81"/>
                  </a:lnTo>
                  <a:lnTo>
                    <a:pt x="1526" y="81"/>
                  </a:lnTo>
                  <a:lnTo>
                    <a:pt x="1526" y="83"/>
                  </a:lnTo>
                  <a:lnTo>
                    <a:pt x="1526" y="81"/>
                  </a:lnTo>
                  <a:lnTo>
                    <a:pt x="1526" y="83"/>
                  </a:lnTo>
                  <a:lnTo>
                    <a:pt x="1526" y="85"/>
                  </a:lnTo>
                  <a:lnTo>
                    <a:pt x="1528" y="85"/>
                  </a:lnTo>
                  <a:lnTo>
                    <a:pt x="1526" y="85"/>
                  </a:lnTo>
                  <a:lnTo>
                    <a:pt x="1524" y="87"/>
                  </a:lnTo>
                  <a:lnTo>
                    <a:pt x="1524" y="89"/>
                  </a:lnTo>
                  <a:lnTo>
                    <a:pt x="1524" y="91"/>
                  </a:lnTo>
                  <a:lnTo>
                    <a:pt x="1524" y="93"/>
                  </a:lnTo>
                  <a:lnTo>
                    <a:pt x="1522" y="100"/>
                  </a:lnTo>
                  <a:lnTo>
                    <a:pt x="1520" y="116"/>
                  </a:lnTo>
                  <a:lnTo>
                    <a:pt x="1520" y="121"/>
                  </a:lnTo>
                  <a:lnTo>
                    <a:pt x="1520" y="123"/>
                  </a:lnTo>
                  <a:lnTo>
                    <a:pt x="1522" y="125"/>
                  </a:lnTo>
                  <a:lnTo>
                    <a:pt x="1520" y="127"/>
                  </a:lnTo>
                  <a:lnTo>
                    <a:pt x="1520" y="129"/>
                  </a:lnTo>
                  <a:lnTo>
                    <a:pt x="1522" y="135"/>
                  </a:lnTo>
                  <a:lnTo>
                    <a:pt x="1522" y="137"/>
                  </a:lnTo>
                  <a:lnTo>
                    <a:pt x="1520" y="141"/>
                  </a:lnTo>
                  <a:lnTo>
                    <a:pt x="1520" y="144"/>
                  </a:lnTo>
                  <a:lnTo>
                    <a:pt x="1520" y="146"/>
                  </a:lnTo>
                  <a:lnTo>
                    <a:pt x="1518" y="148"/>
                  </a:lnTo>
                  <a:lnTo>
                    <a:pt x="1518" y="150"/>
                  </a:lnTo>
                  <a:lnTo>
                    <a:pt x="1516" y="152"/>
                  </a:lnTo>
                  <a:lnTo>
                    <a:pt x="1514" y="154"/>
                  </a:lnTo>
                  <a:lnTo>
                    <a:pt x="1511" y="158"/>
                  </a:lnTo>
                  <a:lnTo>
                    <a:pt x="1509" y="158"/>
                  </a:lnTo>
                  <a:lnTo>
                    <a:pt x="1507" y="160"/>
                  </a:lnTo>
                  <a:lnTo>
                    <a:pt x="1505" y="160"/>
                  </a:lnTo>
                  <a:lnTo>
                    <a:pt x="1503" y="160"/>
                  </a:lnTo>
                  <a:lnTo>
                    <a:pt x="1503" y="162"/>
                  </a:lnTo>
                  <a:lnTo>
                    <a:pt x="1503" y="164"/>
                  </a:lnTo>
                  <a:lnTo>
                    <a:pt x="1501" y="164"/>
                  </a:lnTo>
                  <a:lnTo>
                    <a:pt x="1501" y="166"/>
                  </a:lnTo>
                  <a:lnTo>
                    <a:pt x="1499" y="167"/>
                  </a:lnTo>
                  <a:lnTo>
                    <a:pt x="1497" y="167"/>
                  </a:lnTo>
                  <a:lnTo>
                    <a:pt x="1495" y="169"/>
                  </a:lnTo>
                  <a:lnTo>
                    <a:pt x="1495" y="171"/>
                  </a:lnTo>
                  <a:lnTo>
                    <a:pt x="1495" y="173"/>
                  </a:lnTo>
                  <a:lnTo>
                    <a:pt x="1495" y="179"/>
                  </a:lnTo>
                  <a:lnTo>
                    <a:pt x="1495" y="181"/>
                  </a:lnTo>
                  <a:lnTo>
                    <a:pt x="1495" y="183"/>
                  </a:lnTo>
                  <a:lnTo>
                    <a:pt x="1490" y="187"/>
                  </a:lnTo>
                  <a:lnTo>
                    <a:pt x="1488" y="189"/>
                  </a:lnTo>
                  <a:lnTo>
                    <a:pt x="1486" y="190"/>
                  </a:lnTo>
                  <a:lnTo>
                    <a:pt x="1484" y="190"/>
                  </a:lnTo>
                  <a:lnTo>
                    <a:pt x="1484" y="192"/>
                  </a:lnTo>
                  <a:lnTo>
                    <a:pt x="1484" y="194"/>
                  </a:lnTo>
                  <a:lnTo>
                    <a:pt x="1484" y="196"/>
                  </a:lnTo>
                  <a:lnTo>
                    <a:pt x="1482" y="196"/>
                  </a:lnTo>
                  <a:lnTo>
                    <a:pt x="1482" y="198"/>
                  </a:lnTo>
                  <a:lnTo>
                    <a:pt x="1480" y="200"/>
                  </a:lnTo>
                  <a:lnTo>
                    <a:pt x="1478" y="202"/>
                  </a:lnTo>
                  <a:lnTo>
                    <a:pt x="1476" y="202"/>
                  </a:lnTo>
                  <a:lnTo>
                    <a:pt x="1478" y="200"/>
                  </a:lnTo>
                  <a:lnTo>
                    <a:pt x="1480" y="200"/>
                  </a:lnTo>
                  <a:lnTo>
                    <a:pt x="1482" y="198"/>
                  </a:lnTo>
                  <a:lnTo>
                    <a:pt x="1482" y="196"/>
                  </a:lnTo>
                  <a:lnTo>
                    <a:pt x="1484" y="194"/>
                  </a:lnTo>
                  <a:lnTo>
                    <a:pt x="1484" y="192"/>
                  </a:lnTo>
                  <a:lnTo>
                    <a:pt x="1482" y="194"/>
                  </a:lnTo>
                  <a:lnTo>
                    <a:pt x="1480" y="194"/>
                  </a:lnTo>
                  <a:lnTo>
                    <a:pt x="1480" y="196"/>
                  </a:lnTo>
                  <a:lnTo>
                    <a:pt x="1482" y="196"/>
                  </a:lnTo>
                  <a:lnTo>
                    <a:pt x="1480" y="196"/>
                  </a:lnTo>
                  <a:lnTo>
                    <a:pt x="1480" y="198"/>
                  </a:lnTo>
                  <a:lnTo>
                    <a:pt x="1480" y="196"/>
                  </a:lnTo>
                  <a:lnTo>
                    <a:pt x="1478" y="196"/>
                  </a:lnTo>
                  <a:lnTo>
                    <a:pt x="1476" y="198"/>
                  </a:lnTo>
                  <a:lnTo>
                    <a:pt x="1476" y="200"/>
                  </a:lnTo>
                  <a:lnTo>
                    <a:pt x="1476" y="202"/>
                  </a:lnTo>
                  <a:lnTo>
                    <a:pt x="1474" y="202"/>
                  </a:lnTo>
                  <a:lnTo>
                    <a:pt x="1474" y="204"/>
                  </a:lnTo>
                  <a:lnTo>
                    <a:pt x="1476" y="202"/>
                  </a:lnTo>
                  <a:lnTo>
                    <a:pt x="1476" y="204"/>
                  </a:lnTo>
                  <a:lnTo>
                    <a:pt x="1474" y="206"/>
                  </a:lnTo>
                  <a:lnTo>
                    <a:pt x="1474" y="208"/>
                  </a:lnTo>
                  <a:lnTo>
                    <a:pt x="1472" y="208"/>
                  </a:lnTo>
                  <a:lnTo>
                    <a:pt x="1472" y="210"/>
                  </a:lnTo>
                  <a:lnTo>
                    <a:pt x="1470" y="210"/>
                  </a:lnTo>
                  <a:lnTo>
                    <a:pt x="1468" y="212"/>
                  </a:lnTo>
                  <a:lnTo>
                    <a:pt x="1466" y="212"/>
                  </a:lnTo>
                  <a:lnTo>
                    <a:pt x="1465" y="214"/>
                  </a:lnTo>
                  <a:lnTo>
                    <a:pt x="1463" y="214"/>
                  </a:lnTo>
                  <a:lnTo>
                    <a:pt x="1459" y="215"/>
                  </a:lnTo>
                  <a:lnTo>
                    <a:pt x="1457" y="215"/>
                  </a:lnTo>
                  <a:lnTo>
                    <a:pt x="1455" y="215"/>
                  </a:lnTo>
                  <a:lnTo>
                    <a:pt x="1451" y="214"/>
                  </a:lnTo>
                  <a:lnTo>
                    <a:pt x="1451" y="215"/>
                  </a:lnTo>
                  <a:lnTo>
                    <a:pt x="1449" y="214"/>
                  </a:lnTo>
                  <a:lnTo>
                    <a:pt x="1447" y="215"/>
                  </a:lnTo>
                  <a:lnTo>
                    <a:pt x="1438" y="225"/>
                  </a:lnTo>
                  <a:lnTo>
                    <a:pt x="1436" y="227"/>
                  </a:lnTo>
                  <a:lnTo>
                    <a:pt x="1434" y="231"/>
                  </a:lnTo>
                  <a:lnTo>
                    <a:pt x="1430" y="235"/>
                  </a:lnTo>
                  <a:lnTo>
                    <a:pt x="1426" y="239"/>
                  </a:lnTo>
                  <a:lnTo>
                    <a:pt x="1424" y="240"/>
                  </a:lnTo>
                  <a:lnTo>
                    <a:pt x="1422" y="242"/>
                  </a:lnTo>
                  <a:lnTo>
                    <a:pt x="1422" y="244"/>
                  </a:lnTo>
                  <a:lnTo>
                    <a:pt x="1424" y="244"/>
                  </a:lnTo>
                  <a:lnTo>
                    <a:pt x="1426" y="244"/>
                  </a:lnTo>
                  <a:lnTo>
                    <a:pt x="1424" y="244"/>
                  </a:lnTo>
                  <a:lnTo>
                    <a:pt x="1422" y="246"/>
                  </a:lnTo>
                  <a:lnTo>
                    <a:pt x="1424" y="246"/>
                  </a:lnTo>
                  <a:lnTo>
                    <a:pt x="1426" y="248"/>
                  </a:lnTo>
                  <a:lnTo>
                    <a:pt x="1426" y="246"/>
                  </a:lnTo>
                  <a:lnTo>
                    <a:pt x="1426" y="248"/>
                  </a:lnTo>
                  <a:lnTo>
                    <a:pt x="1424" y="248"/>
                  </a:lnTo>
                  <a:lnTo>
                    <a:pt x="1422" y="250"/>
                  </a:lnTo>
                  <a:lnTo>
                    <a:pt x="1422" y="252"/>
                  </a:lnTo>
                  <a:lnTo>
                    <a:pt x="1420" y="252"/>
                  </a:lnTo>
                  <a:lnTo>
                    <a:pt x="1417" y="252"/>
                  </a:lnTo>
                  <a:lnTo>
                    <a:pt x="1415" y="252"/>
                  </a:lnTo>
                  <a:lnTo>
                    <a:pt x="1415" y="250"/>
                  </a:lnTo>
                  <a:lnTo>
                    <a:pt x="1415" y="248"/>
                  </a:lnTo>
                  <a:lnTo>
                    <a:pt x="1413" y="248"/>
                  </a:lnTo>
                  <a:lnTo>
                    <a:pt x="1415" y="250"/>
                  </a:lnTo>
                  <a:lnTo>
                    <a:pt x="1413" y="250"/>
                  </a:lnTo>
                  <a:lnTo>
                    <a:pt x="1413" y="248"/>
                  </a:lnTo>
                  <a:lnTo>
                    <a:pt x="1411" y="248"/>
                  </a:lnTo>
                  <a:lnTo>
                    <a:pt x="1413" y="250"/>
                  </a:lnTo>
                  <a:lnTo>
                    <a:pt x="1413" y="252"/>
                  </a:lnTo>
                  <a:lnTo>
                    <a:pt x="1415" y="252"/>
                  </a:lnTo>
                  <a:lnTo>
                    <a:pt x="1413" y="252"/>
                  </a:lnTo>
                  <a:lnTo>
                    <a:pt x="1413" y="250"/>
                  </a:lnTo>
                  <a:lnTo>
                    <a:pt x="1411" y="250"/>
                  </a:lnTo>
                  <a:lnTo>
                    <a:pt x="1411" y="248"/>
                  </a:lnTo>
                  <a:lnTo>
                    <a:pt x="1409" y="248"/>
                  </a:lnTo>
                  <a:lnTo>
                    <a:pt x="1407" y="246"/>
                  </a:lnTo>
                  <a:lnTo>
                    <a:pt x="1407" y="244"/>
                  </a:lnTo>
                  <a:lnTo>
                    <a:pt x="1405" y="244"/>
                  </a:lnTo>
                  <a:lnTo>
                    <a:pt x="1403" y="244"/>
                  </a:lnTo>
                  <a:lnTo>
                    <a:pt x="1401" y="244"/>
                  </a:lnTo>
                  <a:lnTo>
                    <a:pt x="1401" y="242"/>
                  </a:lnTo>
                  <a:lnTo>
                    <a:pt x="1397" y="242"/>
                  </a:lnTo>
                  <a:lnTo>
                    <a:pt x="1394" y="239"/>
                  </a:lnTo>
                  <a:lnTo>
                    <a:pt x="1392" y="239"/>
                  </a:lnTo>
                  <a:lnTo>
                    <a:pt x="1390" y="239"/>
                  </a:lnTo>
                  <a:lnTo>
                    <a:pt x="1388" y="239"/>
                  </a:lnTo>
                  <a:lnTo>
                    <a:pt x="1386" y="240"/>
                  </a:lnTo>
                  <a:lnTo>
                    <a:pt x="1388" y="240"/>
                  </a:lnTo>
                  <a:lnTo>
                    <a:pt x="1390" y="240"/>
                  </a:lnTo>
                  <a:lnTo>
                    <a:pt x="1390" y="242"/>
                  </a:lnTo>
                  <a:lnTo>
                    <a:pt x="1388" y="242"/>
                  </a:lnTo>
                  <a:lnTo>
                    <a:pt x="1390" y="246"/>
                  </a:lnTo>
                  <a:lnTo>
                    <a:pt x="1392" y="246"/>
                  </a:lnTo>
                  <a:lnTo>
                    <a:pt x="1392" y="248"/>
                  </a:lnTo>
                  <a:lnTo>
                    <a:pt x="1395" y="250"/>
                  </a:lnTo>
                  <a:lnTo>
                    <a:pt x="1397" y="248"/>
                  </a:lnTo>
                  <a:lnTo>
                    <a:pt x="1397" y="250"/>
                  </a:lnTo>
                  <a:lnTo>
                    <a:pt x="1395" y="250"/>
                  </a:lnTo>
                  <a:lnTo>
                    <a:pt x="1397" y="250"/>
                  </a:lnTo>
                  <a:lnTo>
                    <a:pt x="1399" y="250"/>
                  </a:lnTo>
                  <a:lnTo>
                    <a:pt x="1399" y="252"/>
                  </a:lnTo>
                  <a:lnTo>
                    <a:pt x="1401" y="252"/>
                  </a:lnTo>
                  <a:lnTo>
                    <a:pt x="1403" y="252"/>
                  </a:lnTo>
                  <a:lnTo>
                    <a:pt x="1403" y="254"/>
                  </a:lnTo>
                  <a:lnTo>
                    <a:pt x="1405" y="254"/>
                  </a:lnTo>
                  <a:lnTo>
                    <a:pt x="1405" y="256"/>
                  </a:lnTo>
                  <a:lnTo>
                    <a:pt x="1405" y="258"/>
                  </a:lnTo>
                  <a:lnTo>
                    <a:pt x="1401" y="258"/>
                  </a:lnTo>
                  <a:lnTo>
                    <a:pt x="1401" y="260"/>
                  </a:lnTo>
                  <a:lnTo>
                    <a:pt x="1399" y="258"/>
                  </a:lnTo>
                  <a:lnTo>
                    <a:pt x="1397" y="260"/>
                  </a:lnTo>
                  <a:lnTo>
                    <a:pt x="1395" y="260"/>
                  </a:lnTo>
                  <a:lnTo>
                    <a:pt x="1392" y="260"/>
                  </a:lnTo>
                  <a:lnTo>
                    <a:pt x="1390" y="260"/>
                  </a:lnTo>
                  <a:lnTo>
                    <a:pt x="1388" y="260"/>
                  </a:lnTo>
                  <a:lnTo>
                    <a:pt x="1384" y="260"/>
                  </a:lnTo>
                  <a:lnTo>
                    <a:pt x="1382" y="260"/>
                  </a:lnTo>
                  <a:lnTo>
                    <a:pt x="1380" y="260"/>
                  </a:lnTo>
                  <a:lnTo>
                    <a:pt x="1380" y="262"/>
                  </a:lnTo>
                  <a:lnTo>
                    <a:pt x="1380" y="263"/>
                  </a:lnTo>
                  <a:lnTo>
                    <a:pt x="1382" y="263"/>
                  </a:lnTo>
                  <a:lnTo>
                    <a:pt x="1380" y="263"/>
                  </a:lnTo>
                  <a:lnTo>
                    <a:pt x="1380" y="265"/>
                  </a:lnTo>
                  <a:lnTo>
                    <a:pt x="1378" y="267"/>
                  </a:lnTo>
                  <a:lnTo>
                    <a:pt x="1374" y="267"/>
                  </a:lnTo>
                  <a:lnTo>
                    <a:pt x="1372" y="269"/>
                  </a:lnTo>
                  <a:lnTo>
                    <a:pt x="1371" y="269"/>
                  </a:lnTo>
                  <a:lnTo>
                    <a:pt x="1367" y="269"/>
                  </a:lnTo>
                  <a:lnTo>
                    <a:pt x="1363" y="271"/>
                  </a:lnTo>
                  <a:lnTo>
                    <a:pt x="1361" y="271"/>
                  </a:lnTo>
                  <a:lnTo>
                    <a:pt x="1359" y="271"/>
                  </a:lnTo>
                  <a:lnTo>
                    <a:pt x="1359" y="269"/>
                  </a:lnTo>
                  <a:lnTo>
                    <a:pt x="1359" y="265"/>
                  </a:lnTo>
                  <a:lnTo>
                    <a:pt x="1359" y="263"/>
                  </a:lnTo>
                  <a:lnTo>
                    <a:pt x="1359" y="262"/>
                  </a:lnTo>
                  <a:lnTo>
                    <a:pt x="1359" y="258"/>
                  </a:lnTo>
                  <a:lnTo>
                    <a:pt x="1359" y="254"/>
                  </a:lnTo>
                  <a:lnTo>
                    <a:pt x="1359" y="252"/>
                  </a:lnTo>
                  <a:lnTo>
                    <a:pt x="1359" y="250"/>
                  </a:lnTo>
                  <a:lnTo>
                    <a:pt x="1357" y="246"/>
                  </a:lnTo>
                  <a:lnTo>
                    <a:pt x="1357" y="244"/>
                  </a:lnTo>
                  <a:lnTo>
                    <a:pt x="1357" y="242"/>
                  </a:lnTo>
                  <a:lnTo>
                    <a:pt x="1355" y="242"/>
                  </a:lnTo>
                  <a:lnTo>
                    <a:pt x="1355" y="239"/>
                  </a:lnTo>
                  <a:lnTo>
                    <a:pt x="1355" y="237"/>
                  </a:lnTo>
                  <a:lnTo>
                    <a:pt x="1355" y="235"/>
                  </a:lnTo>
                  <a:lnTo>
                    <a:pt x="1353" y="231"/>
                  </a:lnTo>
                  <a:lnTo>
                    <a:pt x="1353" y="229"/>
                  </a:lnTo>
                  <a:lnTo>
                    <a:pt x="1353" y="227"/>
                  </a:lnTo>
                  <a:lnTo>
                    <a:pt x="1353" y="225"/>
                  </a:lnTo>
                  <a:lnTo>
                    <a:pt x="1353" y="221"/>
                  </a:lnTo>
                  <a:lnTo>
                    <a:pt x="1353" y="219"/>
                  </a:lnTo>
                  <a:lnTo>
                    <a:pt x="1353" y="217"/>
                  </a:lnTo>
                  <a:lnTo>
                    <a:pt x="1353" y="215"/>
                  </a:lnTo>
                  <a:lnTo>
                    <a:pt x="1355" y="214"/>
                  </a:lnTo>
                  <a:lnTo>
                    <a:pt x="1355" y="212"/>
                  </a:lnTo>
                  <a:lnTo>
                    <a:pt x="1355" y="210"/>
                  </a:lnTo>
                  <a:lnTo>
                    <a:pt x="1355" y="208"/>
                  </a:lnTo>
                  <a:lnTo>
                    <a:pt x="1355" y="206"/>
                  </a:lnTo>
                  <a:lnTo>
                    <a:pt x="1355" y="204"/>
                  </a:lnTo>
                  <a:lnTo>
                    <a:pt x="1357" y="202"/>
                  </a:lnTo>
                  <a:lnTo>
                    <a:pt x="1353" y="202"/>
                  </a:lnTo>
                  <a:lnTo>
                    <a:pt x="1357" y="202"/>
                  </a:lnTo>
                  <a:lnTo>
                    <a:pt x="1357" y="200"/>
                  </a:lnTo>
                  <a:lnTo>
                    <a:pt x="1357" y="198"/>
                  </a:lnTo>
                  <a:lnTo>
                    <a:pt x="1359" y="196"/>
                  </a:lnTo>
                  <a:lnTo>
                    <a:pt x="1359" y="194"/>
                  </a:lnTo>
                  <a:lnTo>
                    <a:pt x="1359" y="192"/>
                  </a:lnTo>
                  <a:lnTo>
                    <a:pt x="1359" y="190"/>
                  </a:lnTo>
                  <a:lnTo>
                    <a:pt x="1359" y="189"/>
                  </a:lnTo>
                  <a:lnTo>
                    <a:pt x="1357" y="187"/>
                  </a:lnTo>
                  <a:lnTo>
                    <a:pt x="1359" y="189"/>
                  </a:lnTo>
                  <a:lnTo>
                    <a:pt x="1361" y="187"/>
                  </a:lnTo>
                  <a:lnTo>
                    <a:pt x="1361" y="185"/>
                  </a:lnTo>
                  <a:lnTo>
                    <a:pt x="1361" y="183"/>
                  </a:lnTo>
                  <a:lnTo>
                    <a:pt x="1363" y="181"/>
                  </a:lnTo>
                  <a:lnTo>
                    <a:pt x="1363" y="179"/>
                  </a:lnTo>
                  <a:lnTo>
                    <a:pt x="1363" y="177"/>
                  </a:lnTo>
                  <a:lnTo>
                    <a:pt x="1365" y="175"/>
                  </a:lnTo>
                  <a:lnTo>
                    <a:pt x="1365" y="173"/>
                  </a:lnTo>
                  <a:lnTo>
                    <a:pt x="1365" y="171"/>
                  </a:lnTo>
                  <a:lnTo>
                    <a:pt x="1367" y="169"/>
                  </a:lnTo>
                  <a:lnTo>
                    <a:pt x="1367" y="167"/>
                  </a:lnTo>
                  <a:lnTo>
                    <a:pt x="1367" y="166"/>
                  </a:lnTo>
                  <a:lnTo>
                    <a:pt x="1369" y="164"/>
                  </a:lnTo>
                  <a:lnTo>
                    <a:pt x="1369" y="162"/>
                  </a:lnTo>
                  <a:lnTo>
                    <a:pt x="1371" y="160"/>
                  </a:lnTo>
                  <a:lnTo>
                    <a:pt x="1371" y="158"/>
                  </a:lnTo>
                  <a:lnTo>
                    <a:pt x="1371" y="156"/>
                  </a:lnTo>
                  <a:lnTo>
                    <a:pt x="1372" y="156"/>
                  </a:lnTo>
                  <a:lnTo>
                    <a:pt x="1372" y="154"/>
                  </a:lnTo>
                  <a:lnTo>
                    <a:pt x="1372" y="152"/>
                  </a:lnTo>
                  <a:lnTo>
                    <a:pt x="1374" y="152"/>
                  </a:lnTo>
                  <a:lnTo>
                    <a:pt x="1374" y="150"/>
                  </a:lnTo>
                  <a:lnTo>
                    <a:pt x="1376" y="148"/>
                  </a:lnTo>
                  <a:lnTo>
                    <a:pt x="1376" y="146"/>
                  </a:lnTo>
                  <a:lnTo>
                    <a:pt x="1376" y="144"/>
                  </a:lnTo>
                  <a:lnTo>
                    <a:pt x="1378" y="144"/>
                  </a:lnTo>
                  <a:lnTo>
                    <a:pt x="1378" y="142"/>
                  </a:lnTo>
                  <a:lnTo>
                    <a:pt x="1380" y="141"/>
                  </a:lnTo>
                  <a:lnTo>
                    <a:pt x="1382" y="139"/>
                  </a:lnTo>
                  <a:lnTo>
                    <a:pt x="1382" y="137"/>
                  </a:lnTo>
                  <a:lnTo>
                    <a:pt x="1382" y="135"/>
                  </a:lnTo>
                  <a:lnTo>
                    <a:pt x="1384" y="133"/>
                  </a:lnTo>
                  <a:lnTo>
                    <a:pt x="1382" y="133"/>
                  </a:lnTo>
                  <a:lnTo>
                    <a:pt x="1384" y="133"/>
                  </a:lnTo>
                  <a:lnTo>
                    <a:pt x="1386" y="129"/>
                  </a:lnTo>
                  <a:lnTo>
                    <a:pt x="1386" y="127"/>
                  </a:lnTo>
                  <a:lnTo>
                    <a:pt x="1386" y="129"/>
                  </a:lnTo>
                  <a:lnTo>
                    <a:pt x="1388" y="127"/>
                  </a:lnTo>
                  <a:lnTo>
                    <a:pt x="1388" y="125"/>
                  </a:lnTo>
                  <a:lnTo>
                    <a:pt x="1390" y="125"/>
                  </a:lnTo>
                  <a:lnTo>
                    <a:pt x="1390" y="123"/>
                  </a:lnTo>
                  <a:lnTo>
                    <a:pt x="1392" y="121"/>
                  </a:lnTo>
                  <a:lnTo>
                    <a:pt x="1394" y="119"/>
                  </a:lnTo>
                  <a:lnTo>
                    <a:pt x="1394" y="117"/>
                  </a:lnTo>
                  <a:lnTo>
                    <a:pt x="1395" y="117"/>
                  </a:lnTo>
                  <a:lnTo>
                    <a:pt x="1395" y="116"/>
                  </a:lnTo>
                  <a:lnTo>
                    <a:pt x="1395" y="114"/>
                  </a:lnTo>
                  <a:lnTo>
                    <a:pt x="1397" y="114"/>
                  </a:lnTo>
                  <a:lnTo>
                    <a:pt x="1397" y="112"/>
                  </a:lnTo>
                  <a:lnTo>
                    <a:pt x="1399" y="110"/>
                  </a:lnTo>
                  <a:lnTo>
                    <a:pt x="1401" y="108"/>
                  </a:lnTo>
                  <a:lnTo>
                    <a:pt x="1403" y="104"/>
                  </a:lnTo>
                  <a:lnTo>
                    <a:pt x="1405" y="102"/>
                  </a:lnTo>
                  <a:lnTo>
                    <a:pt x="1407" y="100"/>
                  </a:lnTo>
                  <a:lnTo>
                    <a:pt x="1407" y="98"/>
                  </a:lnTo>
                  <a:lnTo>
                    <a:pt x="1409" y="98"/>
                  </a:lnTo>
                  <a:lnTo>
                    <a:pt x="1409" y="96"/>
                  </a:lnTo>
                  <a:lnTo>
                    <a:pt x="1411" y="94"/>
                  </a:lnTo>
                  <a:lnTo>
                    <a:pt x="1413" y="93"/>
                  </a:lnTo>
                  <a:lnTo>
                    <a:pt x="1415" y="89"/>
                  </a:lnTo>
                  <a:lnTo>
                    <a:pt x="1417" y="89"/>
                  </a:lnTo>
                  <a:lnTo>
                    <a:pt x="1417" y="87"/>
                  </a:lnTo>
                  <a:lnTo>
                    <a:pt x="1419" y="85"/>
                  </a:lnTo>
                  <a:lnTo>
                    <a:pt x="1420" y="83"/>
                  </a:lnTo>
                  <a:lnTo>
                    <a:pt x="1420" y="81"/>
                  </a:lnTo>
                  <a:lnTo>
                    <a:pt x="1422" y="81"/>
                  </a:lnTo>
                  <a:lnTo>
                    <a:pt x="1422" y="79"/>
                  </a:lnTo>
                  <a:lnTo>
                    <a:pt x="1424" y="77"/>
                  </a:lnTo>
                  <a:lnTo>
                    <a:pt x="1428" y="73"/>
                  </a:lnTo>
                  <a:lnTo>
                    <a:pt x="1428" y="71"/>
                  </a:lnTo>
                  <a:lnTo>
                    <a:pt x="1430" y="69"/>
                  </a:lnTo>
                  <a:lnTo>
                    <a:pt x="1432" y="68"/>
                  </a:lnTo>
                  <a:lnTo>
                    <a:pt x="1432" y="66"/>
                  </a:lnTo>
                  <a:lnTo>
                    <a:pt x="1434" y="66"/>
                  </a:lnTo>
                  <a:lnTo>
                    <a:pt x="1434" y="64"/>
                  </a:lnTo>
                  <a:lnTo>
                    <a:pt x="1436" y="64"/>
                  </a:lnTo>
                  <a:lnTo>
                    <a:pt x="1438" y="62"/>
                  </a:lnTo>
                  <a:lnTo>
                    <a:pt x="1438" y="60"/>
                  </a:lnTo>
                  <a:lnTo>
                    <a:pt x="1440" y="60"/>
                  </a:lnTo>
                  <a:lnTo>
                    <a:pt x="1442" y="62"/>
                  </a:lnTo>
                  <a:lnTo>
                    <a:pt x="1442" y="64"/>
                  </a:lnTo>
                  <a:lnTo>
                    <a:pt x="1440" y="64"/>
                  </a:lnTo>
                  <a:lnTo>
                    <a:pt x="1440" y="66"/>
                  </a:lnTo>
                  <a:lnTo>
                    <a:pt x="1440" y="68"/>
                  </a:lnTo>
                  <a:lnTo>
                    <a:pt x="1442" y="68"/>
                  </a:lnTo>
                  <a:lnTo>
                    <a:pt x="1442" y="69"/>
                  </a:lnTo>
                  <a:lnTo>
                    <a:pt x="1442" y="68"/>
                  </a:lnTo>
                  <a:lnTo>
                    <a:pt x="1442" y="69"/>
                  </a:lnTo>
                  <a:lnTo>
                    <a:pt x="1443" y="69"/>
                  </a:lnTo>
                  <a:lnTo>
                    <a:pt x="1443" y="68"/>
                  </a:lnTo>
                  <a:lnTo>
                    <a:pt x="1445" y="68"/>
                  </a:lnTo>
                  <a:lnTo>
                    <a:pt x="1445" y="69"/>
                  </a:lnTo>
                  <a:lnTo>
                    <a:pt x="1443" y="69"/>
                  </a:lnTo>
                  <a:lnTo>
                    <a:pt x="1445" y="69"/>
                  </a:lnTo>
                  <a:lnTo>
                    <a:pt x="1447" y="69"/>
                  </a:lnTo>
                  <a:lnTo>
                    <a:pt x="1447" y="71"/>
                  </a:lnTo>
                  <a:lnTo>
                    <a:pt x="1445" y="71"/>
                  </a:lnTo>
                  <a:lnTo>
                    <a:pt x="1447" y="71"/>
                  </a:lnTo>
                  <a:lnTo>
                    <a:pt x="1449" y="71"/>
                  </a:lnTo>
                  <a:lnTo>
                    <a:pt x="1447" y="71"/>
                  </a:lnTo>
                  <a:lnTo>
                    <a:pt x="1445" y="69"/>
                  </a:lnTo>
                  <a:lnTo>
                    <a:pt x="1445" y="68"/>
                  </a:lnTo>
                  <a:lnTo>
                    <a:pt x="1447" y="69"/>
                  </a:lnTo>
                  <a:lnTo>
                    <a:pt x="1447" y="68"/>
                  </a:lnTo>
                  <a:lnTo>
                    <a:pt x="1449" y="68"/>
                  </a:lnTo>
                  <a:lnTo>
                    <a:pt x="1449" y="69"/>
                  </a:lnTo>
                  <a:lnTo>
                    <a:pt x="1449" y="68"/>
                  </a:lnTo>
                  <a:lnTo>
                    <a:pt x="1447" y="68"/>
                  </a:lnTo>
                  <a:lnTo>
                    <a:pt x="1447" y="66"/>
                  </a:lnTo>
                  <a:lnTo>
                    <a:pt x="1449" y="66"/>
                  </a:lnTo>
                  <a:lnTo>
                    <a:pt x="1449" y="68"/>
                  </a:lnTo>
                  <a:lnTo>
                    <a:pt x="1449" y="66"/>
                  </a:lnTo>
                  <a:lnTo>
                    <a:pt x="1447" y="66"/>
                  </a:lnTo>
                  <a:lnTo>
                    <a:pt x="1449" y="66"/>
                  </a:lnTo>
                  <a:lnTo>
                    <a:pt x="1449" y="64"/>
                  </a:lnTo>
                  <a:lnTo>
                    <a:pt x="1451" y="64"/>
                  </a:lnTo>
                  <a:lnTo>
                    <a:pt x="1451" y="66"/>
                  </a:lnTo>
                  <a:lnTo>
                    <a:pt x="1451" y="68"/>
                  </a:lnTo>
                  <a:lnTo>
                    <a:pt x="1451" y="66"/>
                  </a:lnTo>
                  <a:lnTo>
                    <a:pt x="1451" y="64"/>
                  </a:lnTo>
                  <a:lnTo>
                    <a:pt x="1453" y="62"/>
                  </a:lnTo>
                  <a:lnTo>
                    <a:pt x="1455" y="62"/>
                  </a:lnTo>
                  <a:lnTo>
                    <a:pt x="1455" y="60"/>
                  </a:lnTo>
                  <a:lnTo>
                    <a:pt x="1457" y="62"/>
                  </a:lnTo>
                  <a:lnTo>
                    <a:pt x="1457" y="60"/>
                  </a:lnTo>
                  <a:lnTo>
                    <a:pt x="1455" y="60"/>
                  </a:lnTo>
                  <a:lnTo>
                    <a:pt x="1455" y="62"/>
                  </a:lnTo>
                  <a:lnTo>
                    <a:pt x="1453" y="62"/>
                  </a:lnTo>
                  <a:lnTo>
                    <a:pt x="1451" y="62"/>
                  </a:lnTo>
                  <a:lnTo>
                    <a:pt x="1451" y="64"/>
                  </a:lnTo>
                  <a:lnTo>
                    <a:pt x="1451" y="62"/>
                  </a:lnTo>
                  <a:lnTo>
                    <a:pt x="1453" y="62"/>
                  </a:lnTo>
                  <a:lnTo>
                    <a:pt x="1455" y="60"/>
                  </a:lnTo>
                  <a:lnTo>
                    <a:pt x="1457" y="60"/>
                  </a:lnTo>
                  <a:lnTo>
                    <a:pt x="1457" y="58"/>
                  </a:lnTo>
                  <a:lnTo>
                    <a:pt x="1459" y="58"/>
                  </a:lnTo>
                  <a:lnTo>
                    <a:pt x="1459" y="56"/>
                  </a:lnTo>
                  <a:lnTo>
                    <a:pt x="1459" y="58"/>
                  </a:lnTo>
                  <a:lnTo>
                    <a:pt x="1457" y="58"/>
                  </a:lnTo>
                  <a:lnTo>
                    <a:pt x="1457" y="60"/>
                  </a:lnTo>
                  <a:lnTo>
                    <a:pt x="1457" y="62"/>
                  </a:lnTo>
                  <a:lnTo>
                    <a:pt x="1457" y="60"/>
                  </a:lnTo>
                  <a:lnTo>
                    <a:pt x="1459" y="58"/>
                  </a:lnTo>
                  <a:lnTo>
                    <a:pt x="1459" y="56"/>
                  </a:lnTo>
                  <a:lnTo>
                    <a:pt x="1461" y="56"/>
                  </a:lnTo>
                  <a:lnTo>
                    <a:pt x="1461" y="54"/>
                  </a:lnTo>
                  <a:lnTo>
                    <a:pt x="1461" y="52"/>
                  </a:lnTo>
                  <a:lnTo>
                    <a:pt x="1463" y="52"/>
                  </a:lnTo>
                  <a:lnTo>
                    <a:pt x="1461" y="54"/>
                  </a:lnTo>
                  <a:lnTo>
                    <a:pt x="1463" y="54"/>
                  </a:lnTo>
                  <a:lnTo>
                    <a:pt x="1461" y="56"/>
                  </a:lnTo>
                  <a:lnTo>
                    <a:pt x="1463" y="56"/>
                  </a:lnTo>
                  <a:lnTo>
                    <a:pt x="1463" y="58"/>
                  </a:lnTo>
                  <a:lnTo>
                    <a:pt x="1463" y="56"/>
                  </a:lnTo>
                  <a:lnTo>
                    <a:pt x="1465" y="56"/>
                  </a:lnTo>
                  <a:lnTo>
                    <a:pt x="1465" y="58"/>
                  </a:lnTo>
                  <a:lnTo>
                    <a:pt x="1465" y="56"/>
                  </a:lnTo>
                  <a:lnTo>
                    <a:pt x="1465" y="58"/>
                  </a:lnTo>
                  <a:lnTo>
                    <a:pt x="1465" y="56"/>
                  </a:lnTo>
                  <a:lnTo>
                    <a:pt x="1466" y="56"/>
                  </a:lnTo>
                  <a:lnTo>
                    <a:pt x="1465" y="60"/>
                  </a:lnTo>
                  <a:lnTo>
                    <a:pt x="1463" y="62"/>
                  </a:lnTo>
                  <a:lnTo>
                    <a:pt x="1461" y="62"/>
                  </a:lnTo>
                  <a:lnTo>
                    <a:pt x="1459" y="62"/>
                  </a:lnTo>
                  <a:lnTo>
                    <a:pt x="1461" y="60"/>
                  </a:lnTo>
                  <a:lnTo>
                    <a:pt x="1459" y="60"/>
                  </a:lnTo>
                  <a:lnTo>
                    <a:pt x="1459" y="62"/>
                  </a:lnTo>
                  <a:lnTo>
                    <a:pt x="1459" y="64"/>
                  </a:lnTo>
                  <a:lnTo>
                    <a:pt x="1459" y="62"/>
                  </a:lnTo>
                  <a:lnTo>
                    <a:pt x="1461" y="62"/>
                  </a:lnTo>
                  <a:lnTo>
                    <a:pt x="1463" y="62"/>
                  </a:lnTo>
                  <a:lnTo>
                    <a:pt x="1463" y="60"/>
                  </a:lnTo>
                  <a:lnTo>
                    <a:pt x="1465" y="60"/>
                  </a:lnTo>
                  <a:lnTo>
                    <a:pt x="1466" y="58"/>
                  </a:lnTo>
                  <a:lnTo>
                    <a:pt x="1466" y="56"/>
                  </a:lnTo>
                  <a:lnTo>
                    <a:pt x="1468" y="56"/>
                  </a:lnTo>
                  <a:lnTo>
                    <a:pt x="1468" y="54"/>
                  </a:lnTo>
                  <a:lnTo>
                    <a:pt x="1468" y="52"/>
                  </a:lnTo>
                  <a:lnTo>
                    <a:pt x="1466" y="52"/>
                  </a:lnTo>
                  <a:lnTo>
                    <a:pt x="1466" y="50"/>
                  </a:lnTo>
                  <a:lnTo>
                    <a:pt x="1466" y="48"/>
                  </a:lnTo>
                  <a:lnTo>
                    <a:pt x="1468" y="48"/>
                  </a:lnTo>
                  <a:lnTo>
                    <a:pt x="1468" y="46"/>
                  </a:lnTo>
                  <a:lnTo>
                    <a:pt x="1468" y="48"/>
                  </a:lnTo>
                  <a:lnTo>
                    <a:pt x="1466" y="48"/>
                  </a:lnTo>
                  <a:lnTo>
                    <a:pt x="1466" y="50"/>
                  </a:lnTo>
                  <a:lnTo>
                    <a:pt x="1466" y="52"/>
                  </a:lnTo>
                  <a:lnTo>
                    <a:pt x="1468" y="52"/>
                  </a:lnTo>
                  <a:lnTo>
                    <a:pt x="1468" y="54"/>
                  </a:lnTo>
                  <a:lnTo>
                    <a:pt x="1468" y="56"/>
                  </a:lnTo>
                  <a:lnTo>
                    <a:pt x="1466" y="56"/>
                  </a:lnTo>
                  <a:lnTo>
                    <a:pt x="1468" y="54"/>
                  </a:lnTo>
                  <a:lnTo>
                    <a:pt x="1466" y="54"/>
                  </a:lnTo>
                  <a:lnTo>
                    <a:pt x="1466" y="52"/>
                  </a:lnTo>
                  <a:lnTo>
                    <a:pt x="1465" y="52"/>
                  </a:lnTo>
                  <a:lnTo>
                    <a:pt x="1465" y="50"/>
                  </a:lnTo>
                  <a:lnTo>
                    <a:pt x="1463" y="50"/>
                  </a:lnTo>
                  <a:lnTo>
                    <a:pt x="1465" y="50"/>
                  </a:lnTo>
                  <a:lnTo>
                    <a:pt x="1463" y="50"/>
                  </a:lnTo>
                  <a:lnTo>
                    <a:pt x="1461" y="50"/>
                  </a:lnTo>
                  <a:lnTo>
                    <a:pt x="1463" y="50"/>
                  </a:lnTo>
                  <a:lnTo>
                    <a:pt x="1461" y="50"/>
                  </a:lnTo>
                  <a:lnTo>
                    <a:pt x="1461" y="48"/>
                  </a:lnTo>
                  <a:lnTo>
                    <a:pt x="1461" y="46"/>
                  </a:lnTo>
                  <a:lnTo>
                    <a:pt x="1459" y="46"/>
                  </a:lnTo>
                  <a:lnTo>
                    <a:pt x="1461" y="46"/>
                  </a:lnTo>
                  <a:lnTo>
                    <a:pt x="1461" y="45"/>
                  </a:lnTo>
                  <a:lnTo>
                    <a:pt x="1459" y="43"/>
                  </a:lnTo>
                  <a:lnTo>
                    <a:pt x="1461" y="43"/>
                  </a:lnTo>
                  <a:lnTo>
                    <a:pt x="1463" y="43"/>
                  </a:lnTo>
                  <a:lnTo>
                    <a:pt x="1461" y="41"/>
                  </a:lnTo>
                  <a:lnTo>
                    <a:pt x="1461" y="43"/>
                  </a:lnTo>
                  <a:lnTo>
                    <a:pt x="1459" y="43"/>
                  </a:lnTo>
                  <a:lnTo>
                    <a:pt x="1459" y="41"/>
                  </a:lnTo>
                  <a:lnTo>
                    <a:pt x="1459" y="43"/>
                  </a:lnTo>
                  <a:lnTo>
                    <a:pt x="1457" y="43"/>
                  </a:lnTo>
                  <a:lnTo>
                    <a:pt x="1459" y="43"/>
                  </a:lnTo>
                  <a:lnTo>
                    <a:pt x="1457" y="43"/>
                  </a:lnTo>
                  <a:lnTo>
                    <a:pt x="1459" y="43"/>
                  </a:lnTo>
                  <a:lnTo>
                    <a:pt x="1457" y="43"/>
                  </a:lnTo>
                  <a:lnTo>
                    <a:pt x="1459" y="43"/>
                  </a:lnTo>
                  <a:lnTo>
                    <a:pt x="1459" y="45"/>
                  </a:lnTo>
                  <a:lnTo>
                    <a:pt x="1457" y="45"/>
                  </a:lnTo>
                  <a:lnTo>
                    <a:pt x="1459" y="45"/>
                  </a:lnTo>
                  <a:lnTo>
                    <a:pt x="1459" y="46"/>
                  </a:lnTo>
                  <a:lnTo>
                    <a:pt x="1457" y="46"/>
                  </a:lnTo>
                  <a:lnTo>
                    <a:pt x="1459" y="46"/>
                  </a:lnTo>
                  <a:lnTo>
                    <a:pt x="1459" y="45"/>
                  </a:lnTo>
                  <a:lnTo>
                    <a:pt x="1459" y="46"/>
                  </a:lnTo>
                  <a:lnTo>
                    <a:pt x="1457" y="46"/>
                  </a:lnTo>
                  <a:lnTo>
                    <a:pt x="1457" y="48"/>
                  </a:lnTo>
                  <a:lnTo>
                    <a:pt x="1455" y="48"/>
                  </a:lnTo>
                  <a:lnTo>
                    <a:pt x="1455" y="50"/>
                  </a:lnTo>
                  <a:lnTo>
                    <a:pt x="1457" y="50"/>
                  </a:lnTo>
                  <a:lnTo>
                    <a:pt x="1457" y="52"/>
                  </a:lnTo>
                  <a:lnTo>
                    <a:pt x="1457" y="54"/>
                  </a:lnTo>
                  <a:lnTo>
                    <a:pt x="1455" y="54"/>
                  </a:lnTo>
                  <a:lnTo>
                    <a:pt x="1455" y="56"/>
                  </a:lnTo>
                  <a:lnTo>
                    <a:pt x="1453" y="56"/>
                  </a:lnTo>
                  <a:lnTo>
                    <a:pt x="1453" y="58"/>
                  </a:lnTo>
                  <a:lnTo>
                    <a:pt x="1451" y="58"/>
                  </a:lnTo>
                  <a:lnTo>
                    <a:pt x="1451" y="56"/>
                  </a:lnTo>
                  <a:lnTo>
                    <a:pt x="1453" y="56"/>
                  </a:lnTo>
                  <a:lnTo>
                    <a:pt x="1451" y="56"/>
                  </a:lnTo>
                  <a:lnTo>
                    <a:pt x="1449" y="58"/>
                  </a:lnTo>
                  <a:lnTo>
                    <a:pt x="1447" y="58"/>
                  </a:lnTo>
                  <a:lnTo>
                    <a:pt x="1447" y="60"/>
                  </a:lnTo>
                  <a:lnTo>
                    <a:pt x="1449" y="60"/>
                  </a:lnTo>
                  <a:lnTo>
                    <a:pt x="1449" y="62"/>
                  </a:lnTo>
                  <a:lnTo>
                    <a:pt x="1447" y="62"/>
                  </a:lnTo>
                  <a:lnTo>
                    <a:pt x="1447" y="60"/>
                  </a:lnTo>
                  <a:lnTo>
                    <a:pt x="1445" y="60"/>
                  </a:lnTo>
                  <a:lnTo>
                    <a:pt x="1445" y="58"/>
                  </a:lnTo>
                  <a:lnTo>
                    <a:pt x="1443" y="58"/>
                  </a:lnTo>
                  <a:lnTo>
                    <a:pt x="1443" y="60"/>
                  </a:lnTo>
                  <a:lnTo>
                    <a:pt x="1442" y="62"/>
                  </a:lnTo>
                  <a:lnTo>
                    <a:pt x="1442" y="60"/>
                  </a:lnTo>
                  <a:lnTo>
                    <a:pt x="1440" y="60"/>
                  </a:lnTo>
                  <a:lnTo>
                    <a:pt x="1440" y="58"/>
                  </a:lnTo>
                  <a:lnTo>
                    <a:pt x="1442" y="56"/>
                  </a:lnTo>
                  <a:lnTo>
                    <a:pt x="1442" y="54"/>
                  </a:lnTo>
                  <a:lnTo>
                    <a:pt x="1443" y="54"/>
                  </a:lnTo>
                  <a:lnTo>
                    <a:pt x="1443" y="52"/>
                  </a:lnTo>
                  <a:lnTo>
                    <a:pt x="1445" y="50"/>
                  </a:lnTo>
                  <a:lnTo>
                    <a:pt x="1447" y="48"/>
                  </a:lnTo>
                  <a:lnTo>
                    <a:pt x="1447" y="46"/>
                  </a:lnTo>
                  <a:lnTo>
                    <a:pt x="1451" y="43"/>
                  </a:lnTo>
                  <a:lnTo>
                    <a:pt x="1451" y="41"/>
                  </a:lnTo>
                  <a:lnTo>
                    <a:pt x="1453" y="39"/>
                  </a:lnTo>
                  <a:lnTo>
                    <a:pt x="1455" y="37"/>
                  </a:lnTo>
                  <a:lnTo>
                    <a:pt x="1457" y="33"/>
                  </a:lnTo>
                  <a:lnTo>
                    <a:pt x="1457" y="31"/>
                  </a:lnTo>
                  <a:lnTo>
                    <a:pt x="1459" y="31"/>
                  </a:lnTo>
                  <a:lnTo>
                    <a:pt x="1459" y="29"/>
                  </a:lnTo>
                  <a:lnTo>
                    <a:pt x="1461" y="29"/>
                  </a:lnTo>
                  <a:lnTo>
                    <a:pt x="1461" y="27"/>
                  </a:lnTo>
                  <a:lnTo>
                    <a:pt x="1463" y="25"/>
                  </a:lnTo>
                  <a:lnTo>
                    <a:pt x="1465" y="23"/>
                  </a:lnTo>
                  <a:lnTo>
                    <a:pt x="1465" y="21"/>
                  </a:lnTo>
                  <a:lnTo>
                    <a:pt x="1466" y="21"/>
                  </a:lnTo>
                  <a:lnTo>
                    <a:pt x="1466" y="20"/>
                  </a:lnTo>
                  <a:lnTo>
                    <a:pt x="1468" y="18"/>
                  </a:lnTo>
                  <a:lnTo>
                    <a:pt x="1470" y="16"/>
                  </a:lnTo>
                  <a:lnTo>
                    <a:pt x="1472" y="14"/>
                  </a:lnTo>
                  <a:lnTo>
                    <a:pt x="1474" y="12"/>
                  </a:lnTo>
                  <a:lnTo>
                    <a:pt x="1476" y="10"/>
                  </a:lnTo>
                  <a:lnTo>
                    <a:pt x="1478" y="6"/>
                  </a:lnTo>
                  <a:lnTo>
                    <a:pt x="1480" y="2"/>
                  </a:lnTo>
                  <a:lnTo>
                    <a:pt x="1482" y="2"/>
                  </a:lnTo>
                  <a:lnTo>
                    <a:pt x="1480" y="0"/>
                  </a:lnTo>
                  <a:lnTo>
                    <a:pt x="1482" y="0"/>
                  </a:lnTo>
                  <a:lnTo>
                    <a:pt x="1482" y="2"/>
                  </a:lnTo>
                  <a:lnTo>
                    <a:pt x="1482" y="0"/>
                  </a:lnTo>
                  <a:lnTo>
                    <a:pt x="1484" y="0"/>
                  </a:lnTo>
                  <a:lnTo>
                    <a:pt x="1486" y="0"/>
                  </a:lnTo>
                  <a:lnTo>
                    <a:pt x="1490" y="0"/>
                  </a:lnTo>
                  <a:lnTo>
                    <a:pt x="1493" y="0"/>
                  </a:lnTo>
                  <a:lnTo>
                    <a:pt x="1495" y="0"/>
                  </a:lnTo>
                  <a:lnTo>
                    <a:pt x="1497" y="2"/>
                  </a:lnTo>
                  <a:close/>
                </a:path>
              </a:pathLst>
            </a:custGeom>
            <a:solidFill>
              <a:srgbClr val="E6E6E6"/>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16" name="Freeform 9">
              <a:extLst>
                <a:ext uri="{FF2B5EF4-FFF2-40B4-BE49-F238E27FC236}">
                  <a16:creationId xmlns:a16="http://schemas.microsoft.com/office/drawing/2014/main" id="{21B06C34-A0C6-4363-9EE0-46AD0B10C8F3}"/>
                </a:ext>
              </a:extLst>
            </p:cNvPr>
            <p:cNvSpPr>
              <a:spLocks noEditPoints="1"/>
            </p:cNvSpPr>
            <p:nvPr/>
          </p:nvSpPr>
          <p:spPr bwMode="gray">
            <a:xfrm>
              <a:off x="2948024" y="1355788"/>
              <a:ext cx="2430579" cy="1706538"/>
            </a:xfrm>
            <a:custGeom>
              <a:avLst/>
              <a:gdLst>
                <a:gd name="T0" fmla="*/ 423 w 1989"/>
                <a:gd name="T1" fmla="*/ 640 h 1318"/>
                <a:gd name="T2" fmla="*/ 334 w 1989"/>
                <a:gd name="T3" fmla="*/ 367 h 1318"/>
                <a:gd name="T4" fmla="*/ 200 w 1989"/>
                <a:gd name="T5" fmla="*/ 279 h 1318"/>
                <a:gd name="T6" fmla="*/ 114 w 1989"/>
                <a:gd name="T7" fmla="*/ 327 h 1318"/>
                <a:gd name="T8" fmla="*/ 0 w 1989"/>
                <a:gd name="T9" fmla="*/ 388 h 1318"/>
                <a:gd name="T10" fmla="*/ 135 w 1989"/>
                <a:gd name="T11" fmla="*/ 300 h 1318"/>
                <a:gd name="T12" fmla="*/ 1139 w 1989"/>
                <a:gd name="T13" fmla="*/ 256 h 1318"/>
                <a:gd name="T14" fmla="*/ 1131 w 1989"/>
                <a:gd name="T15" fmla="*/ 189 h 1318"/>
                <a:gd name="T16" fmla="*/ 567 w 1989"/>
                <a:gd name="T17" fmla="*/ 121 h 1318"/>
                <a:gd name="T18" fmla="*/ 555 w 1989"/>
                <a:gd name="T19" fmla="*/ 141 h 1318"/>
                <a:gd name="T20" fmla="*/ 521 w 1989"/>
                <a:gd name="T21" fmla="*/ 141 h 1318"/>
                <a:gd name="T22" fmla="*/ 511 w 1989"/>
                <a:gd name="T23" fmla="*/ 162 h 1318"/>
                <a:gd name="T24" fmla="*/ 344 w 1989"/>
                <a:gd name="T25" fmla="*/ 206 h 1318"/>
                <a:gd name="T26" fmla="*/ 325 w 1989"/>
                <a:gd name="T27" fmla="*/ 160 h 1318"/>
                <a:gd name="T28" fmla="*/ 1517 w 1989"/>
                <a:gd name="T29" fmla="*/ 1287 h 1318"/>
                <a:gd name="T30" fmla="*/ 1284 w 1989"/>
                <a:gd name="T31" fmla="*/ 1306 h 1318"/>
                <a:gd name="T32" fmla="*/ 1206 w 1989"/>
                <a:gd name="T33" fmla="*/ 1253 h 1318"/>
                <a:gd name="T34" fmla="*/ 1106 w 1989"/>
                <a:gd name="T35" fmla="*/ 1207 h 1318"/>
                <a:gd name="T36" fmla="*/ 1089 w 1989"/>
                <a:gd name="T37" fmla="*/ 1036 h 1318"/>
                <a:gd name="T38" fmla="*/ 883 w 1989"/>
                <a:gd name="T39" fmla="*/ 982 h 1318"/>
                <a:gd name="T40" fmla="*/ 703 w 1989"/>
                <a:gd name="T41" fmla="*/ 966 h 1318"/>
                <a:gd name="T42" fmla="*/ 649 w 1989"/>
                <a:gd name="T43" fmla="*/ 957 h 1318"/>
                <a:gd name="T44" fmla="*/ 461 w 1989"/>
                <a:gd name="T45" fmla="*/ 936 h 1318"/>
                <a:gd name="T46" fmla="*/ 419 w 1989"/>
                <a:gd name="T47" fmla="*/ 861 h 1318"/>
                <a:gd name="T48" fmla="*/ 457 w 1989"/>
                <a:gd name="T49" fmla="*/ 771 h 1318"/>
                <a:gd name="T50" fmla="*/ 448 w 1989"/>
                <a:gd name="T51" fmla="*/ 709 h 1318"/>
                <a:gd name="T52" fmla="*/ 432 w 1989"/>
                <a:gd name="T53" fmla="*/ 663 h 1318"/>
                <a:gd name="T54" fmla="*/ 446 w 1989"/>
                <a:gd name="T55" fmla="*/ 651 h 1318"/>
                <a:gd name="T56" fmla="*/ 394 w 1989"/>
                <a:gd name="T57" fmla="*/ 613 h 1318"/>
                <a:gd name="T58" fmla="*/ 471 w 1989"/>
                <a:gd name="T59" fmla="*/ 471 h 1318"/>
                <a:gd name="T60" fmla="*/ 549 w 1989"/>
                <a:gd name="T61" fmla="*/ 381 h 1318"/>
                <a:gd name="T62" fmla="*/ 741 w 1989"/>
                <a:gd name="T63" fmla="*/ 269 h 1318"/>
                <a:gd name="T64" fmla="*/ 910 w 1989"/>
                <a:gd name="T65" fmla="*/ 208 h 1318"/>
                <a:gd name="T66" fmla="*/ 1123 w 1989"/>
                <a:gd name="T67" fmla="*/ 185 h 1318"/>
                <a:gd name="T68" fmla="*/ 1108 w 1989"/>
                <a:gd name="T69" fmla="*/ 235 h 1318"/>
                <a:gd name="T70" fmla="*/ 1112 w 1989"/>
                <a:gd name="T71" fmla="*/ 317 h 1318"/>
                <a:gd name="T72" fmla="*/ 1121 w 1989"/>
                <a:gd name="T73" fmla="*/ 265 h 1318"/>
                <a:gd name="T74" fmla="*/ 1183 w 1989"/>
                <a:gd name="T75" fmla="*/ 300 h 1318"/>
                <a:gd name="T76" fmla="*/ 1194 w 1989"/>
                <a:gd name="T77" fmla="*/ 281 h 1318"/>
                <a:gd name="T78" fmla="*/ 1154 w 1989"/>
                <a:gd name="T79" fmla="*/ 254 h 1318"/>
                <a:gd name="T80" fmla="*/ 1131 w 1989"/>
                <a:gd name="T81" fmla="*/ 200 h 1318"/>
                <a:gd name="T82" fmla="*/ 1144 w 1989"/>
                <a:gd name="T83" fmla="*/ 189 h 1318"/>
                <a:gd name="T84" fmla="*/ 1275 w 1989"/>
                <a:gd name="T85" fmla="*/ 194 h 1318"/>
                <a:gd name="T86" fmla="*/ 1423 w 1989"/>
                <a:gd name="T87" fmla="*/ 175 h 1318"/>
                <a:gd name="T88" fmla="*/ 1524 w 1989"/>
                <a:gd name="T89" fmla="*/ 144 h 1318"/>
                <a:gd name="T90" fmla="*/ 1711 w 1989"/>
                <a:gd name="T91" fmla="*/ 171 h 1318"/>
                <a:gd name="T92" fmla="*/ 1760 w 1989"/>
                <a:gd name="T93" fmla="*/ 333 h 1318"/>
                <a:gd name="T94" fmla="*/ 1770 w 1989"/>
                <a:gd name="T95" fmla="*/ 346 h 1318"/>
                <a:gd name="T96" fmla="*/ 1881 w 1989"/>
                <a:gd name="T97" fmla="*/ 373 h 1318"/>
                <a:gd name="T98" fmla="*/ 1899 w 1989"/>
                <a:gd name="T99" fmla="*/ 448 h 1318"/>
                <a:gd name="T100" fmla="*/ 1958 w 1989"/>
                <a:gd name="T101" fmla="*/ 467 h 1318"/>
                <a:gd name="T102" fmla="*/ 1881 w 1989"/>
                <a:gd name="T103" fmla="*/ 968 h 1318"/>
                <a:gd name="T104" fmla="*/ 1601 w 1989"/>
                <a:gd name="T105" fmla="*/ 1278 h 1318"/>
                <a:gd name="T106" fmla="*/ 958 w 1989"/>
                <a:gd name="T107" fmla="*/ 104 h 1318"/>
                <a:gd name="T108" fmla="*/ 793 w 1989"/>
                <a:gd name="T109" fmla="*/ 133 h 1318"/>
                <a:gd name="T110" fmla="*/ 676 w 1989"/>
                <a:gd name="T111" fmla="*/ 87 h 1318"/>
                <a:gd name="T112" fmla="*/ 1254 w 1989"/>
                <a:gd name="T113" fmla="*/ 64 h 1318"/>
                <a:gd name="T114" fmla="*/ 1198 w 1989"/>
                <a:gd name="T115" fmla="*/ 96 h 1318"/>
                <a:gd name="T116" fmla="*/ 1167 w 1989"/>
                <a:gd name="T117" fmla="*/ 94 h 1318"/>
                <a:gd name="T118" fmla="*/ 1116 w 1989"/>
                <a:gd name="T119" fmla="*/ 62 h 1318"/>
                <a:gd name="T120" fmla="*/ 1283 w 1989"/>
                <a:gd name="T121" fmla="*/ 54 h 1318"/>
                <a:gd name="T122" fmla="*/ 1396 w 1989"/>
                <a:gd name="T123" fmla="*/ 31 h 1318"/>
                <a:gd name="T124" fmla="*/ 1405 w 1989"/>
                <a:gd name="T125" fmla="*/ 21 h 1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89" h="1318">
                  <a:moveTo>
                    <a:pt x="434" y="845"/>
                  </a:moveTo>
                  <a:lnTo>
                    <a:pt x="436" y="845"/>
                  </a:lnTo>
                  <a:lnTo>
                    <a:pt x="436" y="849"/>
                  </a:lnTo>
                  <a:lnTo>
                    <a:pt x="434" y="849"/>
                  </a:lnTo>
                  <a:lnTo>
                    <a:pt x="434" y="845"/>
                  </a:lnTo>
                  <a:close/>
                  <a:moveTo>
                    <a:pt x="436" y="838"/>
                  </a:moveTo>
                  <a:lnTo>
                    <a:pt x="438" y="838"/>
                  </a:lnTo>
                  <a:lnTo>
                    <a:pt x="438" y="842"/>
                  </a:lnTo>
                  <a:lnTo>
                    <a:pt x="436" y="842"/>
                  </a:lnTo>
                  <a:lnTo>
                    <a:pt x="436" y="838"/>
                  </a:lnTo>
                  <a:close/>
                  <a:moveTo>
                    <a:pt x="444" y="788"/>
                  </a:moveTo>
                  <a:lnTo>
                    <a:pt x="444" y="790"/>
                  </a:lnTo>
                  <a:lnTo>
                    <a:pt x="444" y="788"/>
                  </a:lnTo>
                  <a:lnTo>
                    <a:pt x="444" y="786"/>
                  </a:lnTo>
                  <a:lnTo>
                    <a:pt x="446" y="786"/>
                  </a:lnTo>
                  <a:lnTo>
                    <a:pt x="446" y="788"/>
                  </a:lnTo>
                  <a:lnTo>
                    <a:pt x="444" y="788"/>
                  </a:lnTo>
                  <a:close/>
                  <a:moveTo>
                    <a:pt x="442" y="782"/>
                  </a:moveTo>
                  <a:lnTo>
                    <a:pt x="444" y="782"/>
                  </a:lnTo>
                  <a:lnTo>
                    <a:pt x="442" y="782"/>
                  </a:lnTo>
                  <a:close/>
                  <a:moveTo>
                    <a:pt x="442" y="719"/>
                  </a:moveTo>
                  <a:lnTo>
                    <a:pt x="442" y="721"/>
                  </a:lnTo>
                  <a:lnTo>
                    <a:pt x="442" y="723"/>
                  </a:lnTo>
                  <a:lnTo>
                    <a:pt x="440" y="723"/>
                  </a:lnTo>
                  <a:lnTo>
                    <a:pt x="440" y="724"/>
                  </a:lnTo>
                  <a:lnTo>
                    <a:pt x="440" y="723"/>
                  </a:lnTo>
                  <a:lnTo>
                    <a:pt x="438" y="723"/>
                  </a:lnTo>
                  <a:lnTo>
                    <a:pt x="440" y="723"/>
                  </a:lnTo>
                  <a:lnTo>
                    <a:pt x="438" y="721"/>
                  </a:lnTo>
                  <a:lnTo>
                    <a:pt x="440" y="721"/>
                  </a:lnTo>
                  <a:lnTo>
                    <a:pt x="440" y="719"/>
                  </a:lnTo>
                  <a:lnTo>
                    <a:pt x="442" y="719"/>
                  </a:lnTo>
                  <a:lnTo>
                    <a:pt x="442" y="717"/>
                  </a:lnTo>
                  <a:lnTo>
                    <a:pt x="442" y="719"/>
                  </a:lnTo>
                  <a:close/>
                  <a:moveTo>
                    <a:pt x="428" y="659"/>
                  </a:moveTo>
                  <a:lnTo>
                    <a:pt x="432" y="659"/>
                  </a:lnTo>
                  <a:lnTo>
                    <a:pt x="430" y="661"/>
                  </a:lnTo>
                  <a:lnTo>
                    <a:pt x="428" y="661"/>
                  </a:lnTo>
                  <a:lnTo>
                    <a:pt x="428" y="659"/>
                  </a:lnTo>
                  <a:close/>
                  <a:moveTo>
                    <a:pt x="438" y="657"/>
                  </a:moveTo>
                  <a:lnTo>
                    <a:pt x="438" y="661"/>
                  </a:lnTo>
                  <a:lnTo>
                    <a:pt x="436" y="661"/>
                  </a:lnTo>
                  <a:lnTo>
                    <a:pt x="438" y="657"/>
                  </a:lnTo>
                  <a:close/>
                  <a:moveTo>
                    <a:pt x="434" y="657"/>
                  </a:moveTo>
                  <a:lnTo>
                    <a:pt x="434" y="659"/>
                  </a:lnTo>
                  <a:lnTo>
                    <a:pt x="434" y="661"/>
                  </a:lnTo>
                  <a:lnTo>
                    <a:pt x="434" y="659"/>
                  </a:lnTo>
                  <a:lnTo>
                    <a:pt x="434" y="661"/>
                  </a:lnTo>
                  <a:lnTo>
                    <a:pt x="432" y="661"/>
                  </a:lnTo>
                  <a:lnTo>
                    <a:pt x="432" y="659"/>
                  </a:lnTo>
                  <a:lnTo>
                    <a:pt x="432" y="661"/>
                  </a:lnTo>
                  <a:lnTo>
                    <a:pt x="430" y="659"/>
                  </a:lnTo>
                  <a:lnTo>
                    <a:pt x="432" y="659"/>
                  </a:lnTo>
                  <a:lnTo>
                    <a:pt x="432" y="657"/>
                  </a:lnTo>
                  <a:lnTo>
                    <a:pt x="432" y="659"/>
                  </a:lnTo>
                  <a:lnTo>
                    <a:pt x="432" y="657"/>
                  </a:lnTo>
                  <a:lnTo>
                    <a:pt x="434" y="657"/>
                  </a:lnTo>
                  <a:close/>
                  <a:moveTo>
                    <a:pt x="421" y="617"/>
                  </a:moveTo>
                  <a:lnTo>
                    <a:pt x="423" y="619"/>
                  </a:lnTo>
                  <a:lnTo>
                    <a:pt x="423" y="621"/>
                  </a:lnTo>
                  <a:lnTo>
                    <a:pt x="425" y="621"/>
                  </a:lnTo>
                  <a:lnTo>
                    <a:pt x="425" y="623"/>
                  </a:lnTo>
                  <a:lnTo>
                    <a:pt x="427" y="623"/>
                  </a:lnTo>
                  <a:lnTo>
                    <a:pt x="427" y="625"/>
                  </a:lnTo>
                  <a:lnTo>
                    <a:pt x="427" y="623"/>
                  </a:lnTo>
                  <a:lnTo>
                    <a:pt x="428" y="623"/>
                  </a:lnTo>
                  <a:lnTo>
                    <a:pt x="428" y="625"/>
                  </a:lnTo>
                  <a:lnTo>
                    <a:pt x="428" y="623"/>
                  </a:lnTo>
                  <a:lnTo>
                    <a:pt x="428" y="625"/>
                  </a:lnTo>
                  <a:lnTo>
                    <a:pt x="430" y="625"/>
                  </a:lnTo>
                  <a:lnTo>
                    <a:pt x="428" y="623"/>
                  </a:lnTo>
                  <a:lnTo>
                    <a:pt x="430" y="623"/>
                  </a:lnTo>
                  <a:lnTo>
                    <a:pt x="428" y="623"/>
                  </a:lnTo>
                  <a:lnTo>
                    <a:pt x="430" y="623"/>
                  </a:lnTo>
                  <a:lnTo>
                    <a:pt x="432" y="623"/>
                  </a:lnTo>
                  <a:lnTo>
                    <a:pt x="432" y="625"/>
                  </a:lnTo>
                  <a:lnTo>
                    <a:pt x="434" y="625"/>
                  </a:lnTo>
                  <a:lnTo>
                    <a:pt x="434" y="626"/>
                  </a:lnTo>
                  <a:lnTo>
                    <a:pt x="436" y="626"/>
                  </a:lnTo>
                  <a:lnTo>
                    <a:pt x="436" y="628"/>
                  </a:lnTo>
                  <a:lnTo>
                    <a:pt x="436" y="630"/>
                  </a:lnTo>
                  <a:lnTo>
                    <a:pt x="436" y="632"/>
                  </a:lnTo>
                  <a:lnTo>
                    <a:pt x="436" y="634"/>
                  </a:lnTo>
                  <a:lnTo>
                    <a:pt x="438" y="636"/>
                  </a:lnTo>
                  <a:lnTo>
                    <a:pt x="438" y="638"/>
                  </a:lnTo>
                  <a:lnTo>
                    <a:pt x="438" y="640"/>
                  </a:lnTo>
                  <a:lnTo>
                    <a:pt x="440" y="640"/>
                  </a:lnTo>
                  <a:lnTo>
                    <a:pt x="438" y="642"/>
                  </a:lnTo>
                  <a:lnTo>
                    <a:pt x="440" y="642"/>
                  </a:lnTo>
                  <a:lnTo>
                    <a:pt x="442" y="644"/>
                  </a:lnTo>
                  <a:lnTo>
                    <a:pt x="442" y="646"/>
                  </a:lnTo>
                  <a:lnTo>
                    <a:pt x="442" y="648"/>
                  </a:lnTo>
                  <a:lnTo>
                    <a:pt x="436" y="646"/>
                  </a:lnTo>
                  <a:lnTo>
                    <a:pt x="434" y="646"/>
                  </a:lnTo>
                  <a:lnTo>
                    <a:pt x="430" y="646"/>
                  </a:lnTo>
                  <a:lnTo>
                    <a:pt x="428" y="646"/>
                  </a:lnTo>
                  <a:lnTo>
                    <a:pt x="428" y="644"/>
                  </a:lnTo>
                  <a:lnTo>
                    <a:pt x="428" y="646"/>
                  </a:lnTo>
                  <a:lnTo>
                    <a:pt x="427" y="646"/>
                  </a:lnTo>
                  <a:lnTo>
                    <a:pt x="427" y="644"/>
                  </a:lnTo>
                  <a:lnTo>
                    <a:pt x="427" y="646"/>
                  </a:lnTo>
                  <a:lnTo>
                    <a:pt x="423" y="646"/>
                  </a:lnTo>
                  <a:lnTo>
                    <a:pt x="427" y="646"/>
                  </a:lnTo>
                  <a:lnTo>
                    <a:pt x="425" y="646"/>
                  </a:lnTo>
                  <a:lnTo>
                    <a:pt x="425" y="644"/>
                  </a:lnTo>
                  <a:lnTo>
                    <a:pt x="425" y="642"/>
                  </a:lnTo>
                  <a:lnTo>
                    <a:pt x="425" y="640"/>
                  </a:lnTo>
                  <a:lnTo>
                    <a:pt x="423" y="640"/>
                  </a:lnTo>
                  <a:lnTo>
                    <a:pt x="425" y="640"/>
                  </a:lnTo>
                  <a:lnTo>
                    <a:pt x="423" y="638"/>
                  </a:lnTo>
                  <a:lnTo>
                    <a:pt x="423" y="636"/>
                  </a:lnTo>
                  <a:lnTo>
                    <a:pt x="421" y="636"/>
                  </a:lnTo>
                  <a:lnTo>
                    <a:pt x="423" y="636"/>
                  </a:lnTo>
                  <a:lnTo>
                    <a:pt x="421" y="634"/>
                  </a:lnTo>
                  <a:lnTo>
                    <a:pt x="421" y="632"/>
                  </a:lnTo>
                  <a:lnTo>
                    <a:pt x="419" y="630"/>
                  </a:lnTo>
                  <a:lnTo>
                    <a:pt x="421" y="630"/>
                  </a:lnTo>
                  <a:lnTo>
                    <a:pt x="419" y="630"/>
                  </a:lnTo>
                  <a:lnTo>
                    <a:pt x="419" y="628"/>
                  </a:lnTo>
                  <a:lnTo>
                    <a:pt x="419" y="626"/>
                  </a:lnTo>
                  <a:lnTo>
                    <a:pt x="419" y="625"/>
                  </a:lnTo>
                  <a:lnTo>
                    <a:pt x="419" y="623"/>
                  </a:lnTo>
                  <a:lnTo>
                    <a:pt x="419" y="621"/>
                  </a:lnTo>
                  <a:lnTo>
                    <a:pt x="419" y="619"/>
                  </a:lnTo>
                  <a:lnTo>
                    <a:pt x="417" y="619"/>
                  </a:lnTo>
                  <a:lnTo>
                    <a:pt x="419" y="619"/>
                  </a:lnTo>
                  <a:lnTo>
                    <a:pt x="417" y="619"/>
                  </a:lnTo>
                  <a:lnTo>
                    <a:pt x="419" y="617"/>
                  </a:lnTo>
                  <a:lnTo>
                    <a:pt x="421" y="617"/>
                  </a:lnTo>
                  <a:close/>
                  <a:moveTo>
                    <a:pt x="246" y="713"/>
                  </a:moveTo>
                  <a:lnTo>
                    <a:pt x="244" y="713"/>
                  </a:lnTo>
                  <a:lnTo>
                    <a:pt x="277" y="688"/>
                  </a:lnTo>
                  <a:lnTo>
                    <a:pt x="277" y="686"/>
                  </a:lnTo>
                  <a:lnTo>
                    <a:pt x="277" y="684"/>
                  </a:lnTo>
                  <a:lnTo>
                    <a:pt x="279" y="684"/>
                  </a:lnTo>
                  <a:lnTo>
                    <a:pt x="279" y="682"/>
                  </a:lnTo>
                  <a:lnTo>
                    <a:pt x="277" y="686"/>
                  </a:lnTo>
                  <a:lnTo>
                    <a:pt x="279" y="686"/>
                  </a:lnTo>
                  <a:lnTo>
                    <a:pt x="281" y="686"/>
                  </a:lnTo>
                  <a:lnTo>
                    <a:pt x="281" y="684"/>
                  </a:lnTo>
                  <a:lnTo>
                    <a:pt x="279" y="684"/>
                  </a:lnTo>
                  <a:lnTo>
                    <a:pt x="281" y="684"/>
                  </a:lnTo>
                  <a:lnTo>
                    <a:pt x="357" y="626"/>
                  </a:lnTo>
                  <a:lnTo>
                    <a:pt x="357" y="625"/>
                  </a:lnTo>
                  <a:lnTo>
                    <a:pt x="357" y="626"/>
                  </a:lnTo>
                  <a:lnTo>
                    <a:pt x="359" y="625"/>
                  </a:lnTo>
                  <a:lnTo>
                    <a:pt x="361" y="625"/>
                  </a:lnTo>
                  <a:lnTo>
                    <a:pt x="363" y="623"/>
                  </a:lnTo>
                  <a:lnTo>
                    <a:pt x="365" y="623"/>
                  </a:lnTo>
                  <a:lnTo>
                    <a:pt x="367" y="623"/>
                  </a:lnTo>
                  <a:lnTo>
                    <a:pt x="369" y="623"/>
                  </a:lnTo>
                  <a:lnTo>
                    <a:pt x="375" y="621"/>
                  </a:lnTo>
                  <a:lnTo>
                    <a:pt x="384" y="619"/>
                  </a:lnTo>
                  <a:lnTo>
                    <a:pt x="384" y="617"/>
                  </a:lnTo>
                  <a:lnTo>
                    <a:pt x="384" y="611"/>
                  </a:lnTo>
                  <a:lnTo>
                    <a:pt x="384" y="609"/>
                  </a:lnTo>
                  <a:lnTo>
                    <a:pt x="386" y="609"/>
                  </a:lnTo>
                  <a:lnTo>
                    <a:pt x="388" y="609"/>
                  </a:lnTo>
                  <a:lnTo>
                    <a:pt x="384" y="611"/>
                  </a:lnTo>
                  <a:lnTo>
                    <a:pt x="386" y="617"/>
                  </a:lnTo>
                  <a:lnTo>
                    <a:pt x="386" y="619"/>
                  </a:lnTo>
                  <a:lnTo>
                    <a:pt x="386" y="621"/>
                  </a:lnTo>
                  <a:lnTo>
                    <a:pt x="386" y="623"/>
                  </a:lnTo>
                  <a:lnTo>
                    <a:pt x="386" y="625"/>
                  </a:lnTo>
                  <a:lnTo>
                    <a:pt x="386" y="621"/>
                  </a:lnTo>
                  <a:lnTo>
                    <a:pt x="384" y="621"/>
                  </a:lnTo>
                  <a:lnTo>
                    <a:pt x="382" y="621"/>
                  </a:lnTo>
                  <a:lnTo>
                    <a:pt x="369" y="623"/>
                  </a:lnTo>
                  <a:lnTo>
                    <a:pt x="363" y="625"/>
                  </a:lnTo>
                  <a:lnTo>
                    <a:pt x="361" y="625"/>
                  </a:lnTo>
                  <a:lnTo>
                    <a:pt x="359" y="626"/>
                  </a:lnTo>
                  <a:lnTo>
                    <a:pt x="356" y="630"/>
                  </a:lnTo>
                  <a:lnTo>
                    <a:pt x="354" y="630"/>
                  </a:lnTo>
                  <a:lnTo>
                    <a:pt x="336" y="644"/>
                  </a:lnTo>
                  <a:lnTo>
                    <a:pt x="308" y="665"/>
                  </a:lnTo>
                  <a:lnTo>
                    <a:pt x="306" y="667"/>
                  </a:lnTo>
                  <a:lnTo>
                    <a:pt x="304" y="669"/>
                  </a:lnTo>
                  <a:lnTo>
                    <a:pt x="292" y="676"/>
                  </a:lnTo>
                  <a:lnTo>
                    <a:pt x="292" y="678"/>
                  </a:lnTo>
                  <a:lnTo>
                    <a:pt x="286" y="682"/>
                  </a:lnTo>
                  <a:lnTo>
                    <a:pt x="286" y="684"/>
                  </a:lnTo>
                  <a:lnTo>
                    <a:pt x="284" y="686"/>
                  </a:lnTo>
                  <a:lnTo>
                    <a:pt x="283" y="688"/>
                  </a:lnTo>
                  <a:lnTo>
                    <a:pt x="281" y="688"/>
                  </a:lnTo>
                  <a:lnTo>
                    <a:pt x="281" y="686"/>
                  </a:lnTo>
                  <a:lnTo>
                    <a:pt x="279" y="688"/>
                  </a:lnTo>
                  <a:lnTo>
                    <a:pt x="279" y="690"/>
                  </a:lnTo>
                  <a:lnTo>
                    <a:pt x="281" y="690"/>
                  </a:lnTo>
                  <a:lnTo>
                    <a:pt x="284" y="688"/>
                  </a:lnTo>
                  <a:lnTo>
                    <a:pt x="284" y="690"/>
                  </a:lnTo>
                  <a:lnTo>
                    <a:pt x="281" y="692"/>
                  </a:lnTo>
                  <a:lnTo>
                    <a:pt x="279" y="690"/>
                  </a:lnTo>
                  <a:lnTo>
                    <a:pt x="277" y="690"/>
                  </a:lnTo>
                  <a:lnTo>
                    <a:pt x="271" y="694"/>
                  </a:lnTo>
                  <a:lnTo>
                    <a:pt x="256" y="705"/>
                  </a:lnTo>
                  <a:lnTo>
                    <a:pt x="254" y="707"/>
                  </a:lnTo>
                  <a:lnTo>
                    <a:pt x="246" y="713"/>
                  </a:lnTo>
                  <a:close/>
                  <a:moveTo>
                    <a:pt x="1975" y="463"/>
                  </a:moveTo>
                  <a:lnTo>
                    <a:pt x="1977" y="467"/>
                  </a:lnTo>
                  <a:lnTo>
                    <a:pt x="1975" y="469"/>
                  </a:lnTo>
                  <a:lnTo>
                    <a:pt x="1973" y="469"/>
                  </a:lnTo>
                  <a:lnTo>
                    <a:pt x="1973" y="467"/>
                  </a:lnTo>
                  <a:lnTo>
                    <a:pt x="1975" y="467"/>
                  </a:lnTo>
                  <a:lnTo>
                    <a:pt x="1975" y="465"/>
                  </a:lnTo>
                  <a:lnTo>
                    <a:pt x="1973" y="465"/>
                  </a:lnTo>
                  <a:lnTo>
                    <a:pt x="1975" y="465"/>
                  </a:lnTo>
                  <a:lnTo>
                    <a:pt x="1975" y="463"/>
                  </a:lnTo>
                  <a:close/>
                  <a:moveTo>
                    <a:pt x="334" y="367"/>
                  </a:moveTo>
                  <a:lnTo>
                    <a:pt x="334" y="369"/>
                  </a:lnTo>
                  <a:lnTo>
                    <a:pt x="336" y="369"/>
                  </a:lnTo>
                  <a:lnTo>
                    <a:pt x="336" y="371"/>
                  </a:lnTo>
                  <a:lnTo>
                    <a:pt x="334" y="371"/>
                  </a:lnTo>
                  <a:lnTo>
                    <a:pt x="334" y="369"/>
                  </a:lnTo>
                  <a:lnTo>
                    <a:pt x="332" y="369"/>
                  </a:lnTo>
                  <a:lnTo>
                    <a:pt x="332" y="367"/>
                  </a:lnTo>
                  <a:lnTo>
                    <a:pt x="334" y="367"/>
                  </a:lnTo>
                  <a:close/>
                  <a:moveTo>
                    <a:pt x="342" y="359"/>
                  </a:moveTo>
                  <a:lnTo>
                    <a:pt x="342" y="361"/>
                  </a:lnTo>
                  <a:lnTo>
                    <a:pt x="344" y="361"/>
                  </a:lnTo>
                  <a:lnTo>
                    <a:pt x="346" y="361"/>
                  </a:lnTo>
                  <a:lnTo>
                    <a:pt x="348" y="361"/>
                  </a:lnTo>
                  <a:lnTo>
                    <a:pt x="346" y="361"/>
                  </a:lnTo>
                  <a:lnTo>
                    <a:pt x="348" y="361"/>
                  </a:lnTo>
                  <a:lnTo>
                    <a:pt x="350" y="361"/>
                  </a:lnTo>
                  <a:lnTo>
                    <a:pt x="350" y="363"/>
                  </a:lnTo>
                  <a:lnTo>
                    <a:pt x="352" y="363"/>
                  </a:lnTo>
                  <a:lnTo>
                    <a:pt x="354" y="363"/>
                  </a:lnTo>
                  <a:lnTo>
                    <a:pt x="354" y="365"/>
                  </a:lnTo>
                  <a:lnTo>
                    <a:pt x="356" y="365"/>
                  </a:lnTo>
                  <a:lnTo>
                    <a:pt x="354" y="363"/>
                  </a:lnTo>
                  <a:lnTo>
                    <a:pt x="356" y="363"/>
                  </a:lnTo>
                  <a:lnTo>
                    <a:pt x="356" y="365"/>
                  </a:lnTo>
                  <a:lnTo>
                    <a:pt x="354" y="365"/>
                  </a:lnTo>
                  <a:lnTo>
                    <a:pt x="352" y="365"/>
                  </a:lnTo>
                  <a:lnTo>
                    <a:pt x="350" y="365"/>
                  </a:lnTo>
                  <a:lnTo>
                    <a:pt x="352" y="365"/>
                  </a:lnTo>
                  <a:lnTo>
                    <a:pt x="352" y="367"/>
                  </a:lnTo>
                  <a:lnTo>
                    <a:pt x="350" y="367"/>
                  </a:lnTo>
                  <a:lnTo>
                    <a:pt x="348" y="367"/>
                  </a:lnTo>
                  <a:lnTo>
                    <a:pt x="346" y="367"/>
                  </a:lnTo>
                  <a:lnTo>
                    <a:pt x="346" y="365"/>
                  </a:lnTo>
                  <a:lnTo>
                    <a:pt x="344" y="365"/>
                  </a:lnTo>
                  <a:lnTo>
                    <a:pt x="344" y="367"/>
                  </a:lnTo>
                  <a:lnTo>
                    <a:pt x="344" y="365"/>
                  </a:lnTo>
                  <a:lnTo>
                    <a:pt x="346" y="367"/>
                  </a:lnTo>
                  <a:lnTo>
                    <a:pt x="348" y="367"/>
                  </a:lnTo>
                  <a:lnTo>
                    <a:pt x="346" y="367"/>
                  </a:lnTo>
                  <a:lnTo>
                    <a:pt x="344" y="369"/>
                  </a:lnTo>
                  <a:lnTo>
                    <a:pt x="342" y="369"/>
                  </a:lnTo>
                  <a:lnTo>
                    <a:pt x="340" y="367"/>
                  </a:lnTo>
                  <a:lnTo>
                    <a:pt x="338" y="367"/>
                  </a:lnTo>
                  <a:lnTo>
                    <a:pt x="336" y="367"/>
                  </a:lnTo>
                  <a:lnTo>
                    <a:pt x="336" y="365"/>
                  </a:lnTo>
                  <a:lnTo>
                    <a:pt x="336" y="363"/>
                  </a:lnTo>
                  <a:lnTo>
                    <a:pt x="336" y="361"/>
                  </a:lnTo>
                  <a:lnTo>
                    <a:pt x="334" y="361"/>
                  </a:lnTo>
                  <a:lnTo>
                    <a:pt x="334" y="363"/>
                  </a:lnTo>
                  <a:lnTo>
                    <a:pt x="334" y="361"/>
                  </a:lnTo>
                  <a:lnTo>
                    <a:pt x="336" y="359"/>
                  </a:lnTo>
                  <a:lnTo>
                    <a:pt x="338" y="359"/>
                  </a:lnTo>
                  <a:lnTo>
                    <a:pt x="340" y="359"/>
                  </a:lnTo>
                  <a:lnTo>
                    <a:pt x="342" y="359"/>
                  </a:lnTo>
                  <a:close/>
                  <a:moveTo>
                    <a:pt x="267" y="298"/>
                  </a:moveTo>
                  <a:lnTo>
                    <a:pt x="267" y="300"/>
                  </a:lnTo>
                  <a:lnTo>
                    <a:pt x="269" y="300"/>
                  </a:lnTo>
                  <a:lnTo>
                    <a:pt x="269" y="302"/>
                  </a:lnTo>
                  <a:lnTo>
                    <a:pt x="267" y="302"/>
                  </a:lnTo>
                  <a:lnTo>
                    <a:pt x="267" y="300"/>
                  </a:lnTo>
                  <a:lnTo>
                    <a:pt x="265" y="300"/>
                  </a:lnTo>
                  <a:lnTo>
                    <a:pt x="261" y="298"/>
                  </a:lnTo>
                  <a:lnTo>
                    <a:pt x="260" y="300"/>
                  </a:lnTo>
                  <a:lnTo>
                    <a:pt x="258" y="298"/>
                  </a:lnTo>
                  <a:lnTo>
                    <a:pt x="258" y="300"/>
                  </a:lnTo>
                  <a:lnTo>
                    <a:pt x="256" y="300"/>
                  </a:lnTo>
                  <a:lnTo>
                    <a:pt x="256" y="302"/>
                  </a:lnTo>
                  <a:lnTo>
                    <a:pt x="254" y="302"/>
                  </a:lnTo>
                  <a:lnTo>
                    <a:pt x="254" y="304"/>
                  </a:lnTo>
                  <a:lnTo>
                    <a:pt x="252" y="304"/>
                  </a:lnTo>
                  <a:lnTo>
                    <a:pt x="250" y="306"/>
                  </a:lnTo>
                  <a:lnTo>
                    <a:pt x="248" y="306"/>
                  </a:lnTo>
                  <a:lnTo>
                    <a:pt x="246" y="306"/>
                  </a:lnTo>
                  <a:lnTo>
                    <a:pt x="244" y="308"/>
                  </a:lnTo>
                  <a:lnTo>
                    <a:pt x="242" y="310"/>
                  </a:lnTo>
                  <a:lnTo>
                    <a:pt x="240" y="311"/>
                  </a:lnTo>
                  <a:lnTo>
                    <a:pt x="238" y="311"/>
                  </a:lnTo>
                  <a:lnTo>
                    <a:pt x="235" y="313"/>
                  </a:lnTo>
                  <a:lnTo>
                    <a:pt x="233" y="315"/>
                  </a:lnTo>
                  <a:lnTo>
                    <a:pt x="233" y="317"/>
                  </a:lnTo>
                  <a:lnTo>
                    <a:pt x="231" y="317"/>
                  </a:lnTo>
                  <a:lnTo>
                    <a:pt x="229" y="313"/>
                  </a:lnTo>
                  <a:lnTo>
                    <a:pt x="229" y="311"/>
                  </a:lnTo>
                  <a:lnTo>
                    <a:pt x="227" y="310"/>
                  </a:lnTo>
                  <a:lnTo>
                    <a:pt x="229" y="308"/>
                  </a:lnTo>
                  <a:lnTo>
                    <a:pt x="229" y="306"/>
                  </a:lnTo>
                  <a:lnTo>
                    <a:pt x="229" y="304"/>
                  </a:lnTo>
                  <a:lnTo>
                    <a:pt x="229" y="302"/>
                  </a:lnTo>
                  <a:lnTo>
                    <a:pt x="231" y="302"/>
                  </a:lnTo>
                  <a:lnTo>
                    <a:pt x="233" y="300"/>
                  </a:lnTo>
                  <a:lnTo>
                    <a:pt x="235" y="300"/>
                  </a:lnTo>
                  <a:lnTo>
                    <a:pt x="235" y="298"/>
                  </a:lnTo>
                  <a:lnTo>
                    <a:pt x="238" y="296"/>
                  </a:lnTo>
                  <a:lnTo>
                    <a:pt x="240" y="294"/>
                  </a:lnTo>
                  <a:lnTo>
                    <a:pt x="242" y="292"/>
                  </a:lnTo>
                  <a:lnTo>
                    <a:pt x="246" y="292"/>
                  </a:lnTo>
                  <a:lnTo>
                    <a:pt x="248" y="292"/>
                  </a:lnTo>
                  <a:lnTo>
                    <a:pt x="250" y="292"/>
                  </a:lnTo>
                  <a:lnTo>
                    <a:pt x="252" y="292"/>
                  </a:lnTo>
                  <a:lnTo>
                    <a:pt x="254" y="292"/>
                  </a:lnTo>
                  <a:lnTo>
                    <a:pt x="256" y="294"/>
                  </a:lnTo>
                  <a:lnTo>
                    <a:pt x="265" y="298"/>
                  </a:lnTo>
                  <a:lnTo>
                    <a:pt x="267" y="298"/>
                  </a:lnTo>
                  <a:close/>
                  <a:moveTo>
                    <a:pt x="246" y="288"/>
                  </a:moveTo>
                  <a:lnTo>
                    <a:pt x="248" y="290"/>
                  </a:lnTo>
                  <a:lnTo>
                    <a:pt x="244" y="288"/>
                  </a:lnTo>
                  <a:lnTo>
                    <a:pt x="242" y="290"/>
                  </a:lnTo>
                  <a:lnTo>
                    <a:pt x="240" y="290"/>
                  </a:lnTo>
                  <a:lnTo>
                    <a:pt x="242" y="288"/>
                  </a:lnTo>
                  <a:lnTo>
                    <a:pt x="244" y="288"/>
                  </a:lnTo>
                  <a:lnTo>
                    <a:pt x="246" y="288"/>
                  </a:lnTo>
                  <a:close/>
                  <a:moveTo>
                    <a:pt x="192" y="277"/>
                  </a:moveTo>
                  <a:lnTo>
                    <a:pt x="194" y="277"/>
                  </a:lnTo>
                  <a:lnTo>
                    <a:pt x="196" y="277"/>
                  </a:lnTo>
                  <a:lnTo>
                    <a:pt x="200" y="277"/>
                  </a:lnTo>
                  <a:lnTo>
                    <a:pt x="200" y="279"/>
                  </a:lnTo>
                  <a:lnTo>
                    <a:pt x="202" y="279"/>
                  </a:lnTo>
                  <a:lnTo>
                    <a:pt x="204" y="279"/>
                  </a:lnTo>
                  <a:lnTo>
                    <a:pt x="206" y="279"/>
                  </a:lnTo>
                  <a:lnTo>
                    <a:pt x="208" y="279"/>
                  </a:lnTo>
                  <a:lnTo>
                    <a:pt x="208" y="281"/>
                  </a:lnTo>
                  <a:lnTo>
                    <a:pt x="210" y="281"/>
                  </a:lnTo>
                  <a:lnTo>
                    <a:pt x="212" y="281"/>
                  </a:lnTo>
                  <a:lnTo>
                    <a:pt x="213" y="281"/>
                  </a:lnTo>
                  <a:lnTo>
                    <a:pt x="215" y="283"/>
                  </a:lnTo>
                  <a:lnTo>
                    <a:pt x="217" y="283"/>
                  </a:lnTo>
                  <a:lnTo>
                    <a:pt x="217" y="285"/>
                  </a:lnTo>
                  <a:lnTo>
                    <a:pt x="217" y="286"/>
                  </a:lnTo>
                  <a:lnTo>
                    <a:pt x="217" y="288"/>
                  </a:lnTo>
                  <a:lnTo>
                    <a:pt x="215" y="288"/>
                  </a:lnTo>
                  <a:lnTo>
                    <a:pt x="215" y="292"/>
                  </a:lnTo>
                  <a:lnTo>
                    <a:pt x="213" y="292"/>
                  </a:lnTo>
                  <a:lnTo>
                    <a:pt x="213" y="294"/>
                  </a:lnTo>
                  <a:lnTo>
                    <a:pt x="213" y="292"/>
                  </a:lnTo>
                  <a:lnTo>
                    <a:pt x="212" y="294"/>
                  </a:lnTo>
                  <a:lnTo>
                    <a:pt x="210" y="296"/>
                  </a:lnTo>
                  <a:lnTo>
                    <a:pt x="210" y="294"/>
                  </a:lnTo>
                  <a:lnTo>
                    <a:pt x="210" y="292"/>
                  </a:lnTo>
                  <a:lnTo>
                    <a:pt x="208" y="292"/>
                  </a:lnTo>
                  <a:lnTo>
                    <a:pt x="208" y="290"/>
                  </a:lnTo>
                  <a:lnTo>
                    <a:pt x="206" y="292"/>
                  </a:lnTo>
                  <a:lnTo>
                    <a:pt x="208" y="292"/>
                  </a:lnTo>
                  <a:lnTo>
                    <a:pt x="208" y="294"/>
                  </a:lnTo>
                  <a:lnTo>
                    <a:pt x="210" y="294"/>
                  </a:lnTo>
                  <a:lnTo>
                    <a:pt x="210" y="296"/>
                  </a:lnTo>
                  <a:lnTo>
                    <a:pt x="208" y="294"/>
                  </a:lnTo>
                  <a:lnTo>
                    <a:pt x="206" y="292"/>
                  </a:lnTo>
                  <a:lnTo>
                    <a:pt x="204" y="292"/>
                  </a:lnTo>
                  <a:lnTo>
                    <a:pt x="200" y="292"/>
                  </a:lnTo>
                  <a:lnTo>
                    <a:pt x="198" y="292"/>
                  </a:lnTo>
                  <a:lnTo>
                    <a:pt x="196" y="292"/>
                  </a:lnTo>
                  <a:lnTo>
                    <a:pt x="198" y="294"/>
                  </a:lnTo>
                  <a:lnTo>
                    <a:pt x="196" y="294"/>
                  </a:lnTo>
                  <a:lnTo>
                    <a:pt x="196" y="292"/>
                  </a:lnTo>
                  <a:lnTo>
                    <a:pt x="196" y="294"/>
                  </a:lnTo>
                  <a:lnTo>
                    <a:pt x="194" y="294"/>
                  </a:lnTo>
                  <a:lnTo>
                    <a:pt x="196" y="294"/>
                  </a:lnTo>
                  <a:lnTo>
                    <a:pt x="196" y="292"/>
                  </a:lnTo>
                  <a:lnTo>
                    <a:pt x="194" y="294"/>
                  </a:lnTo>
                  <a:lnTo>
                    <a:pt x="192" y="294"/>
                  </a:lnTo>
                  <a:lnTo>
                    <a:pt x="190" y="296"/>
                  </a:lnTo>
                  <a:lnTo>
                    <a:pt x="192" y="294"/>
                  </a:lnTo>
                  <a:lnTo>
                    <a:pt x="190" y="294"/>
                  </a:lnTo>
                  <a:lnTo>
                    <a:pt x="190" y="296"/>
                  </a:lnTo>
                  <a:lnTo>
                    <a:pt x="190" y="294"/>
                  </a:lnTo>
                  <a:lnTo>
                    <a:pt x="189" y="294"/>
                  </a:lnTo>
                  <a:lnTo>
                    <a:pt x="187" y="296"/>
                  </a:lnTo>
                  <a:lnTo>
                    <a:pt x="185" y="296"/>
                  </a:lnTo>
                  <a:lnTo>
                    <a:pt x="185" y="298"/>
                  </a:lnTo>
                  <a:lnTo>
                    <a:pt x="183" y="298"/>
                  </a:lnTo>
                  <a:lnTo>
                    <a:pt x="183" y="300"/>
                  </a:lnTo>
                  <a:lnTo>
                    <a:pt x="181" y="300"/>
                  </a:lnTo>
                  <a:lnTo>
                    <a:pt x="179" y="302"/>
                  </a:lnTo>
                  <a:lnTo>
                    <a:pt x="181" y="302"/>
                  </a:lnTo>
                  <a:lnTo>
                    <a:pt x="179" y="302"/>
                  </a:lnTo>
                  <a:lnTo>
                    <a:pt x="179" y="304"/>
                  </a:lnTo>
                  <a:lnTo>
                    <a:pt x="179" y="302"/>
                  </a:lnTo>
                  <a:lnTo>
                    <a:pt x="177" y="304"/>
                  </a:lnTo>
                  <a:lnTo>
                    <a:pt x="175" y="304"/>
                  </a:lnTo>
                  <a:lnTo>
                    <a:pt x="177" y="304"/>
                  </a:lnTo>
                  <a:lnTo>
                    <a:pt x="175" y="304"/>
                  </a:lnTo>
                  <a:lnTo>
                    <a:pt x="173" y="306"/>
                  </a:lnTo>
                  <a:lnTo>
                    <a:pt x="171" y="306"/>
                  </a:lnTo>
                  <a:lnTo>
                    <a:pt x="171" y="308"/>
                  </a:lnTo>
                  <a:lnTo>
                    <a:pt x="171" y="306"/>
                  </a:lnTo>
                  <a:lnTo>
                    <a:pt x="171" y="308"/>
                  </a:lnTo>
                  <a:lnTo>
                    <a:pt x="169" y="308"/>
                  </a:lnTo>
                  <a:lnTo>
                    <a:pt x="167" y="308"/>
                  </a:lnTo>
                  <a:lnTo>
                    <a:pt x="169" y="308"/>
                  </a:lnTo>
                  <a:lnTo>
                    <a:pt x="167" y="308"/>
                  </a:lnTo>
                  <a:lnTo>
                    <a:pt x="167" y="310"/>
                  </a:lnTo>
                  <a:lnTo>
                    <a:pt x="165" y="310"/>
                  </a:lnTo>
                  <a:lnTo>
                    <a:pt x="164" y="310"/>
                  </a:lnTo>
                  <a:lnTo>
                    <a:pt x="162" y="311"/>
                  </a:lnTo>
                  <a:lnTo>
                    <a:pt x="164" y="311"/>
                  </a:lnTo>
                  <a:lnTo>
                    <a:pt x="162" y="311"/>
                  </a:lnTo>
                  <a:lnTo>
                    <a:pt x="160" y="311"/>
                  </a:lnTo>
                  <a:lnTo>
                    <a:pt x="158" y="313"/>
                  </a:lnTo>
                  <a:lnTo>
                    <a:pt x="156" y="313"/>
                  </a:lnTo>
                  <a:lnTo>
                    <a:pt x="154" y="313"/>
                  </a:lnTo>
                  <a:lnTo>
                    <a:pt x="152" y="315"/>
                  </a:lnTo>
                  <a:lnTo>
                    <a:pt x="150" y="315"/>
                  </a:lnTo>
                  <a:lnTo>
                    <a:pt x="148" y="315"/>
                  </a:lnTo>
                  <a:lnTo>
                    <a:pt x="146" y="315"/>
                  </a:lnTo>
                  <a:lnTo>
                    <a:pt x="146" y="317"/>
                  </a:lnTo>
                  <a:lnTo>
                    <a:pt x="146" y="315"/>
                  </a:lnTo>
                  <a:lnTo>
                    <a:pt x="144" y="317"/>
                  </a:lnTo>
                  <a:lnTo>
                    <a:pt x="142" y="317"/>
                  </a:lnTo>
                  <a:lnTo>
                    <a:pt x="141" y="317"/>
                  </a:lnTo>
                  <a:lnTo>
                    <a:pt x="139" y="317"/>
                  </a:lnTo>
                  <a:lnTo>
                    <a:pt x="139" y="319"/>
                  </a:lnTo>
                  <a:lnTo>
                    <a:pt x="139" y="317"/>
                  </a:lnTo>
                  <a:lnTo>
                    <a:pt x="137" y="319"/>
                  </a:lnTo>
                  <a:lnTo>
                    <a:pt x="135" y="319"/>
                  </a:lnTo>
                  <a:lnTo>
                    <a:pt x="133" y="319"/>
                  </a:lnTo>
                  <a:lnTo>
                    <a:pt x="125" y="323"/>
                  </a:lnTo>
                  <a:lnTo>
                    <a:pt x="123" y="323"/>
                  </a:lnTo>
                  <a:lnTo>
                    <a:pt x="121" y="323"/>
                  </a:lnTo>
                  <a:lnTo>
                    <a:pt x="119" y="323"/>
                  </a:lnTo>
                  <a:lnTo>
                    <a:pt x="119" y="325"/>
                  </a:lnTo>
                  <a:lnTo>
                    <a:pt x="118" y="325"/>
                  </a:lnTo>
                  <a:lnTo>
                    <a:pt x="116" y="325"/>
                  </a:lnTo>
                  <a:lnTo>
                    <a:pt x="116" y="327"/>
                  </a:lnTo>
                  <a:lnTo>
                    <a:pt x="114" y="327"/>
                  </a:lnTo>
                  <a:lnTo>
                    <a:pt x="112" y="329"/>
                  </a:lnTo>
                  <a:lnTo>
                    <a:pt x="110" y="329"/>
                  </a:lnTo>
                  <a:lnTo>
                    <a:pt x="110" y="331"/>
                  </a:lnTo>
                  <a:lnTo>
                    <a:pt x="108" y="331"/>
                  </a:lnTo>
                  <a:lnTo>
                    <a:pt x="110" y="331"/>
                  </a:lnTo>
                  <a:lnTo>
                    <a:pt x="108" y="331"/>
                  </a:lnTo>
                  <a:lnTo>
                    <a:pt x="108" y="333"/>
                  </a:lnTo>
                  <a:lnTo>
                    <a:pt x="108" y="335"/>
                  </a:lnTo>
                  <a:lnTo>
                    <a:pt x="106" y="335"/>
                  </a:lnTo>
                  <a:lnTo>
                    <a:pt x="108" y="335"/>
                  </a:lnTo>
                  <a:lnTo>
                    <a:pt x="108" y="336"/>
                  </a:lnTo>
                  <a:lnTo>
                    <a:pt x="108" y="338"/>
                  </a:lnTo>
                  <a:lnTo>
                    <a:pt x="108" y="340"/>
                  </a:lnTo>
                  <a:lnTo>
                    <a:pt x="110" y="340"/>
                  </a:lnTo>
                  <a:lnTo>
                    <a:pt x="108" y="340"/>
                  </a:lnTo>
                  <a:lnTo>
                    <a:pt x="108" y="342"/>
                  </a:lnTo>
                  <a:lnTo>
                    <a:pt x="110" y="342"/>
                  </a:lnTo>
                  <a:lnTo>
                    <a:pt x="110" y="344"/>
                  </a:lnTo>
                  <a:lnTo>
                    <a:pt x="110" y="346"/>
                  </a:lnTo>
                  <a:lnTo>
                    <a:pt x="112" y="344"/>
                  </a:lnTo>
                  <a:lnTo>
                    <a:pt x="114" y="344"/>
                  </a:lnTo>
                  <a:lnTo>
                    <a:pt x="114" y="346"/>
                  </a:lnTo>
                  <a:lnTo>
                    <a:pt x="112" y="346"/>
                  </a:lnTo>
                  <a:lnTo>
                    <a:pt x="110" y="346"/>
                  </a:lnTo>
                  <a:lnTo>
                    <a:pt x="108" y="346"/>
                  </a:lnTo>
                  <a:lnTo>
                    <a:pt x="106" y="346"/>
                  </a:lnTo>
                  <a:lnTo>
                    <a:pt x="104" y="346"/>
                  </a:lnTo>
                  <a:lnTo>
                    <a:pt x="100" y="348"/>
                  </a:lnTo>
                  <a:lnTo>
                    <a:pt x="98" y="348"/>
                  </a:lnTo>
                  <a:lnTo>
                    <a:pt x="98" y="350"/>
                  </a:lnTo>
                  <a:lnTo>
                    <a:pt x="96" y="350"/>
                  </a:lnTo>
                  <a:lnTo>
                    <a:pt x="98" y="350"/>
                  </a:lnTo>
                  <a:lnTo>
                    <a:pt x="98" y="352"/>
                  </a:lnTo>
                  <a:lnTo>
                    <a:pt x="96" y="352"/>
                  </a:lnTo>
                  <a:lnTo>
                    <a:pt x="94" y="352"/>
                  </a:lnTo>
                  <a:lnTo>
                    <a:pt x="94" y="354"/>
                  </a:lnTo>
                  <a:lnTo>
                    <a:pt x="93" y="354"/>
                  </a:lnTo>
                  <a:lnTo>
                    <a:pt x="94" y="354"/>
                  </a:lnTo>
                  <a:lnTo>
                    <a:pt x="93" y="356"/>
                  </a:lnTo>
                  <a:lnTo>
                    <a:pt x="93" y="354"/>
                  </a:lnTo>
                  <a:lnTo>
                    <a:pt x="91" y="354"/>
                  </a:lnTo>
                  <a:lnTo>
                    <a:pt x="89" y="354"/>
                  </a:lnTo>
                  <a:lnTo>
                    <a:pt x="87" y="354"/>
                  </a:lnTo>
                  <a:lnTo>
                    <a:pt x="89" y="354"/>
                  </a:lnTo>
                  <a:lnTo>
                    <a:pt x="89" y="356"/>
                  </a:lnTo>
                  <a:lnTo>
                    <a:pt x="91" y="356"/>
                  </a:lnTo>
                  <a:lnTo>
                    <a:pt x="93" y="356"/>
                  </a:lnTo>
                  <a:lnTo>
                    <a:pt x="93" y="358"/>
                  </a:lnTo>
                  <a:lnTo>
                    <a:pt x="91" y="359"/>
                  </a:lnTo>
                  <a:lnTo>
                    <a:pt x="89" y="359"/>
                  </a:lnTo>
                  <a:lnTo>
                    <a:pt x="87" y="359"/>
                  </a:lnTo>
                  <a:lnTo>
                    <a:pt x="85" y="358"/>
                  </a:lnTo>
                  <a:lnTo>
                    <a:pt x="83" y="358"/>
                  </a:lnTo>
                  <a:lnTo>
                    <a:pt x="83" y="359"/>
                  </a:lnTo>
                  <a:lnTo>
                    <a:pt x="83" y="361"/>
                  </a:lnTo>
                  <a:lnTo>
                    <a:pt x="83" y="363"/>
                  </a:lnTo>
                  <a:lnTo>
                    <a:pt x="81" y="363"/>
                  </a:lnTo>
                  <a:lnTo>
                    <a:pt x="79" y="363"/>
                  </a:lnTo>
                  <a:lnTo>
                    <a:pt x="77" y="365"/>
                  </a:lnTo>
                  <a:lnTo>
                    <a:pt x="75" y="365"/>
                  </a:lnTo>
                  <a:lnTo>
                    <a:pt x="73" y="367"/>
                  </a:lnTo>
                  <a:lnTo>
                    <a:pt x="71" y="367"/>
                  </a:lnTo>
                  <a:lnTo>
                    <a:pt x="71" y="369"/>
                  </a:lnTo>
                  <a:lnTo>
                    <a:pt x="73" y="371"/>
                  </a:lnTo>
                  <a:lnTo>
                    <a:pt x="75" y="371"/>
                  </a:lnTo>
                  <a:lnTo>
                    <a:pt x="75" y="373"/>
                  </a:lnTo>
                  <a:lnTo>
                    <a:pt x="73" y="375"/>
                  </a:lnTo>
                  <a:lnTo>
                    <a:pt x="73" y="377"/>
                  </a:lnTo>
                  <a:lnTo>
                    <a:pt x="73" y="379"/>
                  </a:lnTo>
                  <a:lnTo>
                    <a:pt x="73" y="381"/>
                  </a:lnTo>
                  <a:lnTo>
                    <a:pt x="71" y="381"/>
                  </a:lnTo>
                  <a:lnTo>
                    <a:pt x="71" y="383"/>
                  </a:lnTo>
                  <a:lnTo>
                    <a:pt x="70" y="384"/>
                  </a:lnTo>
                  <a:lnTo>
                    <a:pt x="68" y="384"/>
                  </a:lnTo>
                  <a:lnTo>
                    <a:pt x="66" y="384"/>
                  </a:lnTo>
                  <a:lnTo>
                    <a:pt x="64" y="386"/>
                  </a:lnTo>
                  <a:lnTo>
                    <a:pt x="62" y="388"/>
                  </a:lnTo>
                  <a:lnTo>
                    <a:pt x="60" y="390"/>
                  </a:lnTo>
                  <a:lnTo>
                    <a:pt x="56" y="392"/>
                  </a:lnTo>
                  <a:lnTo>
                    <a:pt x="54" y="392"/>
                  </a:lnTo>
                  <a:lnTo>
                    <a:pt x="54" y="394"/>
                  </a:lnTo>
                  <a:lnTo>
                    <a:pt x="54" y="396"/>
                  </a:lnTo>
                  <a:lnTo>
                    <a:pt x="52" y="396"/>
                  </a:lnTo>
                  <a:lnTo>
                    <a:pt x="48" y="394"/>
                  </a:lnTo>
                  <a:lnTo>
                    <a:pt x="41" y="394"/>
                  </a:lnTo>
                  <a:lnTo>
                    <a:pt x="35" y="392"/>
                  </a:lnTo>
                  <a:lnTo>
                    <a:pt x="33" y="392"/>
                  </a:lnTo>
                  <a:lnTo>
                    <a:pt x="31" y="392"/>
                  </a:lnTo>
                  <a:lnTo>
                    <a:pt x="29" y="392"/>
                  </a:lnTo>
                  <a:lnTo>
                    <a:pt x="27" y="394"/>
                  </a:lnTo>
                  <a:lnTo>
                    <a:pt x="23" y="394"/>
                  </a:lnTo>
                  <a:lnTo>
                    <a:pt x="20" y="398"/>
                  </a:lnTo>
                  <a:lnTo>
                    <a:pt x="16" y="400"/>
                  </a:lnTo>
                  <a:lnTo>
                    <a:pt x="16" y="402"/>
                  </a:lnTo>
                  <a:lnTo>
                    <a:pt x="14" y="402"/>
                  </a:lnTo>
                  <a:lnTo>
                    <a:pt x="10" y="404"/>
                  </a:lnTo>
                  <a:lnTo>
                    <a:pt x="8" y="404"/>
                  </a:lnTo>
                  <a:lnTo>
                    <a:pt x="6" y="404"/>
                  </a:lnTo>
                  <a:lnTo>
                    <a:pt x="4" y="404"/>
                  </a:lnTo>
                  <a:lnTo>
                    <a:pt x="4" y="402"/>
                  </a:lnTo>
                  <a:lnTo>
                    <a:pt x="2" y="402"/>
                  </a:lnTo>
                  <a:lnTo>
                    <a:pt x="2" y="400"/>
                  </a:lnTo>
                  <a:lnTo>
                    <a:pt x="2" y="398"/>
                  </a:lnTo>
                  <a:lnTo>
                    <a:pt x="2" y="394"/>
                  </a:lnTo>
                  <a:lnTo>
                    <a:pt x="2" y="392"/>
                  </a:lnTo>
                  <a:lnTo>
                    <a:pt x="0" y="392"/>
                  </a:lnTo>
                  <a:lnTo>
                    <a:pt x="0" y="390"/>
                  </a:lnTo>
                  <a:lnTo>
                    <a:pt x="0" y="388"/>
                  </a:lnTo>
                  <a:lnTo>
                    <a:pt x="0" y="386"/>
                  </a:lnTo>
                  <a:lnTo>
                    <a:pt x="2" y="384"/>
                  </a:lnTo>
                  <a:lnTo>
                    <a:pt x="4" y="384"/>
                  </a:lnTo>
                  <a:lnTo>
                    <a:pt x="6" y="383"/>
                  </a:lnTo>
                  <a:lnTo>
                    <a:pt x="8" y="381"/>
                  </a:lnTo>
                  <a:lnTo>
                    <a:pt x="12" y="379"/>
                  </a:lnTo>
                  <a:lnTo>
                    <a:pt x="18" y="377"/>
                  </a:lnTo>
                  <a:lnTo>
                    <a:pt x="20" y="375"/>
                  </a:lnTo>
                  <a:lnTo>
                    <a:pt x="22" y="375"/>
                  </a:lnTo>
                  <a:lnTo>
                    <a:pt x="23" y="373"/>
                  </a:lnTo>
                  <a:lnTo>
                    <a:pt x="25" y="373"/>
                  </a:lnTo>
                  <a:lnTo>
                    <a:pt x="27" y="371"/>
                  </a:lnTo>
                  <a:lnTo>
                    <a:pt x="29" y="369"/>
                  </a:lnTo>
                  <a:lnTo>
                    <a:pt x="41" y="363"/>
                  </a:lnTo>
                  <a:lnTo>
                    <a:pt x="45" y="361"/>
                  </a:lnTo>
                  <a:lnTo>
                    <a:pt x="48" y="358"/>
                  </a:lnTo>
                  <a:lnTo>
                    <a:pt x="50" y="358"/>
                  </a:lnTo>
                  <a:lnTo>
                    <a:pt x="54" y="356"/>
                  </a:lnTo>
                  <a:lnTo>
                    <a:pt x="58" y="352"/>
                  </a:lnTo>
                  <a:lnTo>
                    <a:pt x="60" y="350"/>
                  </a:lnTo>
                  <a:lnTo>
                    <a:pt x="66" y="348"/>
                  </a:lnTo>
                  <a:lnTo>
                    <a:pt x="70" y="344"/>
                  </a:lnTo>
                  <a:lnTo>
                    <a:pt x="73" y="342"/>
                  </a:lnTo>
                  <a:lnTo>
                    <a:pt x="73" y="340"/>
                  </a:lnTo>
                  <a:lnTo>
                    <a:pt x="73" y="342"/>
                  </a:lnTo>
                  <a:lnTo>
                    <a:pt x="77" y="338"/>
                  </a:lnTo>
                  <a:lnTo>
                    <a:pt x="75" y="338"/>
                  </a:lnTo>
                  <a:lnTo>
                    <a:pt x="77" y="338"/>
                  </a:lnTo>
                  <a:lnTo>
                    <a:pt x="79" y="336"/>
                  </a:lnTo>
                  <a:lnTo>
                    <a:pt x="83" y="335"/>
                  </a:lnTo>
                  <a:lnTo>
                    <a:pt x="81" y="333"/>
                  </a:lnTo>
                  <a:lnTo>
                    <a:pt x="83" y="335"/>
                  </a:lnTo>
                  <a:lnTo>
                    <a:pt x="85" y="333"/>
                  </a:lnTo>
                  <a:lnTo>
                    <a:pt x="83" y="331"/>
                  </a:lnTo>
                  <a:lnTo>
                    <a:pt x="87" y="333"/>
                  </a:lnTo>
                  <a:lnTo>
                    <a:pt x="87" y="331"/>
                  </a:lnTo>
                  <a:lnTo>
                    <a:pt x="89" y="329"/>
                  </a:lnTo>
                  <a:lnTo>
                    <a:pt x="87" y="327"/>
                  </a:lnTo>
                  <a:lnTo>
                    <a:pt x="89" y="329"/>
                  </a:lnTo>
                  <a:lnTo>
                    <a:pt x="91" y="327"/>
                  </a:lnTo>
                  <a:lnTo>
                    <a:pt x="89" y="325"/>
                  </a:lnTo>
                  <a:lnTo>
                    <a:pt x="91" y="327"/>
                  </a:lnTo>
                  <a:lnTo>
                    <a:pt x="93" y="325"/>
                  </a:lnTo>
                  <a:lnTo>
                    <a:pt x="94" y="325"/>
                  </a:lnTo>
                  <a:lnTo>
                    <a:pt x="93" y="321"/>
                  </a:lnTo>
                  <a:lnTo>
                    <a:pt x="94" y="323"/>
                  </a:lnTo>
                  <a:lnTo>
                    <a:pt x="96" y="323"/>
                  </a:lnTo>
                  <a:lnTo>
                    <a:pt x="98" y="323"/>
                  </a:lnTo>
                  <a:lnTo>
                    <a:pt x="98" y="321"/>
                  </a:lnTo>
                  <a:lnTo>
                    <a:pt x="96" y="319"/>
                  </a:lnTo>
                  <a:lnTo>
                    <a:pt x="98" y="321"/>
                  </a:lnTo>
                  <a:lnTo>
                    <a:pt x="100" y="321"/>
                  </a:lnTo>
                  <a:lnTo>
                    <a:pt x="100" y="319"/>
                  </a:lnTo>
                  <a:lnTo>
                    <a:pt x="102" y="319"/>
                  </a:lnTo>
                  <a:lnTo>
                    <a:pt x="100" y="317"/>
                  </a:lnTo>
                  <a:lnTo>
                    <a:pt x="102" y="319"/>
                  </a:lnTo>
                  <a:lnTo>
                    <a:pt x="104" y="317"/>
                  </a:lnTo>
                  <a:lnTo>
                    <a:pt x="102" y="315"/>
                  </a:lnTo>
                  <a:lnTo>
                    <a:pt x="104" y="317"/>
                  </a:lnTo>
                  <a:lnTo>
                    <a:pt x="106" y="317"/>
                  </a:lnTo>
                  <a:lnTo>
                    <a:pt x="104" y="313"/>
                  </a:lnTo>
                  <a:lnTo>
                    <a:pt x="106" y="315"/>
                  </a:lnTo>
                  <a:lnTo>
                    <a:pt x="108" y="315"/>
                  </a:lnTo>
                  <a:lnTo>
                    <a:pt x="106" y="313"/>
                  </a:lnTo>
                  <a:lnTo>
                    <a:pt x="108" y="315"/>
                  </a:lnTo>
                  <a:lnTo>
                    <a:pt x="110" y="313"/>
                  </a:lnTo>
                  <a:lnTo>
                    <a:pt x="108" y="311"/>
                  </a:lnTo>
                  <a:lnTo>
                    <a:pt x="110" y="313"/>
                  </a:lnTo>
                  <a:lnTo>
                    <a:pt x="112" y="313"/>
                  </a:lnTo>
                  <a:lnTo>
                    <a:pt x="112" y="311"/>
                  </a:lnTo>
                  <a:lnTo>
                    <a:pt x="110" y="310"/>
                  </a:lnTo>
                  <a:lnTo>
                    <a:pt x="112" y="311"/>
                  </a:lnTo>
                  <a:lnTo>
                    <a:pt x="114" y="311"/>
                  </a:lnTo>
                  <a:lnTo>
                    <a:pt x="112" y="310"/>
                  </a:lnTo>
                  <a:lnTo>
                    <a:pt x="114" y="311"/>
                  </a:lnTo>
                  <a:lnTo>
                    <a:pt x="116" y="310"/>
                  </a:lnTo>
                  <a:lnTo>
                    <a:pt x="114" y="308"/>
                  </a:lnTo>
                  <a:lnTo>
                    <a:pt x="116" y="310"/>
                  </a:lnTo>
                  <a:lnTo>
                    <a:pt x="118" y="310"/>
                  </a:lnTo>
                  <a:lnTo>
                    <a:pt x="116" y="308"/>
                  </a:lnTo>
                  <a:lnTo>
                    <a:pt x="118" y="310"/>
                  </a:lnTo>
                  <a:lnTo>
                    <a:pt x="119" y="308"/>
                  </a:lnTo>
                  <a:lnTo>
                    <a:pt x="118" y="306"/>
                  </a:lnTo>
                  <a:lnTo>
                    <a:pt x="119" y="308"/>
                  </a:lnTo>
                  <a:lnTo>
                    <a:pt x="121" y="308"/>
                  </a:lnTo>
                  <a:lnTo>
                    <a:pt x="119" y="306"/>
                  </a:lnTo>
                  <a:lnTo>
                    <a:pt x="121" y="308"/>
                  </a:lnTo>
                  <a:lnTo>
                    <a:pt x="121" y="306"/>
                  </a:lnTo>
                  <a:lnTo>
                    <a:pt x="123" y="306"/>
                  </a:lnTo>
                  <a:lnTo>
                    <a:pt x="121" y="304"/>
                  </a:lnTo>
                  <a:lnTo>
                    <a:pt x="123" y="306"/>
                  </a:lnTo>
                  <a:lnTo>
                    <a:pt x="125" y="304"/>
                  </a:lnTo>
                  <a:lnTo>
                    <a:pt x="123" y="302"/>
                  </a:lnTo>
                  <a:lnTo>
                    <a:pt x="125" y="304"/>
                  </a:lnTo>
                  <a:lnTo>
                    <a:pt x="127" y="304"/>
                  </a:lnTo>
                  <a:lnTo>
                    <a:pt x="125" y="302"/>
                  </a:lnTo>
                  <a:lnTo>
                    <a:pt x="127" y="304"/>
                  </a:lnTo>
                  <a:lnTo>
                    <a:pt x="129" y="302"/>
                  </a:lnTo>
                  <a:lnTo>
                    <a:pt x="127" y="300"/>
                  </a:lnTo>
                  <a:lnTo>
                    <a:pt x="129" y="302"/>
                  </a:lnTo>
                  <a:lnTo>
                    <a:pt x="131" y="302"/>
                  </a:lnTo>
                  <a:lnTo>
                    <a:pt x="129" y="300"/>
                  </a:lnTo>
                  <a:lnTo>
                    <a:pt x="131" y="302"/>
                  </a:lnTo>
                  <a:lnTo>
                    <a:pt x="131" y="300"/>
                  </a:lnTo>
                  <a:lnTo>
                    <a:pt x="133" y="300"/>
                  </a:lnTo>
                  <a:lnTo>
                    <a:pt x="131" y="298"/>
                  </a:lnTo>
                  <a:lnTo>
                    <a:pt x="133" y="300"/>
                  </a:lnTo>
                  <a:lnTo>
                    <a:pt x="135" y="300"/>
                  </a:lnTo>
                  <a:lnTo>
                    <a:pt x="135" y="298"/>
                  </a:lnTo>
                  <a:lnTo>
                    <a:pt x="133" y="296"/>
                  </a:lnTo>
                  <a:lnTo>
                    <a:pt x="135" y="298"/>
                  </a:lnTo>
                  <a:lnTo>
                    <a:pt x="137" y="298"/>
                  </a:lnTo>
                  <a:lnTo>
                    <a:pt x="135" y="296"/>
                  </a:lnTo>
                  <a:lnTo>
                    <a:pt x="137" y="298"/>
                  </a:lnTo>
                  <a:lnTo>
                    <a:pt x="139" y="296"/>
                  </a:lnTo>
                  <a:lnTo>
                    <a:pt x="137" y="294"/>
                  </a:lnTo>
                  <a:lnTo>
                    <a:pt x="139" y="296"/>
                  </a:lnTo>
                  <a:lnTo>
                    <a:pt x="141" y="296"/>
                  </a:lnTo>
                  <a:lnTo>
                    <a:pt x="139" y="294"/>
                  </a:lnTo>
                  <a:lnTo>
                    <a:pt x="141" y="296"/>
                  </a:lnTo>
                  <a:lnTo>
                    <a:pt x="142" y="294"/>
                  </a:lnTo>
                  <a:lnTo>
                    <a:pt x="142" y="292"/>
                  </a:lnTo>
                  <a:lnTo>
                    <a:pt x="142" y="294"/>
                  </a:lnTo>
                  <a:lnTo>
                    <a:pt x="144" y="294"/>
                  </a:lnTo>
                  <a:lnTo>
                    <a:pt x="144" y="292"/>
                  </a:lnTo>
                  <a:lnTo>
                    <a:pt x="144" y="294"/>
                  </a:lnTo>
                  <a:lnTo>
                    <a:pt x="146" y="292"/>
                  </a:lnTo>
                  <a:lnTo>
                    <a:pt x="146" y="290"/>
                  </a:lnTo>
                  <a:lnTo>
                    <a:pt x="146" y="292"/>
                  </a:lnTo>
                  <a:lnTo>
                    <a:pt x="148" y="292"/>
                  </a:lnTo>
                  <a:lnTo>
                    <a:pt x="150" y="290"/>
                  </a:lnTo>
                  <a:lnTo>
                    <a:pt x="150" y="288"/>
                  </a:lnTo>
                  <a:lnTo>
                    <a:pt x="150" y="290"/>
                  </a:lnTo>
                  <a:lnTo>
                    <a:pt x="152" y="290"/>
                  </a:lnTo>
                  <a:lnTo>
                    <a:pt x="152" y="288"/>
                  </a:lnTo>
                  <a:lnTo>
                    <a:pt x="156" y="288"/>
                  </a:lnTo>
                  <a:lnTo>
                    <a:pt x="158" y="286"/>
                  </a:lnTo>
                  <a:lnTo>
                    <a:pt x="162" y="285"/>
                  </a:lnTo>
                  <a:lnTo>
                    <a:pt x="164" y="285"/>
                  </a:lnTo>
                  <a:lnTo>
                    <a:pt x="171" y="281"/>
                  </a:lnTo>
                  <a:lnTo>
                    <a:pt x="175" y="281"/>
                  </a:lnTo>
                  <a:lnTo>
                    <a:pt x="179" y="279"/>
                  </a:lnTo>
                  <a:lnTo>
                    <a:pt x="181" y="279"/>
                  </a:lnTo>
                  <a:lnTo>
                    <a:pt x="183" y="277"/>
                  </a:lnTo>
                  <a:lnTo>
                    <a:pt x="185" y="277"/>
                  </a:lnTo>
                  <a:lnTo>
                    <a:pt x="187" y="277"/>
                  </a:lnTo>
                  <a:lnTo>
                    <a:pt x="189" y="277"/>
                  </a:lnTo>
                  <a:lnTo>
                    <a:pt x="190" y="277"/>
                  </a:lnTo>
                  <a:lnTo>
                    <a:pt x="192" y="277"/>
                  </a:lnTo>
                  <a:close/>
                  <a:moveTo>
                    <a:pt x="1119" y="281"/>
                  </a:moveTo>
                  <a:lnTo>
                    <a:pt x="1119" y="283"/>
                  </a:lnTo>
                  <a:lnTo>
                    <a:pt x="1121" y="285"/>
                  </a:lnTo>
                  <a:lnTo>
                    <a:pt x="1119" y="285"/>
                  </a:lnTo>
                  <a:lnTo>
                    <a:pt x="1119" y="283"/>
                  </a:lnTo>
                  <a:lnTo>
                    <a:pt x="1117" y="283"/>
                  </a:lnTo>
                  <a:lnTo>
                    <a:pt x="1119" y="283"/>
                  </a:lnTo>
                  <a:lnTo>
                    <a:pt x="1119" y="281"/>
                  </a:lnTo>
                  <a:lnTo>
                    <a:pt x="1117" y="281"/>
                  </a:lnTo>
                  <a:lnTo>
                    <a:pt x="1119" y="279"/>
                  </a:lnTo>
                  <a:lnTo>
                    <a:pt x="1119" y="281"/>
                  </a:lnTo>
                  <a:close/>
                  <a:moveTo>
                    <a:pt x="1114" y="260"/>
                  </a:moveTo>
                  <a:lnTo>
                    <a:pt x="1116" y="262"/>
                  </a:lnTo>
                  <a:lnTo>
                    <a:pt x="1114" y="260"/>
                  </a:lnTo>
                  <a:lnTo>
                    <a:pt x="1114" y="262"/>
                  </a:lnTo>
                  <a:lnTo>
                    <a:pt x="1112" y="260"/>
                  </a:lnTo>
                  <a:lnTo>
                    <a:pt x="1112" y="258"/>
                  </a:lnTo>
                  <a:lnTo>
                    <a:pt x="1112" y="256"/>
                  </a:lnTo>
                  <a:lnTo>
                    <a:pt x="1114" y="256"/>
                  </a:lnTo>
                  <a:lnTo>
                    <a:pt x="1112" y="254"/>
                  </a:lnTo>
                  <a:lnTo>
                    <a:pt x="1112" y="252"/>
                  </a:lnTo>
                  <a:lnTo>
                    <a:pt x="1114" y="254"/>
                  </a:lnTo>
                  <a:lnTo>
                    <a:pt x="1114" y="256"/>
                  </a:lnTo>
                  <a:lnTo>
                    <a:pt x="1114" y="258"/>
                  </a:lnTo>
                  <a:lnTo>
                    <a:pt x="1116" y="260"/>
                  </a:lnTo>
                  <a:lnTo>
                    <a:pt x="1114" y="260"/>
                  </a:lnTo>
                  <a:close/>
                  <a:moveTo>
                    <a:pt x="1152" y="256"/>
                  </a:moveTo>
                  <a:lnTo>
                    <a:pt x="1150" y="258"/>
                  </a:lnTo>
                  <a:lnTo>
                    <a:pt x="1152" y="258"/>
                  </a:lnTo>
                  <a:lnTo>
                    <a:pt x="1150" y="258"/>
                  </a:lnTo>
                  <a:lnTo>
                    <a:pt x="1150" y="256"/>
                  </a:lnTo>
                  <a:lnTo>
                    <a:pt x="1148" y="256"/>
                  </a:lnTo>
                  <a:lnTo>
                    <a:pt x="1150" y="254"/>
                  </a:lnTo>
                  <a:lnTo>
                    <a:pt x="1150" y="256"/>
                  </a:lnTo>
                  <a:lnTo>
                    <a:pt x="1152" y="256"/>
                  </a:lnTo>
                  <a:close/>
                  <a:moveTo>
                    <a:pt x="1150" y="246"/>
                  </a:moveTo>
                  <a:lnTo>
                    <a:pt x="1148" y="246"/>
                  </a:lnTo>
                  <a:lnTo>
                    <a:pt x="1148" y="244"/>
                  </a:lnTo>
                  <a:lnTo>
                    <a:pt x="1146" y="244"/>
                  </a:lnTo>
                  <a:lnTo>
                    <a:pt x="1148" y="244"/>
                  </a:lnTo>
                  <a:lnTo>
                    <a:pt x="1148" y="242"/>
                  </a:lnTo>
                  <a:lnTo>
                    <a:pt x="1150" y="244"/>
                  </a:lnTo>
                  <a:lnTo>
                    <a:pt x="1150" y="246"/>
                  </a:lnTo>
                  <a:close/>
                  <a:moveTo>
                    <a:pt x="1139" y="242"/>
                  </a:moveTo>
                  <a:lnTo>
                    <a:pt x="1140" y="242"/>
                  </a:lnTo>
                  <a:lnTo>
                    <a:pt x="1142" y="242"/>
                  </a:lnTo>
                  <a:lnTo>
                    <a:pt x="1144" y="244"/>
                  </a:lnTo>
                  <a:lnTo>
                    <a:pt x="1146" y="244"/>
                  </a:lnTo>
                  <a:lnTo>
                    <a:pt x="1146" y="246"/>
                  </a:lnTo>
                  <a:lnTo>
                    <a:pt x="1148" y="246"/>
                  </a:lnTo>
                  <a:lnTo>
                    <a:pt x="1146" y="246"/>
                  </a:lnTo>
                  <a:lnTo>
                    <a:pt x="1146" y="248"/>
                  </a:lnTo>
                  <a:lnTo>
                    <a:pt x="1146" y="250"/>
                  </a:lnTo>
                  <a:lnTo>
                    <a:pt x="1146" y="252"/>
                  </a:lnTo>
                  <a:lnTo>
                    <a:pt x="1146" y="254"/>
                  </a:lnTo>
                  <a:lnTo>
                    <a:pt x="1148" y="254"/>
                  </a:lnTo>
                  <a:lnTo>
                    <a:pt x="1148" y="256"/>
                  </a:lnTo>
                  <a:lnTo>
                    <a:pt x="1146" y="256"/>
                  </a:lnTo>
                  <a:lnTo>
                    <a:pt x="1144" y="256"/>
                  </a:lnTo>
                  <a:lnTo>
                    <a:pt x="1148" y="256"/>
                  </a:lnTo>
                  <a:lnTo>
                    <a:pt x="1146" y="256"/>
                  </a:lnTo>
                  <a:lnTo>
                    <a:pt x="1142" y="256"/>
                  </a:lnTo>
                  <a:lnTo>
                    <a:pt x="1144" y="256"/>
                  </a:lnTo>
                  <a:lnTo>
                    <a:pt x="1142" y="256"/>
                  </a:lnTo>
                  <a:lnTo>
                    <a:pt x="1140" y="254"/>
                  </a:lnTo>
                  <a:lnTo>
                    <a:pt x="1140" y="256"/>
                  </a:lnTo>
                  <a:lnTo>
                    <a:pt x="1139" y="256"/>
                  </a:lnTo>
                  <a:lnTo>
                    <a:pt x="1137" y="254"/>
                  </a:lnTo>
                  <a:lnTo>
                    <a:pt x="1135" y="254"/>
                  </a:lnTo>
                  <a:lnTo>
                    <a:pt x="1135" y="252"/>
                  </a:lnTo>
                  <a:lnTo>
                    <a:pt x="1133" y="250"/>
                  </a:lnTo>
                  <a:lnTo>
                    <a:pt x="1131" y="250"/>
                  </a:lnTo>
                  <a:lnTo>
                    <a:pt x="1131" y="248"/>
                  </a:lnTo>
                  <a:lnTo>
                    <a:pt x="1129" y="248"/>
                  </a:lnTo>
                  <a:lnTo>
                    <a:pt x="1131" y="248"/>
                  </a:lnTo>
                  <a:lnTo>
                    <a:pt x="1129" y="248"/>
                  </a:lnTo>
                  <a:lnTo>
                    <a:pt x="1129" y="246"/>
                  </a:lnTo>
                  <a:lnTo>
                    <a:pt x="1131" y="248"/>
                  </a:lnTo>
                  <a:lnTo>
                    <a:pt x="1133" y="250"/>
                  </a:lnTo>
                  <a:lnTo>
                    <a:pt x="1135" y="254"/>
                  </a:lnTo>
                  <a:lnTo>
                    <a:pt x="1137" y="256"/>
                  </a:lnTo>
                  <a:lnTo>
                    <a:pt x="1139" y="256"/>
                  </a:lnTo>
                  <a:lnTo>
                    <a:pt x="1137" y="256"/>
                  </a:lnTo>
                  <a:lnTo>
                    <a:pt x="1135" y="254"/>
                  </a:lnTo>
                  <a:lnTo>
                    <a:pt x="1133" y="250"/>
                  </a:lnTo>
                  <a:lnTo>
                    <a:pt x="1131" y="248"/>
                  </a:lnTo>
                  <a:lnTo>
                    <a:pt x="1127" y="246"/>
                  </a:lnTo>
                  <a:lnTo>
                    <a:pt x="1125" y="246"/>
                  </a:lnTo>
                  <a:lnTo>
                    <a:pt x="1127" y="244"/>
                  </a:lnTo>
                  <a:lnTo>
                    <a:pt x="1127" y="242"/>
                  </a:lnTo>
                  <a:lnTo>
                    <a:pt x="1127" y="240"/>
                  </a:lnTo>
                  <a:lnTo>
                    <a:pt x="1129" y="240"/>
                  </a:lnTo>
                  <a:lnTo>
                    <a:pt x="1131" y="242"/>
                  </a:lnTo>
                  <a:lnTo>
                    <a:pt x="1131" y="244"/>
                  </a:lnTo>
                  <a:lnTo>
                    <a:pt x="1133" y="244"/>
                  </a:lnTo>
                  <a:lnTo>
                    <a:pt x="1133" y="246"/>
                  </a:lnTo>
                  <a:lnTo>
                    <a:pt x="1133" y="248"/>
                  </a:lnTo>
                  <a:lnTo>
                    <a:pt x="1133" y="246"/>
                  </a:lnTo>
                  <a:lnTo>
                    <a:pt x="1135" y="246"/>
                  </a:lnTo>
                  <a:lnTo>
                    <a:pt x="1135" y="244"/>
                  </a:lnTo>
                  <a:lnTo>
                    <a:pt x="1135" y="242"/>
                  </a:lnTo>
                  <a:lnTo>
                    <a:pt x="1133" y="242"/>
                  </a:lnTo>
                  <a:lnTo>
                    <a:pt x="1133" y="240"/>
                  </a:lnTo>
                  <a:lnTo>
                    <a:pt x="1135" y="240"/>
                  </a:lnTo>
                  <a:lnTo>
                    <a:pt x="1135" y="242"/>
                  </a:lnTo>
                  <a:lnTo>
                    <a:pt x="1135" y="240"/>
                  </a:lnTo>
                  <a:lnTo>
                    <a:pt x="1135" y="238"/>
                  </a:lnTo>
                  <a:lnTo>
                    <a:pt x="1137" y="238"/>
                  </a:lnTo>
                  <a:lnTo>
                    <a:pt x="1137" y="240"/>
                  </a:lnTo>
                  <a:lnTo>
                    <a:pt x="1139" y="240"/>
                  </a:lnTo>
                  <a:lnTo>
                    <a:pt x="1139" y="242"/>
                  </a:lnTo>
                  <a:close/>
                  <a:moveTo>
                    <a:pt x="1137" y="223"/>
                  </a:moveTo>
                  <a:lnTo>
                    <a:pt x="1139" y="223"/>
                  </a:lnTo>
                  <a:lnTo>
                    <a:pt x="1139" y="225"/>
                  </a:lnTo>
                  <a:lnTo>
                    <a:pt x="1137" y="225"/>
                  </a:lnTo>
                  <a:lnTo>
                    <a:pt x="1137" y="223"/>
                  </a:lnTo>
                  <a:close/>
                  <a:moveTo>
                    <a:pt x="1139" y="223"/>
                  </a:moveTo>
                  <a:lnTo>
                    <a:pt x="1140" y="223"/>
                  </a:lnTo>
                  <a:lnTo>
                    <a:pt x="1139" y="223"/>
                  </a:lnTo>
                  <a:close/>
                  <a:moveTo>
                    <a:pt x="1133" y="225"/>
                  </a:moveTo>
                  <a:lnTo>
                    <a:pt x="1131" y="225"/>
                  </a:lnTo>
                  <a:lnTo>
                    <a:pt x="1131" y="227"/>
                  </a:lnTo>
                  <a:lnTo>
                    <a:pt x="1129" y="227"/>
                  </a:lnTo>
                  <a:lnTo>
                    <a:pt x="1129" y="225"/>
                  </a:lnTo>
                  <a:lnTo>
                    <a:pt x="1129" y="223"/>
                  </a:lnTo>
                  <a:lnTo>
                    <a:pt x="1129" y="221"/>
                  </a:lnTo>
                  <a:lnTo>
                    <a:pt x="1131" y="221"/>
                  </a:lnTo>
                  <a:lnTo>
                    <a:pt x="1133" y="221"/>
                  </a:lnTo>
                  <a:lnTo>
                    <a:pt x="1133" y="223"/>
                  </a:lnTo>
                  <a:lnTo>
                    <a:pt x="1133" y="225"/>
                  </a:lnTo>
                  <a:close/>
                  <a:moveTo>
                    <a:pt x="1125" y="217"/>
                  </a:moveTo>
                  <a:lnTo>
                    <a:pt x="1129" y="217"/>
                  </a:lnTo>
                  <a:lnTo>
                    <a:pt x="1129" y="219"/>
                  </a:lnTo>
                  <a:lnTo>
                    <a:pt x="1125" y="219"/>
                  </a:lnTo>
                  <a:lnTo>
                    <a:pt x="1125" y="217"/>
                  </a:lnTo>
                  <a:close/>
                  <a:moveTo>
                    <a:pt x="1167" y="215"/>
                  </a:moveTo>
                  <a:lnTo>
                    <a:pt x="1167" y="217"/>
                  </a:lnTo>
                  <a:lnTo>
                    <a:pt x="1169" y="217"/>
                  </a:lnTo>
                  <a:lnTo>
                    <a:pt x="1167" y="219"/>
                  </a:lnTo>
                  <a:lnTo>
                    <a:pt x="1165" y="219"/>
                  </a:lnTo>
                  <a:lnTo>
                    <a:pt x="1164" y="219"/>
                  </a:lnTo>
                  <a:lnTo>
                    <a:pt x="1162" y="219"/>
                  </a:lnTo>
                  <a:lnTo>
                    <a:pt x="1160" y="219"/>
                  </a:lnTo>
                  <a:lnTo>
                    <a:pt x="1158" y="217"/>
                  </a:lnTo>
                  <a:lnTo>
                    <a:pt x="1160" y="217"/>
                  </a:lnTo>
                  <a:lnTo>
                    <a:pt x="1162" y="217"/>
                  </a:lnTo>
                  <a:lnTo>
                    <a:pt x="1162" y="215"/>
                  </a:lnTo>
                  <a:lnTo>
                    <a:pt x="1164" y="215"/>
                  </a:lnTo>
                  <a:lnTo>
                    <a:pt x="1165" y="215"/>
                  </a:lnTo>
                  <a:lnTo>
                    <a:pt x="1167" y="215"/>
                  </a:lnTo>
                  <a:close/>
                  <a:moveTo>
                    <a:pt x="1137" y="196"/>
                  </a:moveTo>
                  <a:lnTo>
                    <a:pt x="1135" y="196"/>
                  </a:lnTo>
                  <a:lnTo>
                    <a:pt x="1133" y="196"/>
                  </a:lnTo>
                  <a:lnTo>
                    <a:pt x="1131" y="196"/>
                  </a:lnTo>
                  <a:lnTo>
                    <a:pt x="1133" y="196"/>
                  </a:lnTo>
                  <a:lnTo>
                    <a:pt x="1135" y="196"/>
                  </a:lnTo>
                  <a:lnTo>
                    <a:pt x="1137" y="196"/>
                  </a:lnTo>
                  <a:lnTo>
                    <a:pt x="1137" y="194"/>
                  </a:lnTo>
                  <a:lnTo>
                    <a:pt x="1137" y="196"/>
                  </a:lnTo>
                  <a:close/>
                  <a:moveTo>
                    <a:pt x="538" y="160"/>
                  </a:moveTo>
                  <a:lnTo>
                    <a:pt x="536" y="160"/>
                  </a:lnTo>
                  <a:lnTo>
                    <a:pt x="538" y="158"/>
                  </a:lnTo>
                  <a:lnTo>
                    <a:pt x="540" y="158"/>
                  </a:lnTo>
                  <a:lnTo>
                    <a:pt x="540" y="156"/>
                  </a:lnTo>
                  <a:lnTo>
                    <a:pt x="542" y="156"/>
                  </a:lnTo>
                  <a:lnTo>
                    <a:pt x="544" y="156"/>
                  </a:lnTo>
                  <a:lnTo>
                    <a:pt x="542" y="158"/>
                  </a:lnTo>
                  <a:lnTo>
                    <a:pt x="540" y="158"/>
                  </a:lnTo>
                  <a:lnTo>
                    <a:pt x="540" y="160"/>
                  </a:lnTo>
                  <a:lnTo>
                    <a:pt x="538" y="160"/>
                  </a:lnTo>
                  <a:close/>
                  <a:moveTo>
                    <a:pt x="1131" y="187"/>
                  </a:moveTo>
                  <a:lnTo>
                    <a:pt x="1133" y="189"/>
                  </a:lnTo>
                  <a:lnTo>
                    <a:pt x="1131" y="189"/>
                  </a:lnTo>
                  <a:lnTo>
                    <a:pt x="1133" y="189"/>
                  </a:lnTo>
                  <a:lnTo>
                    <a:pt x="1131" y="189"/>
                  </a:lnTo>
                  <a:lnTo>
                    <a:pt x="1131" y="187"/>
                  </a:lnTo>
                  <a:lnTo>
                    <a:pt x="1129" y="187"/>
                  </a:lnTo>
                  <a:lnTo>
                    <a:pt x="1127" y="187"/>
                  </a:lnTo>
                  <a:lnTo>
                    <a:pt x="1127" y="185"/>
                  </a:lnTo>
                  <a:lnTo>
                    <a:pt x="1129" y="185"/>
                  </a:lnTo>
                  <a:lnTo>
                    <a:pt x="1127" y="185"/>
                  </a:lnTo>
                  <a:lnTo>
                    <a:pt x="1129" y="187"/>
                  </a:lnTo>
                  <a:lnTo>
                    <a:pt x="1129" y="185"/>
                  </a:lnTo>
                  <a:lnTo>
                    <a:pt x="1129" y="187"/>
                  </a:lnTo>
                  <a:lnTo>
                    <a:pt x="1131" y="187"/>
                  </a:lnTo>
                  <a:close/>
                  <a:moveTo>
                    <a:pt x="532" y="150"/>
                  </a:moveTo>
                  <a:lnTo>
                    <a:pt x="530" y="150"/>
                  </a:lnTo>
                  <a:lnTo>
                    <a:pt x="528" y="150"/>
                  </a:lnTo>
                  <a:lnTo>
                    <a:pt x="528" y="148"/>
                  </a:lnTo>
                  <a:lnTo>
                    <a:pt x="530" y="148"/>
                  </a:lnTo>
                  <a:lnTo>
                    <a:pt x="532" y="148"/>
                  </a:lnTo>
                  <a:lnTo>
                    <a:pt x="532" y="150"/>
                  </a:lnTo>
                  <a:close/>
                  <a:moveTo>
                    <a:pt x="703" y="152"/>
                  </a:moveTo>
                  <a:lnTo>
                    <a:pt x="701" y="152"/>
                  </a:lnTo>
                  <a:lnTo>
                    <a:pt x="701" y="150"/>
                  </a:lnTo>
                  <a:lnTo>
                    <a:pt x="699" y="150"/>
                  </a:lnTo>
                  <a:lnTo>
                    <a:pt x="701" y="148"/>
                  </a:lnTo>
                  <a:lnTo>
                    <a:pt x="703" y="148"/>
                  </a:lnTo>
                  <a:lnTo>
                    <a:pt x="705" y="148"/>
                  </a:lnTo>
                  <a:lnTo>
                    <a:pt x="707" y="148"/>
                  </a:lnTo>
                  <a:lnTo>
                    <a:pt x="709" y="148"/>
                  </a:lnTo>
                  <a:lnTo>
                    <a:pt x="707" y="148"/>
                  </a:lnTo>
                  <a:lnTo>
                    <a:pt x="705" y="148"/>
                  </a:lnTo>
                  <a:lnTo>
                    <a:pt x="705" y="150"/>
                  </a:lnTo>
                  <a:lnTo>
                    <a:pt x="703" y="150"/>
                  </a:lnTo>
                  <a:lnTo>
                    <a:pt x="703" y="152"/>
                  </a:lnTo>
                  <a:close/>
                  <a:moveTo>
                    <a:pt x="603" y="117"/>
                  </a:moveTo>
                  <a:lnTo>
                    <a:pt x="603" y="119"/>
                  </a:lnTo>
                  <a:lnTo>
                    <a:pt x="601" y="119"/>
                  </a:lnTo>
                  <a:lnTo>
                    <a:pt x="601" y="121"/>
                  </a:lnTo>
                  <a:lnTo>
                    <a:pt x="601" y="123"/>
                  </a:lnTo>
                  <a:lnTo>
                    <a:pt x="599" y="123"/>
                  </a:lnTo>
                  <a:lnTo>
                    <a:pt x="597" y="123"/>
                  </a:lnTo>
                  <a:lnTo>
                    <a:pt x="597" y="121"/>
                  </a:lnTo>
                  <a:lnTo>
                    <a:pt x="597" y="123"/>
                  </a:lnTo>
                  <a:lnTo>
                    <a:pt x="595" y="123"/>
                  </a:lnTo>
                  <a:lnTo>
                    <a:pt x="595" y="121"/>
                  </a:lnTo>
                  <a:lnTo>
                    <a:pt x="595" y="119"/>
                  </a:lnTo>
                  <a:lnTo>
                    <a:pt x="593" y="119"/>
                  </a:lnTo>
                  <a:lnTo>
                    <a:pt x="593" y="117"/>
                  </a:lnTo>
                  <a:lnTo>
                    <a:pt x="592" y="117"/>
                  </a:lnTo>
                  <a:lnTo>
                    <a:pt x="593" y="117"/>
                  </a:lnTo>
                  <a:lnTo>
                    <a:pt x="592" y="117"/>
                  </a:lnTo>
                  <a:lnTo>
                    <a:pt x="590" y="117"/>
                  </a:lnTo>
                  <a:lnTo>
                    <a:pt x="588" y="117"/>
                  </a:lnTo>
                  <a:lnTo>
                    <a:pt x="586" y="117"/>
                  </a:lnTo>
                  <a:lnTo>
                    <a:pt x="588" y="117"/>
                  </a:lnTo>
                  <a:lnTo>
                    <a:pt x="586" y="117"/>
                  </a:lnTo>
                  <a:lnTo>
                    <a:pt x="584" y="117"/>
                  </a:lnTo>
                  <a:lnTo>
                    <a:pt x="586" y="117"/>
                  </a:lnTo>
                  <a:lnTo>
                    <a:pt x="588" y="117"/>
                  </a:lnTo>
                  <a:lnTo>
                    <a:pt x="590" y="117"/>
                  </a:lnTo>
                  <a:lnTo>
                    <a:pt x="592" y="117"/>
                  </a:lnTo>
                  <a:lnTo>
                    <a:pt x="593" y="117"/>
                  </a:lnTo>
                  <a:lnTo>
                    <a:pt x="593" y="119"/>
                  </a:lnTo>
                  <a:lnTo>
                    <a:pt x="595" y="119"/>
                  </a:lnTo>
                  <a:lnTo>
                    <a:pt x="593" y="119"/>
                  </a:lnTo>
                  <a:lnTo>
                    <a:pt x="595" y="121"/>
                  </a:lnTo>
                  <a:lnTo>
                    <a:pt x="595" y="123"/>
                  </a:lnTo>
                  <a:lnTo>
                    <a:pt x="597" y="123"/>
                  </a:lnTo>
                  <a:lnTo>
                    <a:pt x="599" y="125"/>
                  </a:lnTo>
                  <a:lnTo>
                    <a:pt x="599" y="127"/>
                  </a:lnTo>
                  <a:lnTo>
                    <a:pt x="597" y="127"/>
                  </a:lnTo>
                  <a:lnTo>
                    <a:pt x="595" y="127"/>
                  </a:lnTo>
                  <a:lnTo>
                    <a:pt x="593" y="127"/>
                  </a:lnTo>
                  <a:lnTo>
                    <a:pt x="593" y="125"/>
                  </a:lnTo>
                  <a:lnTo>
                    <a:pt x="593" y="127"/>
                  </a:lnTo>
                  <a:lnTo>
                    <a:pt x="595" y="127"/>
                  </a:lnTo>
                  <a:lnTo>
                    <a:pt x="593" y="129"/>
                  </a:lnTo>
                  <a:lnTo>
                    <a:pt x="592" y="129"/>
                  </a:lnTo>
                  <a:lnTo>
                    <a:pt x="590" y="129"/>
                  </a:lnTo>
                  <a:lnTo>
                    <a:pt x="586" y="131"/>
                  </a:lnTo>
                  <a:lnTo>
                    <a:pt x="584" y="131"/>
                  </a:lnTo>
                  <a:lnTo>
                    <a:pt x="582" y="131"/>
                  </a:lnTo>
                  <a:lnTo>
                    <a:pt x="580" y="131"/>
                  </a:lnTo>
                  <a:lnTo>
                    <a:pt x="578" y="131"/>
                  </a:lnTo>
                  <a:lnTo>
                    <a:pt x="576" y="131"/>
                  </a:lnTo>
                  <a:lnTo>
                    <a:pt x="576" y="129"/>
                  </a:lnTo>
                  <a:lnTo>
                    <a:pt x="574" y="129"/>
                  </a:lnTo>
                  <a:lnTo>
                    <a:pt x="574" y="131"/>
                  </a:lnTo>
                  <a:lnTo>
                    <a:pt x="572" y="131"/>
                  </a:lnTo>
                  <a:lnTo>
                    <a:pt x="572" y="129"/>
                  </a:lnTo>
                  <a:lnTo>
                    <a:pt x="572" y="127"/>
                  </a:lnTo>
                  <a:lnTo>
                    <a:pt x="572" y="125"/>
                  </a:lnTo>
                  <a:lnTo>
                    <a:pt x="572" y="123"/>
                  </a:lnTo>
                  <a:lnTo>
                    <a:pt x="572" y="121"/>
                  </a:lnTo>
                  <a:lnTo>
                    <a:pt x="574" y="121"/>
                  </a:lnTo>
                  <a:lnTo>
                    <a:pt x="576" y="119"/>
                  </a:lnTo>
                  <a:lnTo>
                    <a:pt x="574" y="119"/>
                  </a:lnTo>
                  <a:lnTo>
                    <a:pt x="574" y="121"/>
                  </a:lnTo>
                  <a:lnTo>
                    <a:pt x="574" y="119"/>
                  </a:lnTo>
                  <a:lnTo>
                    <a:pt x="572" y="119"/>
                  </a:lnTo>
                  <a:lnTo>
                    <a:pt x="574" y="121"/>
                  </a:lnTo>
                  <a:lnTo>
                    <a:pt x="572" y="121"/>
                  </a:lnTo>
                  <a:lnTo>
                    <a:pt x="572" y="123"/>
                  </a:lnTo>
                  <a:lnTo>
                    <a:pt x="572" y="125"/>
                  </a:lnTo>
                  <a:lnTo>
                    <a:pt x="570" y="125"/>
                  </a:lnTo>
                  <a:lnTo>
                    <a:pt x="570" y="123"/>
                  </a:lnTo>
                  <a:lnTo>
                    <a:pt x="569" y="123"/>
                  </a:lnTo>
                  <a:lnTo>
                    <a:pt x="569" y="121"/>
                  </a:lnTo>
                  <a:lnTo>
                    <a:pt x="567" y="121"/>
                  </a:lnTo>
                  <a:lnTo>
                    <a:pt x="567" y="119"/>
                  </a:lnTo>
                  <a:lnTo>
                    <a:pt x="567" y="121"/>
                  </a:lnTo>
                  <a:lnTo>
                    <a:pt x="565" y="121"/>
                  </a:lnTo>
                  <a:lnTo>
                    <a:pt x="567" y="119"/>
                  </a:lnTo>
                  <a:lnTo>
                    <a:pt x="565" y="119"/>
                  </a:lnTo>
                  <a:lnTo>
                    <a:pt x="563" y="119"/>
                  </a:lnTo>
                  <a:lnTo>
                    <a:pt x="565" y="119"/>
                  </a:lnTo>
                  <a:lnTo>
                    <a:pt x="565" y="121"/>
                  </a:lnTo>
                  <a:lnTo>
                    <a:pt x="565" y="119"/>
                  </a:lnTo>
                  <a:lnTo>
                    <a:pt x="565" y="121"/>
                  </a:lnTo>
                  <a:lnTo>
                    <a:pt x="567" y="121"/>
                  </a:lnTo>
                  <a:lnTo>
                    <a:pt x="569" y="123"/>
                  </a:lnTo>
                  <a:lnTo>
                    <a:pt x="570" y="123"/>
                  </a:lnTo>
                  <a:lnTo>
                    <a:pt x="570" y="125"/>
                  </a:lnTo>
                  <a:lnTo>
                    <a:pt x="570" y="127"/>
                  </a:lnTo>
                  <a:lnTo>
                    <a:pt x="572" y="127"/>
                  </a:lnTo>
                  <a:lnTo>
                    <a:pt x="572" y="129"/>
                  </a:lnTo>
                  <a:lnTo>
                    <a:pt x="570" y="129"/>
                  </a:lnTo>
                  <a:lnTo>
                    <a:pt x="572" y="129"/>
                  </a:lnTo>
                  <a:lnTo>
                    <a:pt x="570" y="131"/>
                  </a:lnTo>
                  <a:lnTo>
                    <a:pt x="569" y="129"/>
                  </a:lnTo>
                  <a:lnTo>
                    <a:pt x="569" y="127"/>
                  </a:lnTo>
                  <a:lnTo>
                    <a:pt x="567" y="127"/>
                  </a:lnTo>
                  <a:lnTo>
                    <a:pt x="569" y="127"/>
                  </a:lnTo>
                  <a:lnTo>
                    <a:pt x="567" y="125"/>
                  </a:lnTo>
                  <a:lnTo>
                    <a:pt x="569" y="125"/>
                  </a:lnTo>
                  <a:lnTo>
                    <a:pt x="567" y="125"/>
                  </a:lnTo>
                  <a:lnTo>
                    <a:pt x="567" y="123"/>
                  </a:lnTo>
                  <a:lnTo>
                    <a:pt x="565" y="123"/>
                  </a:lnTo>
                  <a:lnTo>
                    <a:pt x="563" y="123"/>
                  </a:lnTo>
                  <a:lnTo>
                    <a:pt x="561" y="123"/>
                  </a:lnTo>
                  <a:lnTo>
                    <a:pt x="561" y="125"/>
                  </a:lnTo>
                  <a:lnTo>
                    <a:pt x="561" y="123"/>
                  </a:lnTo>
                  <a:lnTo>
                    <a:pt x="561" y="125"/>
                  </a:lnTo>
                  <a:lnTo>
                    <a:pt x="561" y="123"/>
                  </a:lnTo>
                  <a:lnTo>
                    <a:pt x="561" y="125"/>
                  </a:lnTo>
                  <a:lnTo>
                    <a:pt x="563" y="123"/>
                  </a:lnTo>
                  <a:lnTo>
                    <a:pt x="565" y="123"/>
                  </a:lnTo>
                  <a:lnTo>
                    <a:pt x="565" y="125"/>
                  </a:lnTo>
                  <a:lnTo>
                    <a:pt x="567" y="125"/>
                  </a:lnTo>
                  <a:lnTo>
                    <a:pt x="567" y="127"/>
                  </a:lnTo>
                  <a:lnTo>
                    <a:pt x="567" y="129"/>
                  </a:lnTo>
                  <a:lnTo>
                    <a:pt x="569" y="127"/>
                  </a:lnTo>
                  <a:lnTo>
                    <a:pt x="569" y="129"/>
                  </a:lnTo>
                  <a:lnTo>
                    <a:pt x="567" y="129"/>
                  </a:lnTo>
                  <a:lnTo>
                    <a:pt x="565" y="129"/>
                  </a:lnTo>
                  <a:lnTo>
                    <a:pt x="565" y="127"/>
                  </a:lnTo>
                  <a:lnTo>
                    <a:pt x="565" y="129"/>
                  </a:lnTo>
                  <a:lnTo>
                    <a:pt x="563" y="127"/>
                  </a:lnTo>
                  <a:lnTo>
                    <a:pt x="565" y="129"/>
                  </a:lnTo>
                  <a:lnTo>
                    <a:pt x="567" y="129"/>
                  </a:lnTo>
                  <a:lnTo>
                    <a:pt x="569" y="129"/>
                  </a:lnTo>
                  <a:lnTo>
                    <a:pt x="569" y="131"/>
                  </a:lnTo>
                  <a:lnTo>
                    <a:pt x="570" y="131"/>
                  </a:lnTo>
                  <a:lnTo>
                    <a:pt x="572" y="133"/>
                  </a:lnTo>
                  <a:lnTo>
                    <a:pt x="570" y="135"/>
                  </a:lnTo>
                  <a:lnTo>
                    <a:pt x="569" y="135"/>
                  </a:lnTo>
                  <a:lnTo>
                    <a:pt x="567" y="135"/>
                  </a:lnTo>
                  <a:lnTo>
                    <a:pt x="567" y="137"/>
                  </a:lnTo>
                  <a:lnTo>
                    <a:pt x="563" y="137"/>
                  </a:lnTo>
                  <a:lnTo>
                    <a:pt x="563" y="139"/>
                  </a:lnTo>
                  <a:lnTo>
                    <a:pt x="561" y="139"/>
                  </a:lnTo>
                  <a:lnTo>
                    <a:pt x="559" y="139"/>
                  </a:lnTo>
                  <a:lnTo>
                    <a:pt x="557" y="139"/>
                  </a:lnTo>
                  <a:lnTo>
                    <a:pt x="555" y="137"/>
                  </a:lnTo>
                  <a:lnTo>
                    <a:pt x="555" y="135"/>
                  </a:lnTo>
                  <a:lnTo>
                    <a:pt x="555" y="137"/>
                  </a:lnTo>
                  <a:lnTo>
                    <a:pt x="553" y="135"/>
                  </a:lnTo>
                  <a:lnTo>
                    <a:pt x="551" y="133"/>
                  </a:lnTo>
                  <a:lnTo>
                    <a:pt x="551" y="131"/>
                  </a:lnTo>
                  <a:lnTo>
                    <a:pt x="551" y="133"/>
                  </a:lnTo>
                  <a:lnTo>
                    <a:pt x="551" y="131"/>
                  </a:lnTo>
                  <a:lnTo>
                    <a:pt x="551" y="129"/>
                  </a:lnTo>
                  <a:lnTo>
                    <a:pt x="551" y="127"/>
                  </a:lnTo>
                  <a:lnTo>
                    <a:pt x="553" y="127"/>
                  </a:lnTo>
                  <a:lnTo>
                    <a:pt x="553" y="125"/>
                  </a:lnTo>
                  <a:lnTo>
                    <a:pt x="553" y="123"/>
                  </a:lnTo>
                  <a:lnTo>
                    <a:pt x="553" y="125"/>
                  </a:lnTo>
                  <a:lnTo>
                    <a:pt x="553" y="127"/>
                  </a:lnTo>
                  <a:lnTo>
                    <a:pt x="551" y="127"/>
                  </a:lnTo>
                  <a:lnTo>
                    <a:pt x="551" y="125"/>
                  </a:lnTo>
                  <a:lnTo>
                    <a:pt x="549" y="125"/>
                  </a:lnTo>
                  <a:lnTo>
                    <a:pt x="549" y="123"/>
                  </a:lnTo>
                  <a:lnTo>
                    <a:pt x="549" y="125"/>
                  </a:lnTo>
                  <a:lnTo>
                    <a:pt x="551" y="125"/>
                  </a:lnTo>
                  <a:lnTo>
                    <a:pt x="551" y="127"/>
                  </a:lnTo>
                  <a:lnTo>
                    <a:pt x="551" y="129"/>
                  </a:lnTo>
                  <a:lnTo>
                    <a:pt x="549" y="129"/>
                  </a:lnTo>
                  <a:lnTo>
                    <a:pt x="549" y="131"/>
                  </a:lnTo>
                  <a:lnTo>
                    <a:pt x="549" y="129"/>
                  </a:lnTo>
                  <a:lnTo>
                    <a:pt x="549" y="131"/>
                  </a:lnTo>
                  <a:lnTo>
                    <a:pt x="549" y="129"/>
                  </a:lnTo>
                  <a:lnTo>
                    <a:pt x="547" y="131"/>
                  </a:lnTo>
                  <a:lnTo>
                    <a:pt x="547" y="129"/>
                  </a:lnTo>
                  <a:lnTo>
                    <a:pt x="546" y="129"/>
                  </a:lnTo>
                  <a:lnTo>
                    <a:pt x="546" y="127"/>
                  </a:lnTo>
                  <a:lnTo>
                    <a:pt x="544" y="129"/>
                  </a:lnTo>
                  <a:lnTo>
                    <a:pt x="544" y="127"/>
                  </a:lnTo>
                  <a:lnTo>
                    <a:pt x="544" y="129"/>
                  </a:lnTo>
                  <a:lnTo>
                    <a:pt x="546" y="129"/>
                  </a:lnTo>
                  <a:lnTo>
                    <a:pt x="547" y="129"/>
                  </a:lnTo>
                  <a:lnTo>
                    <a:pt x="547" y="131"/>
                  </a:lnTo>
                  <a:lnTo>
                    <a:pt x="549" y="131"/>
                  </a:lnTo>
                  <a:lnTo>
                    <a:pt x="551" y="131"/>
                  </a:lnTo>
                  <a:lnTo>
                    <a:pt x="551" y="133"/>
                  </a:lnTo>
                  <a:lnTo>
                    <a:pt x="553" y="135"/>
                  </a:lnTo>
                  <a:lnTo>
                    <a:pt x="555" y="137"/>
                  </a:lnTo>
                  <a:lnTo>
                    <a:pt x="557" y="139"/>
                  </a:lnTo>
                  <a:lnTo>
                    <a:pt x="557" y="141"/>
                  </a:lnTo>
                  <a:lnTo>
                    <a:pt x="555" y="141"/>
                  </a:lnTo>
                  <a:lnTo>
                    <a:pt x="557" y="141"/>
                  </a:lnTo>
                  <a:lnTo>
                    <a:pt x="555" y="141"/>
                  </a:lnTo>
                  <a:lnTo>
                    <a:pt x="553" y="141"/>
                  </a:lnTo>
                  <a:lnTo>
                    <a:pt x="553" y="142"/>
                  </a:lnTo>
                  <a:lnTo>
                    <a:pt x="551" y="142"/>
                  </a:lnTo>
                  <a:lnTo>
                    <a:pt x="549" y="142"/>
                  </a:lnTo>
                  <a:lnTo>
                    <a:pt x="547" y="142"/>
                  </a:lnTo>
                  <a:lnTo>
                    <a:pt x="549" y="142"/>
                  </a:lnTo>
                  <a:lnTo>
                    <a:pt x="549" y="144"/>
                  </a:lnTo>
                  <a:lnTo>
                    <a:pt x="547" y="144"/>
                  </a:lnTo>
                  <a:lnTo>
                    <a:pt x="549" y="144"/>
                  </a:lnTo>
                  <a:lnTo>
                    <a:pt x="547" y="144"/>
                  </a:lnTo>
                  <a:lnTo>
                    <a:pt x="546" y="144"/>
                  </a:lnTo>
                  <a:lnTo>
                    <a:pt x="546" y="142"/>
                  </a:lnTo>
                  <a:lnTo>
                    <a:pt x="544" y="141"/>
                  </a:lnTo>
                  <a:lnTo>
                    <a:pt x="544" y="139"/>
                  </a:lnTo>
                  <a:lnTo>
                    <a:pt x="544" y="141"/>
                  </a:lnTo>
                  <a:lnTo>
                    <a:pt x="546" y="141"/>
                  </a:lnTo>
                  <a:lnTo>
                    <a:pt x="546" y="142"/>
                  </a:lnTo>
                  <a:lnTo>
                    <a:pt x="546" y="144"/>
                  </a:lnTo>
                  <a:lnTo>
                    <a:pt x="547" y="144"/>
                  </a:lnTo>
                  <a:lnTo>
                    <a:pt x="547" y="146"/>
                  </a:lnTo>
                  <a:lnTo>
                    <a:pt x="546" y="144"/>
                  </a:lnTo>
                  <a:lnTo>
                    <a:pt x="542" y="144"/>
                  </a:lnTo>
                  <a:lnTo>
                    <a:pt x="540" y="142"/>
                  </a:lnTo>
                  <a:lnTo>
                    <a:pt x="538" y="141"/>
                  </a:lnTo>
                  <a:lnTo>
                    <a:pt x="536" y="141"/>
                  </a:lnTo>
                  <a:lnTo>
                    <a:pt x="536" y="139"/>
                  </a:lnTo>
                  <a:lnTo>
                    <a:pt x="536" y="141"/>
                  </a:lnTo>
                  <a:lnTo>
                    <a:pt x="538" y="141"/>
                  </a:lnTo>
                  <a:lnTo>
                    <a:pt x="538" y="142"/>
                  </a:lnTo>
                  <a:lnTo>
                    <a:pt x="540" y="144"/>
                  </a:lnTo>
                  <a:lnTo>
                    <a:pt x="538" y="142"/>
                  </a:lnTo>
                  <a:lnTo>
                    <a:pt x="536" y="141"/>
                  </a:lnTo>
                  <a:lnTo>
                    <a:pt x="534" y="139"/>
                  </a:lnTo>
                  <a:lnTo>
                    <a:pt x="534" y="137"/>
                  </a:lnTo>
                  <a:lnTo>
                    <a:pt x="534" y="135"/>
                  </a:lnTo>
                  <a:lnTo>
                    <a:pt x="532" y="133"/>
                  </a:lnTo>
                  <a:lnTo>
                    <a:pt x="534" y="133"/>
                  </a:lnTo>
                  <a:lnTo>
                    <a:pt x="532" y="131"/>
                  </a:lnTo>
                  <a:lnTo>
                    <a:pt x="532" y="129"/>
                  </a:lnTo>
                  <a:lnTo>
                    <a:pt x="534" y="129"/>
                  </a:lnTo>
                  <a:lnTo>
                    <a:pt x="532" y="129"/>
                  </a:lnTo>
                  <a:lnTo>
                    <a:pt x="532" y="131"/>
                  </a:lnTo>
                  <a:lnTo>
                    <a:pt x="530" y="131"/>
                  </a:lnTo>
                  <a:lnTo>
                    <a:pt x="530" y="129"/>
                  </a:lnTo>
                  <a:lnTo>
                    <a:pt x="532" y="129"/>
                  </a:lnTo>
                  <a:lnTo>
                    <a:pt x="530" y="129"/>
                  </a:lnTo>
                  <a:lnTo>
                    <a:pt x="532" y="129"/>
                  </a:lnTo>
                  <a:lnTo>
                    <a:pt x="530" y="129"/>
                  </a:lnTo>
                  <a:lnTo>
                    <a:pt x="530" y="131"/>
                  </a:lnTo>
                  <a:lnTo>
                    <a:pt x="532" y="131"/>
                  </a:lnTo>
                  <a:lnTo>
                    <a:pt x="532" y="133"/>
                  </a:lnTo>
                  <a:lnTo>
                    <a:pt x="532" y="135"/>
                  </a:lnTo>
                  <a:lnTo>
                    <a:pt x="530" y="135"/>
                  </a:lnTo>
                  <a:lnTo>
                    <a:pt x="528" y="135"/>
                  </a:lnTo>
                  <a:lnTo>
                    <a:pt x="528" y="133"/>
                  </a:lnTo>
                  <a:lnTo>
                    <a:pt x="526" y="133"/>
                  </a:lnTo>
                  <a:lnTo>
                    <a:pt x="528" y="133"/>
                  </a:lnTo>
                  <a:lnTo>
                    <a:pt x="528" y="135"/>
                  </a:lnTo>
                  <a:lnTo>
                    <a:pt x="526" y="133"/>
                  </a:lnTo>
                  <a:lnTo>
                    <a:pt x="528" y="135"/>
                  </a:lnTo>
                  <a:lnTo>
                    <a:pt x="530" y="135"/>
                  </a:lnTo>
                  <a:lnTo>
                    <a:pt x="532" y="137"/>
                  </a:lnTo>
                  <a:lnTo>
                    <a:pt x="532" y="139"/>
                  </a:lnTo>
                  <a:lnTo>
                    <a:pt x="534" y="141"/>
                  </a:lnTo>
                  <a:lnTo>
                    <a:pt x="536" y="142"/>
                  </a:lnTo>
                  <a:lnTo>
                    <a:pt x="538" y="144"/>
                  </a:lnTo>
                  <a:lnTo>
                    <a:pt x="536" y="144"/>
                  </a:lnTo>
                  <a:lnTo>
                    <a:pt x="534" y="144"/>
                  </a:lnTo>
                  <a:lnTo>
                    <a:pt x="534" y="142"/>
                  </a:lnTo>
                  <a:lnTo>
                    <a:pt x="532" y="142"/>
                  </a:lnTo>
                  <a:lnTo>
                    <a:pt x="534" y="142"/>
                  </a:lnTo>
                  <a:lnTo>
                    <a:pt x="534" y="144"/>
                  </a:lnTo>
                  <a:lnTo>
                    <a:pt x="536" y="144"/>
                  </a:lnTo>
                  <a:lnTo>
                    <a:pt x="538" y="144"/>
                  </a:lnTo>
                  <a:lnTo>
                    <a:pt x="538" y="146"/>
                  </a:lnTo>
                  <a:lnTo>
                    <a:pt x="538" y="144"/>
                  </a:lnTo>
                  <a:lnTo>
                    <a:pt x="540" y="144"/>
                  </a:lnTo>
                  <a:lnTo>
                    <a:pt x="542" y="144"/>
                  </a:lnTo>
                  <a:lnTo>
                    <a:pt x="544" y="144"/>
                  </a:lnTo>
                  <a:lnTo>
                    <a:pt x="544" y="146"/>
                  </a:lnTo>
                  <a:lnTo>
                    <a:pt x="542" y="146"/>
                  </a:lnTo>
                  <a:lnTo>
                    <a:pt x="540" y="146"/>
                  </a:lnTo>
                  <a:lnTo>
                    <a:pt x="538" y="144"/>
                  </a:lnTo>
                  <a:lnTo>
                    <a:pt x="538" y="146"/>
                  </a:lnTo>
                  <a:lnTo>
                    <a:pt x="540" y="148"/>
                  </a:lnTo>
                  <a:lnTo>
                    <a:pt x="540" y="150"/>
                  </a:lnTo>
                  <a:lnTo>
                    <a:pt x="538" y="150"/>
                  </a:lnTo>
                  <a:lnTo>
                    <a:pt x="536" y="150"/>
                  </a:lnTo>
                  <a:lnTo>
                    <a:pt x="534" y="150"/>
                  </a:lnTo>
                  <a:lnTo>
                    <a:pt x="532" y="148"/>
                  </a:lnTo>
                  <a:lnTo>
                    <a:pt x="530" y="148"/>
                  </a:lnTo>
                  <a:lnTo>
                    <a:pt x="530" y="146"/>
                  </a:lnTo>
                  <a:lnTo>
                    <a:pt x="530" y="148"/>
                  </a:lnTo>
                  <a:lnTo>
                    <a:pt x="528" y="148"/>
                  </a:lnTo>
                  <a:lnTo>
                    <a:pt x="528" y="146"/>
                  </a:lnTo>
                  <a:lnTo>
                    <a:pt x="526" y="146"/>
                  </a:lnTo>
                  <a:lnTo>
                    <a:pt x="528" y="146"/>
                  </a:lnTo>
                  <a:lnTo>
                    <a:pt x="526" y="146"/>
                  </a:lnTo>
                  <a:lnTo>
                    <a:pt x="528" y="146"/>
                  </a:lnTo>
                  <a:lnTo>
                    <a:pt x="526" y="144"/>
                  </a:lnTo>
                  <a:lnTo>
                    <a:pt x="526" y="146"/>
                  </a:lnTo>
                  <a:lnTo>
                    <a:pt x="526" y="144"/>
                  </a:lnTo>
                  <a:lnTo>
                    <a:pt x="526" y="146"/>
                  </a:lnTo>
                  <a:lnTo>
                    <a:pt x="526" y="144"/>
                  </a:lnTo>
                  <a:lnTo>
                    <a:pt x="524" y="144"/>
                  </a:lnTo>
                  <a:lnTo>
                    <a:pt x="521" y="141"/>
                  </a:lnTo>
                  <a:lnTo>
                    <a:pt x="521" y="142"/>
                  </a:lnTo>
                  <a:lnTo>
                    <a:pt x="522" y="142"/>
                  </a:lnTo>
                  <a:lnTo>
                    <a:pt x="521" y="142"/>
                  </a:lnTo>
                  <a:lnTo>
                    <a:pt x="521" y="141"/>
                  </a:lnTo>
                  <a:lnTo>
                    <a:pt x="519" y="141"/>
                  </a:lnTo>
                  <a:lnTo>
                    <a:pt x="521" y="141"/>
                  </a:lnTo>
                  <a:lnTo>
                    <a:pt x="521" y="139"/>
                  </a:lnTo>
                  <a:lnTo>
                    <a:pt x="519" y="139"/>
                  </a:lnTo>
                  <a:lnTo>
                    <a:pt x="519" y="137"/>
                  </a:lnTo>
                  <a:lnTo>
                    <a:pt x="519" y="135"/>
                  </a:lnTo>
                  <a:lnTo>
                    <a:pt x="517" y="135"/>
                  </a:lnTo>
                  <a:lnTo>
                    <a:pt x="517" y="133"/>
                  </a:lnTo>
                  <a:lnTo>
                    <a:pt x="515" y="133"/>
                  </a:lnTo>
                  <a:lnTo>
                    <a:pt x="515" y="131"/>
                  </a:lnTo>
                  <a:lnTo>
                    <a:pt x="515" y="133"/>
                  </a:lnTo>
                  <a:lnTo>
                    <a:pt x="517" y="133"/>
                  </a:lnTo>
                  <a:lnTo>
                    <a:pt x="517" y="135"/>
                  </a:lnTo>
                  <a:lnTo>
                    <a:pt x="517" y="137"/>
                  </a:lnTo>
                  <a:lnTo>
                    <a:pt x="519" y="137"/>
                  </a:lnTo>
                  <a:lnTo>
                    <a:pt x="519" y="139"/>
                  </a:lnTo>
                  <a:lnTo>
                    <a:pt x="519" y="141"/>
                  </a:lnTo>
                  <a:lnTo>
                    <a:pt x="521" y="141"/>
                  </a:lnTo>
                  <a:lnTo>
                    <a:pt x="521" y="142"/>
                  </a:lnTo>
                  <a:lnTo>
                    <a:pt x="519" y="142"/>
                  </a:lnTo>
                  <a:lnTo>
                    <a:pt x="519" y="141"/>
                  </a:lnTo>
                  <a:lnTo>
                    <a:pt x="517" y="141"/>
                  </a:lnTo>
                  <a:lnTo>
                    <a:pt x="519" y="141"/>
                  </a:lnTo>
                  <a:lnTo>
                    <a:pt x="517" y="141"/>
                  </a:lnTo>
                  <a:lnTo>
                    <a:pt x="519" y="141"/>
                  </a:lnTo>
                  <a:lnTo>
                    <a:pt x="519" y="142"/>
                  </a:lnTo>
                  <a:lnTo>
                    <a:pt x="521" y="142"/>
                  </a:lnTo>
                  <a:lnTo>
                    <a:pt x="519" y="142"/>
                  </a:lnTo>
                  <a:lnTo>
                    <a:pt x="517" y="142"/>
                  </a:lnTo>
                  <a:lnTo>
                    <a:pt x="517" y="141"/>
                  </a:lnTo>
                  <a:lnTo>
                    <a:pt x="515" y="141"/>
                  </a:lnTo>
                  <a:lnTo>
                    <a:pt x="515" y="139"/>
                  </a:lnTo>
                  <a:lnTo>
                    <a:pt x="513" y="139"/>
                  </a:lnTo>
                  <a:lnTo>
                    <a:pt x="515" y="139"/>
                  </a:lnTo>
                  <a:lnTo>
                    <a:pt x="515" y="141"/>
                  </a:lnTo>
                  <a:lnTo>
                    <a:pt x="517" y="141"/>
                  </a:lnTo>
                  <a:lnTo>
                    <a:pt x="517" y="142"/>
                  </a:lnTo>
                  <a:lnTo>
                    <a:pt x="519" y="144"/>
                  </a:lnTo>
                  <a:lnTo>
                    <a:pt x="521" y="146"/>
                  </a:lnTo>
                  <a:lnTo>
                    <a:pt x="521" y="148"/>
                  </a:lnTo>
                  <a:lnTo>
                    <a:pt x="521" y="146"/>
                  </a:lnTo>
                  <a:lnTo>
                    <a:pt x="522" y="146"/>
                  </a:lnTo>
                  <a:lnTo>
                    <a:pt x="522" y="148"/>
                  </a:lnTo>
                  <a:lnTo>
                    <a:pt x="524" y="148"/>
                  </a:lnTo>
                  <a:lnTo>
                    <a:pt x="526" y="148"/>
                  </a:lnTo>
                  <a:lnTo>
                    <a:pt x="526" y="150"/>
                  </a:lnTo>
                  <a:lnTo>
                    <a:pt x="524" y="148"/>
                  </a:lnTo>
                  <a:lnTo>
                    <a:pt x="524" y="150"/>
                  </a:lnTo>
                  <a:lnTo>
                    <a:pt x="524" y="152"/>
                  </a:lnTo>
                  <a:lnTo>
                    <a:pt x="522" y="152"/>
                  </a:lnTo>
                  <a:lnTo>
                    <a:pt x="522" y="154"/>
                  </a:lnTo>
                  <a:lnTo>
                    <a:pt x="522" y="152"/>
                  </a:lnTo>
                  <a:lnTo>
                    <a:pt x="524" y="152"/>
                  </a:lnTo>
                  <a:lnTo>
                    <a:pt x="524" y="150"/>
                  </a:lnTo>
                  <a:lnTo>
                    <a:pt x="526" y="150"/>
                  </a:lnTo>
                  <a:lnTo>
                    <a:pt x="528" y="152"/>
                  </a:lnTo>
                  <a:lnTo>
                    <a:pt x="530" y="152"/>
                  </a:lnTo>
                  <a:lnTo>
                    <a:pt x="532" y="152"/>
                  </a:lnTo>
                  <a:lnTo>
                    <a:pt x="530" y="152"/>
                  </a:lnTo>
                  <a:lnTo>
                    <a:pt x="532" y="152"/>
                  </a:lnTo>
                  <a:lnTo>
                    <a:pt x="534" y="152"/>
                  </a:lnTo>
                  <a:lnTo>
                    <a:pt x="534" y="154"/>
                  </a:lnTo>
                  <a:lnTo>
                    <a:pt x="536" y="154"/>
                  </a:lnTo>
                  <a:lnTo>
                    <a:pt x="538" y="154"/>
                  </a:lnTo>
                  <a:lnTo>
                    <a:pt x="540" y="154"/>
                  </a:lnTo>
                  <a:lnTo>
                    <a:pt x="542" y="154"/>
                  </a:lnTo>
                  <a:lnTo>
                    <a:pt x="540" y="156"/>
                  </a:lnTo>
                  <a:lnTo>
                    <a:pt x="540" y="158"/>
                  </a:lnTo>
                  <a:lnTo>
                    <a:pt x="538" y="158"/>
                  </a:lnTo>
                  <a:lnTo>
                    <a:pt x="536" y="160"/>
                  </a:lnTo>
                  <a:lnTo>
                    <a:pt x="534" y="160"/>
                  </a:lnTo>
                  <a:lnTo>
                    <a:pt x="534" y="158"/>
                  </a:lnTo>
                  <a:lnTo>
                    <a:pt x="532" y="158"/>
                  </a:lnTo>
                  <a:lnTo>
                    <a:pt x="530" y="158"/>
                  </a:lnTo>
                  <a:lnTo>
                    <a:pt x="532" y="158"/>
                  </a:lnTo>
                  <a:lnTo>
                    <a:pt x="534" y="160"/>
                  </a:lnTo>
                  <a:lnTo>
                    <a:pt x="536" y="160"/>
                  </a:lnTo>
                  <a:lnTo>
                    <a:pt x="538" y="160"/>
                  </a:lnTo>
                  <a:lnTo>
                    <a:pt x="536" y="160"/>
                  </a:lnTo>
                  <a:lnTo>
                    <a:pt x="532" y="162"/>
                  </a:lnTo>
                  <a:lnTo>
                    <a:pt x="530" y="162"/>
                  </a:lnTo>
                  <a:lnTo>
                    <a:pt x="528" y="162"/>
                  </a:lnTo>
                  <a:lnTo>
                    <a:pt x="524" y="164"/>
                  </a:lnTo>
                  <a:lnTo>
                    <a:pt x="524" y="162"/>
                  </a:lnTo>
                  <a:lnTo>
                    <a:pt x="522" y="162"/>
                  </a:lnTo>
                  <a:lnTo>
                    <a:pt x="524" y="162"/>
                  </a:lnTo>
                  <a:lnTo>
                    <a:pt x="524" y="160"/>
                  </a:lnTo>
                  <a:lnTo>
                    <a:pt x="524" y="158"/>
                  </a:lnTo>
                  <a:lnTo>
                    <a:pt x="524" y="160"/>
                  </a:lnTo>
                  <a:lnTo>
                    <a:pt x="524" y="162"/>
                  </a:lnTo>
                  <a:lnTo>
                    <a:pt x="522" y="162"/>
                  </a:lnTo>
                  <a:lnTo>
                    <a:pt x="524" y="162"/>
                  </a:lnTo>
                  <a:lnTo>
                    <a:pt x="524" y="164"/>
                  </a:lnTo>
                  <a:lnTo>
                    <a:pt x="522" y="164"/>
                  </a:lnTo>
                  <a:lnTo>
                    <a:pt x="521" y="162"/>
                  </a:lnTo>
                  <a:lnTo>
                    <a:pt x="519" y="162"/>
                  </a:lnTo>
                  <a:lnTo>
                    <a:pt x="517" y="162"/>
                  </a:lnTo>
                  <a:lnTo>
                    <a:pt x="515" y="160"/>
                  </a:lnTo>
                  <a:lnTo>
                    <a:pt x="517" y="162"/>
                  </a:lnTo>
                  <a:lnTo>
                    <a:pt x="519" y="162"/>
                  </a:lnTo>
                  <a:lnTo>
                    <a:pt x="517" y="162"/>
                  </a:lnTo>
                  <a:lnTo>
                    <a:pt x="515" y="162"/>
                  </a:lnTo>
                  <a:lnTo>
                    <a:pt x="513" y="162"/>
                  </a:lnTo>
                  <a:lnTo>
                    <a:pt x="511" y="162"/>
                  </a:lnTo>
                  <a:lnTo>
                    <a:pt x="509" y="162"/>
                  </a:lnTo>
                  <a:lnTo>
                    <a:pt x="505" y="162"/>
                  </a:lnTo>
                  <a:lnTo>
                    <a:pt x="503" y="162"/>
                  </a:lnTo>
                  <a:lnTo>
                    <a:pt x="501" y="162"/>
                  </a:lnTo>
                  <a:lnTo>
                    <a:pt x="499" y="162"/>
                  </a:lnTo>
                  <a:lnTo>
                    <a:pt x="498" y="162"/>
                  </a:lnTo>
                  <a:lnTo>
                    <a:pt x="496" y="160"/>
                  </a:lnTo>
                  <a:lnTo>
                    <a:pt x="494" y="160"/>
                  </a:lnTo>
                  <a:lnTo>
                    <a:pt x="492" y="160"/>
                  </a:lnTo>
                  <a:lnTo>
                    <a:pt x="490" y="160"/>
                  </a:lnTo>
                  <a:lnTo>
                    <a:pt x="488" y="160"/>
                  </a:lnTo>
                  <a:lnTo>
                    <a:pt x="486" y="160"/>
                  </a:lnTo>
                  <a:lnTo>
                    <a:pt x="484" y="160"/>
                  </a:lnTo>
                  <a:lnTo>
                    <a:pt x="482" y="160"/>
                  </a:lnTo>
                  <a:lnTo>
                    <a:pt x="480" y="160"/>
                  </a:lnTo>
                  <a:lnTo>
                    <a:pt x="478" y="160"/>
                  </a:lnTo>
                  <a:lnTo>
                    <a:pt x="476" y="160"/>
                  </a:lnTo>
                  <a:lnTo>
                    <a:pt x="475" y="160"/>
                  </a:lnTo>
                  <a:lnTo>
                    <a:pt x="476" y="160"/>
                  </a:lnTo>
                  <a:lnTo>
                    <a:pt x="482" y="160"/>
                  </a:lnTo>
                  <a:lnTo>
                    <a:pt x="476" y="162"/>
                  </a:lnTo>
                  <a:lnTo>
                    <a:pt x="475" y="160"/>
                  </a:lnTo>
                  <a:lnTo>
                    <a:pt x="469" y="162"/>
                  </a:lnTo>
                  <a:lnTo>
                    <a:pt x="467" y="162"/>
                  </a:lnTo>
                  <a:lnTo>
                    <a:pt x="465" y="162"/>
                  </a:lnTo>
                  <a:lnTo>
                    <a:pt x="463" y="162"/>
                  </a:lnTo>
                  <a:lnTo>
                    <a:pt x="463" y="164"/>
                  </a:lnTo>
                  <a:lnTo>
                    <a:pt x="461" y="164"/>
                  </a:lnTo>
                  <a:lnTo>
                    <a:pt x="459" y="164"/>
                  </a:lnTo>
                  <a:lnTo>
                    <a:pt x="459" y="165"/>
                  </a:lnTo>
                  <a:lnTo>
                    <a:pt x="457" y="165"/>
                  </a:lnTo>
                  <a:lnTo>
                    <a:pt x="455" y="167"/>
                  </a:lnTo>
                  <a:lnTo>
                    <a:pt x="453" y="169"/>
                  </a:lnTo>
                  <a:lnTo>
                    <a:pt x="451" y="169"/>
                  </a:lnTo>
                  <a:lnTo>
                    <a:pt x="451" y="171"/>
                  </a:lnTo>
                  <a:lnTo>
                    <a:pt x="450" y="171"/>
                  </a:lnTo>
                  <a:lnTo>
                    <a:pt x="446" y="175"/>
                  </a:lnTo>
                  <a:lnTo>
                    <a:pt x="444" y="177"/>
                  </a:lnTo>
                  <a:lnTo>
                    <a:pt x="442" y="177"/>
                  </a:lnTo>
                  <a:lnTo>
                    <a:pt x="444" y="179"/>
                  </a:lnTo>
                  <a:lnTo>
                    <a:pt x="442" y="179"/>
                  </a:lnTo>
                  <a:lnTo>
                    <a:pt x="440" y="179"/>
                  </a:lnTo>
                  <a:lnTo>
                    <a:pt x="440" y="181"/>
                  </a:lnTo>
                  <a:lnTo>
                    <a:pt x="436" y="183"/>
                  </a:lnTo>
                  <a:lnTo>
                    <a:pt x="438" y="183"/>
                  </a:lnTo>
                  <a:lnTo>
                    <a:pt x="436" y="183"/>
                  </a:lnTo>
                  <a:lnTo>
                    <a:pt x="434" y="183"/>
                  </a:lnTo>
                  <a:lnTo>
                    <a:pt x="434" y="185"/>
                  </a:lnTo>
                  <a:lnTo>
                    <a:pt x="436" y="185"/>
                  </a:lnTo>
                  <a:lnTo>
                    <a:pt x="434" y="183"/>
                  </a:lnTo>
                  <a:lnTo>
                    <a:pt x="434" y="185"/>
                  </a:lnTo>
                  <a:lnTo>
                    <a:pt x="432" y="185"/>
                  </a:lnTo>
                  <a:lnTo>
                    <a:pt x="430" y="185"/>
                  </a:lnTo>
                  <a:lnTo>
                    <a:pt x="430" y="187"/>
                  </a:lnTo>
                  <a:lnTo>
                    <a:pt x="428" y="187"/>
                  </a:lnTo>
                  <a:lnTo>
                    <a:pt x="428" y="189"/>
                  </a:lnTo>
                  <a:lnTo>
                    <a:pt x="428" y="187"/>
                  </a:lnTo>
                  <a:lnTo>
                    <a:pt x="427" y="187"/>
                  </a:lnTo>
                  <a:lnTo>
                    <a:pt x="425" y="189"/>
                  </a:lnTo>
                  <a:lnTo>
                    <a:pt x="423" y="189"/>
                  </a:lnTo>
                  <a:lnTo>
                    <a:pt x="421" y="189"/>
                  </a:lnTo>
                  <a:lnTo>
                    <a:pt x="419" y="189"/>
                  </a:lnTo>
                  <a:lnTo>
                    <a:pt x="417" y="190"/>
                  </a:lnTo>
                  <a:lnTo>
                    <a:pt x="415" y="190"/>
                  </a:lnTo>
                  <a:lnTo>
                    <a:pt x="413" y="192"/>
                  </a:lnTo>
                  <a:lnTo>
                    <a:pt x="411" y="192"/>
                  </a:lnTo>
                  <a:lnTo>
                    <a:pt x="411" y="194"/>
                  </a:lnTo>
                  <a:lnTo>
                    <a:pt x="413" y="194"/>
                  </a:lnTo>
                  <a:lnTo>
                    <a:pt x="411" y="194"/>
                  </a:lnTo>
                  <a:lnTo>
                    <a:pt x="409" y="192"/>
                  </a:lnTo>
                  <a:lnTo>
                    <a:pt x="403" y="189"/>
                  </a:lnTo>
                  <a:lnTo>
                    <a:pt x="402" y="189"/>
                  </a:lnTo>
                  <a:lnTo>
                    <a:pt x="402" y="190"/>
                  </a:lnTo>
                  <a:lnTo>
                    <a:pt x="402" y="192"/>
                  </a:lnTo>
                  <a:lnTo>
                    <a:pt x="400" y="192"/>
                  </a:lnTo>
                  <a:lnTo>
                    <a:pt x="398" y="194"/>
                  </a:lnTo>
                  <a:lnTo>
                    <a:pt x="400" y="194"/>
                  </a:lnTo>
                  <a:lnTo>
                    <a:pt x="398" y="192"/>
                  </a:lnTo>
                  <a:lnTo>
                    <a:pt x="396" y="194"/>
                  </a:lnTo>
                  <a:lnTo>
                    <a:pt x="394" y="194"/>
                  </a:lnTo>
                  <a:lnTo>
                    <a:pt x="392" y="194"/>
                  </a:lnTo>
                  <a:lnTo>
                    <a:pt x="390" y="194"/>
                  </a:lnTo>
                  <a:lnTo>
                    <a:pt x="390" y="196"/>
                  </a:lnTo>
                  <a:lnTo>
                    <a:pt x="388" y="198"/>
                  </a:lnTo>
                  <a:lnTo>
                    <a:pt x="388" y="200"/>
                  </a:lnTo>
                  <a:lnTo>
                    <a:pt x="386" y="202"/>
                  </a:lnTo>
                  <a:lnTo>
                    <a:pt x="384" y="202"/>
                  </a:lnTo>
                  <a:lnTo>
                    <a:pt x="384" y="200"/>
                  </a:lnTo>
                  <a:lnTo>
                    <a:pt x="384" y="202"/>
                  </a:lnTo>
                  <a:lnTo>
                    <a:pt x="384" y="200"/>
                  </a:lnTo>
                  <a:lnTo>
                    <a:pt x="382" y="200"/>
                  </a:lnTo>
                  <a:lnTo>
                    <a:pt x="380" y="200"/>
                  </a:lnTo>
                  <a:lnTo>
                    <a:pt x="379" y="198"/>
                  </a:lnTo>
                  <a:lnTo>
                    <a:pt x="379" y="200"/>
                  </a:lnTo>
                  <a:lnTo>
                    <a:pt x="379" y="198"/>
                  </a:lnTo>
                  <a:lnTo>
                    <a:pt x="373" y="196"/>
                  </a:lnTo>
                  <a:lnTo>
                    <a:pt x="371" y="196"/>
                  </a:lnTo>
                  <a:lnTo>
                    <a:pt x="367" y="198"/>
                  </a:lnTo>
                  <a:lnTo>
                    <a:pt x="365" y="198"/>
                  </a:lnTo>
                  <a:lnTo>
                    <a:pt x="363" y="198"/>
                  </a:lnTo>
                  <a:lnTo>
                    <a:pt x="361" y="198"/>
                  </a:lnTo>
                  <a:lnTo>
                    <a:pt x="357" y="196"/>
                  </a:lnTo>
                  <a:lnTo>
                    <a:pt x="356" y="196"/>
                  </a:lnTo>
                  <a:lnTo>
                    <a:pt x="354" y="198"/>
                  </a:lnTo>
                  <a:lnTo>
                    <a:pt x="352" y="200"/>
                  </a:lnTo>
                  <a:lnTo>
                    <a:pt x="346" y="202"/>
                  </a:lnTo>
                  <a:lnTo>
                    <a:pt x="344" y="204"/>
                  </a:lnTo>
                  <a:lnTo>
                    <a:pt x="344" y="206"/>
                  </a:lnTo>
                  <a:lnTo>
                    <a:pt x="342" y="206"/>
                  </a:lnTo>
                  <a:lnTo>
                    <a:pt x="332" y="214"/>
                  </a:lnTo>
                  <a:lnTo>
                    <a:pt x="334" y="214"/>
                  </a:lnTo>
                  <a:lnTo>
                    <a:pt x="334" y="215"/>
                  </a:lnTo>
                  <a:lnTo>
                    <a:pt x="334" y="214"/>
                  </a:lnTo>
                  <a:lnTo>
                    <a:pt x="332" y="214"/>
                  </a:lnTo>
                  <a:lnTo>
                    <a:pt x="327" y="217"/>
                  </a:lnTo>
                  <a:lnTo>
                    <a:pt x="327" y="219"/>
                  </a:lnTo>
                  <a:lnTo>
                    <a:pt x="325" y="219"/>
                  </a:lnTo>
                  <a:lnTo>
                    <a:pt x="323" y="219"/>
                  </a:lnTo>
                  <a:lnTo>
                    <a:pt x="323" y="215"/>
                  </a:lnTo>
                  <a:lnTo>
                    <a:pt x="321" y="214"/>
                  </a:lnTo>
                  <a:lnTo>
                    <a:pt x="323" y="210"/>
                  </a:lnTo>
                  <a:lnTo>
                    <a:pt x="325" y="208"/>
                  </a:lnTo>
                  <a:lnTo>
                    <a:pt x="323" y="210"/>
                  </a:lnTo>
                  <a:lnTo>
                    <a:pt x="323" y="214"/>
                  </a:lnTo>
                  <a:lnTo>
                    <a:pt x="323" y="215"/>
                  </a:lnTo>
                  <a:lnTo>
                    <a:pt x="323" y="219"/>
                  </a:lnTo>
                  <a:lnTo>
                    <a:pt x="325" y="219"/>
                  </a:lnTo>
                  <a:lnTo>
                    <a:pt x="327" y="217"/>
                  </a:lnTo>
                  <a:lnTo>
                    <a:pt x="332" y="214"/>
                  </a:lnTo>
                  <a:lnTo>
                    <a:pt x="342" y="206"/>
                  </a:lnTo>
                  <a:lnTo>
                    <a:pt x="340" y="202"/>
                  </a:lnTo>
                  <a:lnTo>
                    <a:pt x="338" y="202"/>
                  </a:lnTo>
                  <a:lnTo>
                    <a:pt x="338" y="204"/>
                  </a:lnTo>
                  <a:lnTo>
                    <a:pt x="336" y="204"/>
                  </a:lnTo>
                  <a:lnTo>
                    <a:pt x="334" y="204"/>
                  </a:lnTo>
                  <a:lnTo>
                    <a:pt x="332" y="204"/>
                  </a:lnTo>
                  <a:lnTo>
                    <a:pt x="331" y="204"/>
                  </a:lnTo>
                  <a:lnTo>
                    <a:pt x="329" y="204"/>
                  </a:lnTo>
                  <a:lnTo>
                    <a:pt x="329" y="206"/>
                  </a:lnTo>
                  <a:lnTo>
                    <a:pt x="327" y="206"/>
                  </a:lnTo>
                  <a:lnTo>
                    <a:pt x="325" y="206"/>
                  </a:lnTo>
                  <a:lnTo>
                    <a:pt x="327" y="206"/>
                  </a:lnTo>
                  <a:lnTo>
                    <a:pt x="329" y="206"/>
                  </a:lnTo>
                  <a:lnTo>
                    <a:pt x="329" y="204"/>
                  </a:lnTo>
                  <a:lnTo>
                    <a:pt x="327" y="204"/>
                  </a:lnTo>
                  <a:lnTo>
                    <a:pt x="325" y="204"/>
                  </a:lnTo>
                  <a:lnTo>
                    <a:pt x="325" y="206"/>
                  </a:lnTo>
                  <a:lnTo>
                    <a:pt x="323" y="208"/>
                  </a:lnTo>
                  <a:lnTo>
                    <a:pt x="323" y="210"/>
                  </a:lnTo>
                  <a:lnTo>
                    <a:pt x="321" y="210"/>
                  </a:lnTo>
                  <a:lnTo>
                    <a:pt x="321" y="212"/>
                  </a:lnTo>
                  <a:lnTo>
                    <a:pt x="321" y="214"/>
                  </a:lnTo>
                  <a:lnTo>
                    <a:pt x="321" y="215"/>
                  </a:lnTo>
                  <a:lnTo>
                    <a:pt x="319" y="217"/>
                  </a:lnTo>
                  <a:lnTo>
                    <a:pt x="319" y="215"/>
                  </a:lnTo>
                  <a:lnTo>
                    <a:pt x="317" y="217"/>
                  </a:lnTo>
                  <a:lnTo>
                    <a:pt x="317" y="219"/>
                  </a:lnTo>
                  <a:lnTo>
                    <a:pt x="319" y="219"/>
                  </a:lnTo>
                  <a:lnTo>
                    <a:pt x="321" y="219"/>
                  </a:lnTo>
                  <a:lnTo>
                    <a:pt x="319" y="219"/>
                  </a:lnTo>
                  <a:lnTo>
                    <a:pt x="317" y="217"/>
                  </a:lnTo>
                  <a:lnTo>
                    <a:pt x="315" y="217"/>
                  </a:lnTo>
                  <a:lnTo>
                    <a:pt x="317" y="217"/>
                  </a:lnTo>
                  <a:lnTo>
                    <a:pt x="315" y="215"/>
                  </a:lnTo>
                  <a:lnTo>
                    <a:pt x="315" y="217"/>
                  </a:lnTo>
                  <a:lnTo>
                    <a:pt x="315" y="215"/>
                  </a:lnTo>
                  <a:lnTo>
                    <a:pt x="309" y="217"/>
                  </a:lnTo>
                  <a:lnTo>
                    <a:pt x="308" y="219"/>
                  </a:lnTo>
                  <a:lnTo>
                    <a:pt x="306" y="221"/>
                  </a:lnTo>
                  <a:lnTo>
                    <a:pt x="304" y="223"/>
                  </a:lnTo>
                  <a:lnTo>
                    <a:pt x="304" y="225"/>
                  </a:lnTo>
                  <a:lnTo>
                    <a:pt x="302" y="225"/>
                  </a:lnTo>
                  <a:lnTo>
                    <a:pt x="298" y="227"/>
                  </a:lnTo>
                  <a:lnTo>
                    <a:pt x="294" y="227"/>
                  </a:lnTo>
                  <a:lnTo>
                    <a:pt x="290" y="225"/>
                  </a:lnTo>
                  <a:lnTo>
                    <a:pt x="286" y="225"/>
                  </a:lnTo>
                  <a:lnTo>
                    <a:pt x="284" y="225"/>
                  </a:lnTo>
                  <a:lnTo>
                    <a:pt x="283" y="225"/>
                  </a:lnTo>
                  <a:lnTo>
                    <a:pt x="281" y="223"/>
                  </a:lnTo>
                  <a:lnTo>
                    <a:pt x="279" y="221"/>
                  </a:lnTo>
                  <a:lnTo>
                    <a:pt x="277" y="219"/>
                  </a:lnTo>
                  <a:lnTo>
                    <a:pt x="275" y="219"/>
                  </a:lnTo>
                  <a:lnTo>
                    <a:pt x="275" y="217"/>
                  </a:lnTo>
                  <a:lnTo>
                    <a:pt x="273" y="215"/>
                  </a:lnTo>
                  <a:lnTo>
                    <a:pt x="271" y="215"/>
                  </a:lnTo>
                  <a:lnTo>
                    <a:pt x="269" y="215"/>
                  </a:lnTo>
                  <a:lnTo>
                    <a:pt x="269" y="214"/>
                  </a:lnTo>
                  <a:lnTo>
                    <a:pt x="267" y="212"/>
                  </a:lnTo>
                  <a:lnTo>
                    <a:pt x="269" y="212"/>
                  </a:lnTo>
                  <a:lnTo>
                    <a:pt x="269" y="208"/>
                  </a:lnTo>
                  <a:lnTo>
                    <a:pt x="271" y="206"/>
                  </a:lnTo>
                  <a:lnTo>
                    <a:pt x="273" y="204"/>
                  </a:lnTo>
                  <a:lnTo>
                    <a:pt x="277" y="198"/>
                  </a:lnTo>
                  <a:lnTo>
                    <a:pt x="277" y="196"/>
                  </a:lnTo>
                  <a:lnTo>
                    <a:pt x="279" y="196"/>
                  </a:lnTo>
                  <a:lnTo>
                    <a:pt x="279" y="194"/>
                  </a:lnTo>
                  <a:lnTo>
                    <a:pt x="281" y="192"/>
                  </a:lnTo>
                  <a:lnTo>
                    <a:pt x="283" y="190"/>
                  </a:lnTo>
                  <a:lnTo>
                    <a:pt x="284" y="187"/>
                  </a:lnTo>
                  <a:lnTo>
                    <a:pt x="288" y="185"/>
                  </a:lnTo>
                  <a:lnTo>
                    <a:pt x="290" y="183"/>
                  </a:lnTo>
                  <a:lnTo>
                    <a:pt x="294" y="179"/>
                  </a:lnTo>
                  <a:lnTo>
                    <a:pt x="296" y="177"/>
                  </a:lnTo>
                  <a:lnTo>
                    <a:pt x="296" y="175"/>
                  </a:lnTo>
                  <a:lnTo>
                    <a:pt x="296" y="173"/>
                  </a:lnTo>
                  <a:lnTo>
                    <a:pt x="300" y="169"/>
                  </a:lnTo>
                  <a:lnTo>
                    <a:pt x="302" y="169"/>
                  </a:lnTo>
                  <a:lnTo>
                    <a:pt x="304" y="167"/>
                  </a:lnTo>
                  <a:lnTo>
                    <a:pt x="304" y="165"/>
                  </a:lnTo>
                  <a:lnTo>
                    <a:pt x="306" y="165"/>
                  </a:lnTo>
                  <a:lnTo>
                    <a:pt x="309" y="165"/>
                  </a:lnTo>
                  <a:lnTo>
                    <a:pt x="311" y="164"/>
                  </a:lnTo>
                  <a:lnTo>
                    <a:pt x="313" y="162"/>
                  </a:lnTo>
                  <a:lnTo>
                    <a:pt x="319" y="162"/>
                  </a:lnTo>
                  <a:lnTo>
                    <a:pt x="323" y="160"/>
                  </a:lnTo>
                  <a:lnTo>
                    <a:pt x="325" y="160"/>
                  </a:lnTo>
                  <a:lnTo>
                    <a:pt x="329" y="158"/>
                  </a:lnTo>
                  <a:lnTo>
                    <a:pt x="331" y="158"/>
                  </a:lnTo>
                  <a:lnTo>
                    <a:pt x="342" y="154"/>
                  </a:lnTo>
                  <a:lnTo>
                    <a:pt x="350" y="154"/>
                  </a:lnTo>
                  <a:lnTo>
                    <a:pt x="354" y="152"/>
                  </a:lnTo>
                  <a:lnTo>
                    <a:pt x="357" y="152"/>
                  </a:lnTo>
                  <a:lnTo>
                    <a:pt x="371" y="148"/>
                  </a:lnTo>
                  <a:lnTo>
                    <a:pt x="375" y="148"/>
                  </a:lnTo>
                  <a:lnTo>
                    <a:pt x="380" y="146"/>
                  </a:lnTo>
                  <a:lnTo>
                    <a:pt x="384" y="146"/>
                  </a:lnTo>
                  <a:lnTo>
                    <a:pt x="388" y="146"/>
                  </a:lnTo>
                  <a:lnTo>
                    <a:pt x="392" y="144"/>
                  </a:lnTo>
                  <a:lnTo>
                    <a:pt x="398" y="144"/>
                  </a:lnTo>
                  <a:lnTo>
                    <a:pt x="402" y="144"/>
                  </a:lnTo>
                  <a:lnTo>
                    <a:pt x="407" y="142"/>
                  </a:lnTo>
                  <a:lnTo>
                    <a:pt x="409" y="142"/>
                  </a:lnTo>
                  <a:lnTo>
                    <a:pt x="413" y="142"/>
                  </a:lnTo>
                  <a:lnTo>
                    <a:pt x="415" y="141"/>
                  </a:lnTo>
                  <a:lnTo>
                    <a:pt x="417" y="141"/>
                  </a:lnTo>
                  <a:lnTo>
                    <a:pt x="419" y="141"/>
                  </a:lnTo>
                  <a:lnTo>
                    <a:pt x="421" y="141"/>
                  </a:lnTo>
                  <a:lnTo>
                    <a:pt x="423" y="141"/>
                  </a:lnTo>
                  <a:lnTo>
                    <a:pt x="428" y="139"/>
                  </a:lnTo>
                  <a:lnTo>
                    <a:pt x="430" y="139"/>
                  </a:lnTo>
                  <a:lnTo>
                    <a:pt x="440" y="137"/>
                  </a:lnTo>
                  <a:lnTo>
                    <a:pt x="450" y="135"/>
                  </a:lnTo>
                  <a:lnTo>
                    <a:pt x="451" y="135"/>
                  </a:lnTo>
                  <a:lnTo>
                    <a:pt x="455" y="135"/>
                  </a:lnTo>
                  <a:lnTo>
                    <a:pt x="459" y="133"/>
                  </a:lnTo>
                  <a:lnTo>
                    <a:pt x="467" y="131"/>
                  </a:lnTo>
                  <a:lnTo>
                    <a:pt x="469" y="131"/>
                  </a:lnTo>
                  <a:lnTo>
                    <a:pt x="473" y="131"/>
                  </a:lnTo>
                  <a:lnTo>
                    <a:pt x="475" y="131"/>
                  </a:lnTo>
                  <a:lnTo>
                    <a:pt x="476" y="129"/>
                  </a:lnTo>
                  <a:lnTo>
                    <a:pt x="480" y="129"/>
                  </a:lnTo>
                  <a:lnTo>
                    <a:pt x="486" y="127"/>
                  </a:lnTo>
                  <a:lnTo>
                    <a:pt x="488" y="127"/>
                  </a:lnTo>
                  <a:lnTo>
                    <a:pt x="496" y="125"/>
                  </a:lnTo>
                  <a:lnTo>
                    <a:pt x="498" y="123"/>
                  </a:lnTo>
                  <a:lnTo>
                    <a:pt x="501" y="123"/>
                  </a:lnTo>
                  <a:lnTo>
                    <a:pt x="511" y="121"/>
                  </a:lnTo>
                  <a:lnTo>
                    <a:pt x="517" y="119"/>
                  </a:lnTo>
                  <a:lnTo>
                    <a:pt x="521" y="117"/>
                  </a:lnTo>
                  <a:lnTo>
                    <a:pt x="522" y="117"/>
                  </a:lnTo>
                  <a:lnTo>
                    <a:pt x="524" y="117"/>
                  </a:lnTo>
                  <a:lnTo>
                    <a:pt x="526" y="116"/>
                  </a:lnTo>
                  <a:lnTo>
                    <a:pt x="528" y="116"/>
                  </a:lnTo>
                  <a:lnTo>
                    <a:pt x="530" y="116"/>
                  </a:lnTo>
                  <a:lnTo>
                    <a:pt x="542" y="112"/>
                  </a:lnTo>
                  <a:lnTo>
                    <a:pt x="551" y="110"/>
                  </a:lnTo>
                  <a:lnTo>
                    <a:pt x="557" y="110"/>
                  </a:lnTo>
                  <a:lnTo>
                    <a:pt x="567" y="108"/>
                  </a:lnTo>
                  <a:lnTo>
                    <a:pt x="572" y="108"/>
                  </a:lnTo>
                  <a:lnTo>
                    <a:pt x="582" y="108"/>
                  </a:lnTo>
                  <a:lnTo>
                    <a:pt x="586" y="108"/>
                  </a:lnTo>
                  <a:lnTo>
                    <a:pt x="590" y="110"/>
                  </a:lnTo>
                  <a:lnTo>
                    <a:pt x="593" y="110"/>
                  </a:lnTo>
                  <a:lnTo>
                    <a:pt x="595" y="112"/>
                  </a:lnTo>
                  <a:lnTo>
                    <a:pt x="597" y="114"/>
                  </a:lnTo>
                  <a:lnTo>
                    <a:pt x="599" y="114"/>
                  </a:lnTo>
                  <a:lnTo>
                    <a:pt x="603" y="116"/>
                  </a:lnTo>
                  <a:lnTo>
                    <a:pt x="603" y="117"/>
                  </a:lnTo>
                  <a:close/>
                  <a:moveTo>
                    <a:pt x="1029" y="129"/>
                  </a:moveTo>
                  <a:lnTo>
                    <a:pt x="1027" y="129"/>
                  </a:lnTo>
                  <a:lnTo>
                    <a:pt x="1025" y="125"/>
                  </a:lnTo>
                  <a:lnTo>
                    <a:pt x="1023" y="125"/>
                  </a:lnTo>
                  <a:lnTo>
                    <a:pt x="1025" y="123"/>
                  </a:lnTo>
                  <a:lnTo>
                    <a:pt x="1027" y="123"/>
                  </a:lnTo>
                  <a:lnTo>
                    <a:pt x="1027" y="121"/>
                  </a:lnTo>
                  <a:lnTo>
                    <a:pt x="1029" y="121"/>
                  </a:lnTo>
                  <a:lnTo>
                    <a:pt x="1029" y="119"/>
                  </a:lnTo>
                  <a:lnTo>
                    <a:pt x="1031" y="121"/>
                  </a:lnTo>
                  <a:lnTo>
                    <a:pt x="1033" y="121"/>
                  </a:lnTo>
                  <a:lnTo>
                    <a:pt x="1033" y="123"/>
                  </a:lnTo>
                  <a:lnTo>
                    <a:pt x="1033" y="125"/>
                  </a:lnTo>
                  <a:lnTo>
                    <a:pt x="1031" y="125"/>
                  </a:lnTo>
                  <a:lnTo>
                    <a:pt x="1031" y="127"/>
                  </a:lnTo>
                  <a:lnTo>
                    <a:pt x="1029" y="129"/>
                  </a:lnTo>
                  <a:close/>
                  <a:moveTo>
                    <a:pt x="987" y="121"/>
                  </a:moveTo>
                  <a:lnTo>
                    <a:pt x="985" y="121"/>
                  </a:lnTo>
                  <a:lnTo>
                    <a:pt x="985" y="119"/>
                  </a:lnTo>
                  <a:lnTo>
                    <a:pt x="985" y="117"/>
                  </a:lnTo>
                  <a:lnTo>
                    <a:pt x="987" y="117"/>
                  </a:lnTo>
                  <a:lnTo>
                    <a:pt x="989" y="117"/>
                  </a:lnTo>
                  <a:lnTo>
                    <a:pt x="989" y="119"/>
                  </a:lnTo>
                  <a:lnTo>
                    <a:pt x="987" y="121"/>
                  </a:lnTo>
                  <a:close/>
                  <a:moveTo>
                    <a:pt x="1027" y="114"/>
                  </a:moveTo>
                  <a:lnTo>
                    <a:pt x="1029" y="114"/>
                  </a:lnTo>
                  <a:lnTo>
                    <a:pt x="1029" y="116"/>
                  </a:lnTo>
                  <a:lnTo>
                    <a:pt x="1027" y="116"/>
                  </a:lnTo>
                  <a:lnTo>
                    <a:pt x="1027" y="114"/>
                  </a:lnTo>
                  <a:close/>
                  <a:moveTo>
                    <a:pt x="1519" y="1306"/>
                  </a:moveTo>
                  <a:lnTo>
                    <a:pt x="1517" y="1306"/>
                  </a:lnTo>
                  <a:lnTo>
                    <a:pt x="1517" y="1308"/>
                  </a:lnTo>
                  <a:lnTo>
                    <a:pt x="1515" y="1306"/>
                  </a:lnTo>
                  <a:lnTo>
                    <a:pt x="1513" y="1306"/>
                  </a:lnTo>
                  <a:lnTo>
                    <a:pt x="1511" y="1305"/>
                  </a:lnTo>
                  <a:lnTo>
                    <a:pt x="1511" y="1303"/>
                  </a:lnTo>
                  <a:lnTo>
                    <a:pt x="1513" y="1303"/>
                  </a:lnTo>
                  <a:lnTo>
                    <a:pt x="1515" y="1301"/>
                  </a:lnTo>
                  <a:lnTo>
                    <a:pt x="1515" y="1299"/>
                  </a:lnTo>
                  <a:lnTo>
                    <a:pt x="1515" y="1297"/>
                  </a:lnTo>
                  <a:lnTo>
                    <a:pt x="1515" y="1295"/>
                  </a:lnTo>
                  <a:lnTo>
                    <a:pt x="1515" y="1293"/>
                  </a:lnTo>
                  <a:lnTo>
                    <a:pt x="1517" y="1293"/>
                  </a:lnTo>
                  <a:lnTo>
                    <a:pt x="1517" y="1291"/>
                  </a:lnTo>
                  <a:lnTo>
                    <a:pt x="1517" y="1289"/>
                  </a:lnTo>
                  <a:lnTo>
                    <a:pt x="1517" y="1287"/>
                  </a:lnTo>
                  <a:lnTo>
                    <a:pt x="1515" y="1287"/>
                  </a:lnTo>
                  <a:lnTo>
                    <a:pt x="1513" y="1287"/>
                  </a:lnTo>
                  <a:lnTo>
                    <a:pt x="1513" y="1285"/>
                  </a:lnTo>
                  <a:lnTo>
                    <a:pt x="1515" y="1285"/>
                  </a:lnTo>
                  <a:lnTo>
                    <a:pt x="1517" y="1285"/>
                  </a:lnTo>
                  <a:lnTo>
                    <a:pt x="1517" y="1283"/>
                  </a:lnTo>
                  <a:lnTo>
                    <a:pt x="1517" y="1281"/>
                  </a:lnTo>
                  <a:lnTo>
                    <a:pt x="1517" y="1280"/>
                  </a:lnTo>
                  <a:lnTo>
                    <a:pt x="1519" y="1278"/>
                  </a:lnTo>
                  <a:lnTo>
                    <a:pt x="1513" y="1274"/>
                  </a:lnTo>
                  <a:lnTo>
                    <a:pt x="1511" y="1274"/>
                  </a:lnTo>
                  <a:lnTo>
                    <a:pt x="1509" y="1272"/>
                  </a:lnTo>
                  <a:lnTo>
                    <a:pt x="1501" y="1270"/>
                  </a:lnTo>
                  <a:lnTo>
                    <a:pt x="1497" y="1268"/>
                  </a:lnTo>
                  <a:lnTo>
                    <a:pt x="1494" y="1266"/>
                  </a:lnTo>
                  <a:lnTo>
                    <a:pt x="1488" y="1262"/>
                  </a:lnTo>
                  <a:lnTo>
                    <a:pt x="1476" y="1257"/>
                  </a:lnTo>
                  <a:lnTo>
                    <a:pt x="1474" y="1257"/>
                  </a:lnTo>
                  <a:lnTo>
                    <a:pt x="1471" y="1255"/>
                  </a:lnTo>
                  <a:lnTo>
                    <a:pt x="1469" y="1253"/>
                  </a:lnTo>
                  <a:lnTo>
                    <a:pt x="1453" y="1245"/>
                  </a:lnTo>
                  <a:lnTo>
                    <a:pt x="1448" y="1241"/>
                  </a:lnTo>
                  <a:lnTo>
                    <a:pt x="1442" y="1237"/>
                  </a:lnTo>
                  <a:lnTo>
                    <a:pt x="1440" y="1237"/>
                  </a:lnTo>
                  <a:lnTo>
                    <a:pt x="1438" y="1239"/>
                  </a:lnTo>
                  <a:lnTo>
                    <a:pt x="1436" y="1239"/>
                  </a:lnTo>
                  <a:lnTo>
                    <a:pt x="1434" y="1239"/>
                  </a:lnTo>
                  <a:lnTo>
                    <a:pt x="1432" y="1239"/>
                  </a:lnTo>
                  <a:lnTo>
                    <a:pt x="1430" y="1239"/>
                  </a:lnTo>
                  <a:lnTo>
                    <a:pt x="1428" y="1239"/>
                  </a:lnTo>
                  <a:lnTo>
                    <a:pt x="1426" y="1241"/>
                  </a:lnTo>
                  <a:lnTo>
                    <a:pt x="1425" y="1241"/>
                  </a:lnTo>
                  <a:lnTo>
                    <a:pt x="1419" y="1241"/>
                  </a:lnTo>
                  <a:lnTo>
                    <a:pt x="1413" y="1243"/>
                  </a:lnTo>
                  <a:lnTo>
                    <a:pt x="1407" y="1243"/>
                  </a:lnTo>
                  <a:lnTo>
                    <a:pt x="1402" y="1245"/>
                  </a:lnTo>
                  <a:lnTo>
                    <a:pt x="1398" y="1245"/>
                  </a:lnTo>
                  <a:lnTo>
                    <a:pt x="1396" y="1245"/>
                  </a:lnTo>
                  <a:lnTo>
                    <a:pt x="1388" y="1247"/>
                  </a:lnTo>
                  <a:lnTo>
                    <a:pt x="1384" y="1249"/>
                  </a:lnTo>
                  <a:lnTo>
                    <a:pt x="1382" y="1249"/>
                  </a:lnTo>
                  <a:lnTo>
                    <a:pt x="1375" y="1257"/>
                  </a:lnTo>
                  <a:lnTo>
                    <a:pt x="1369" y="1260"/>
                  </a:lnTo>
                  <a:lnTo>
                    <a:pt x="1367" y="1262"/>
                  </a:lnTo>
                  <a:lnTo>
                    <a:pt x="1359" y="1268"/>
                  </a:lnTo>
                  <a:lnTo>
                    <a:pt x="1355" y="1272"/>
                  </a:lnTo>
                  <a:lnTo>
                    <a:pt x="1354" y="1272"/>
                  </a:lnTo>
                  <a:lnTo>
                    <a:pt x="1354" y="1274"/>
                  </a:lnTo>
                  <a:lnTo>
                    <a:pt x="1355" y="1291"/>
                  </a:lnTo>
                  <a:lnTo>
                    <a:pt x="1355" y="1293"/>
                  </a:lnTo>
                  <a:lnTo>
                    <a:pt x="1355" y="1295"/>
                  </a:lnTo>
                  <a:lnTo>
                    <a:pt x="1355" y="1310"/>
                  </a:lnTo>
                  <a:lnTo>
                    <a:pt x="1355" y="1314"/>
                  </a:lnTo>
                  <a:lnTo>
                    <a:pt x="1355" y="1318"/>
                  </a:lnTo>
                  <a:lnTo>
                    <a:pt x="1354" y="1318"/>
                  </a:lnTo>
                  <a:lnTo>
                    <a:pt x="1350" y="1318"/>
                  </a:lnTo>
                  <a:lnTo>
                    <a:pt x="1350" y="1316"/>
                  </a:lnTo>
                  <a:lnTo>
                    <a:pt x="1348" y="1316"/>
                  </a:lnTo>
                  <a:lnTo>
                    <a:pt x="1346" y="1316"/>
                  </a:lnTo>
                  <a:lnTo>
                    <a:pt x="1344" y="1314"/>
                  </a:lnTo>
                  <a:lnTo>
                    <a:pt x="1344" y="1312"/>
                  </a:lnTo>
                  <a:lnTo>
                    <a:pt x="1340" y="1312"/>
                  </a:lnTo>
                  <a:lnTo>
                    <a:pt x="1336" y="1312"/>
                  </a:lnTo>
                  <a:lnTo>
                    <a:pt x="1336" y="1310"/>
                  </a:lnTo>
                  <a:lnTo>
                    <a:pt x="1334" y="1310"/>
                  </a:lnTo>
                  <a:lnTo>
                    <a:pt x="1332" y="1310"/>
                  </a:lnTo>
                  <a:lnTo>
                    <a:pt x="1331" y="1310"/>
                  </a:lnTo>
                  <a:lnTo>
                    <a:pt x="1327" y="1308"/>
                  </a:lnTo>
                  <a:lnTo>
                    <a:pt x="1325" y="1310"/>
                  </a:lnTo>
                  <a:lnTo>
                    <a:pt x="1323" y="1310"/>
                  </a:lnTo>
                  <a:lnTo>
                    <a:pt x="1323" y="1308"/>
                  </a:lnTo>
                  <a:lnTo>
                    <a:pt x="1323" y="1310"/>
                  </a:lnTo>
                  <a:lnTo>
                    <a:pt x="1321" y="1310"/>
                  </a:lnTo>
                  <a:lnTo>
                    <a:pt x="1321" y="1308"/>
                  </a:lnTo>
                  <a:lnTo>
                    <a:pt x="1321" y="1306"/>
                  </a:lnTo>
                  <a:lnTo>
                    <a:pt x="1319" y="1306"/>
                  </a:lnTo>
                  <a:lnTo>
                    <a:pt x="1317" y="1306"/>
                  </a:lnTo>
                  <a:lnTo>
                    <a:pt x="1317" y="1305"/>
                  </a:lnTo>
                  <a:lnTo>
                    <a:pt x="1319" y="1305"/>
                  </a:lnTo>
                  <a:lnTo>
                    <a:pt x="1319" y="1303"/>
                  </a:lnTo>
                  <a:lnTo>
                    <a:pt x="1317" y="1303"/>
                  </a:lnTo>
                  <a:lnTo>
                    <a:pt x="1317" y="1301"/>
                  </a:lnTo>
                  <a:lnTo>
                    <a:pt x="1315" y="1301"/>
                  </a:lnTo>
                  <a:lnTo>
                    <a:pt x="1313" y="1301"/>
                  </a:lnTo>
                  <a:lnTo>
                    <a:pt x="1311" y="1301"/>
                  </a:lnTo>
                  <a:lnTo>
                    <a:pt x="1311" y="1303"/>
                  </a:lnTo>
                  <a:lnTo>
                    <a:pt x="1309" y="1303"/>
                  </a:lnTo>
                  <a:lnTo>
                    <a:pt x="1309" y="1305"/>
                  </a:lnTo>
                  <a:lnTo>
                    <a:pt x="1309" y="1306"/>
                  </a:lnTo>
                  <a:lnTo>
                    <a:pt x="1307" y="1308"/>
                  </a:lnTo>
                  <a:lnTo>
                    <a:pt x="1307" y="1310"/>
                  </a:lnTo>
                  <a:lnTo>
                    <a:pt x="1307" y="1312"/>
                  </a:lnTo>
                  <a:lnTo>
                    <a:pt x="1306" y="1312"/>
                  </a:lnTo>
                  <a:lnTo>
                    <a:pt x="1304" y="1312"/>
                  </a:lnTo>
                  <a:lnTo>
                    <a:pt x="1302" y="1314"/>
                  </a:lnTo>
                  <a:lnTo>
                    <a:pt x="1300" y="1316"/>
                  </a:lnTo>
                  <a:lnTo>
                    <a:pt x="1300" y="1314"/>
                  </a:lnTo>
                  <a:lnTo>
                    <a:pt x="1298" y="1314"/>
                  </a:lnTo>
                  <a:lnTo>
                    <a:pt x="1296" y="1314"/>
                  </a:lnTo>
                  <a:lnTo>
                    <a:pt x="1294" y="1314"/>
                  </a:lnTo>
                  <a:lnTo>
                    <a:pt x="1294" y="1312"/>
                  </a:lnTo>
                  <a:lnTo>
                    <a:pt x="1292" y="1312"/>
                  </a:lnTo>
                  <a:lnTo>
                    <a:pt x="1290" y="1312"/>
                  </a:lnTo>
                  <a:lnTo>
                    <a:pt x="1288" y="1310"/>
                  </a:lnTo>
                  <a:lnTo>
                    <a:pt x="1288" y="1308"/>
                  </a:lnTo>
                  <a:lnTo>
                    <a:pt x="1286" y="1308"/>
                  </a:lnTo>
                  <a:lnTo>
                    <a:pt x="1286" y="1306"/>
                  </a:lnTo>
                  <a:lnTo>
                    <a:pt x="1284" y="1306"/>
                  </a:lnTo>
                  <a:lnTo>
                    <a:pt x="1284" y="1305"/>
                  </a:lnTo>
                  <a:lnTo>
                    <a:pt x="1286" y="1305"/>
                  </a:lnTo>
                  <a:lnTo>
                    <a:pt x="1286" y="1303"/>
                  </a:lnTo>
                  <a:lnTo>
                    <a:pt x="1284" y="1301"/>
                  </a:lnTo>
                  <a:lnTo>
                    <a:pt x="1284" y="1299"/>
                  </a:lnTo>
                  <a:lnTo>
                    <a:pt x="1284" y="1297"/>
                  </a:lnTo>
                  <a:lnTo>
                    <a:pt x="1284" y="1295"/>
                  </a:lnTo>
                  <a:lnTo>
                    <a:pt x="1283" y="1295"/>
                  </a:lnTo>
                  <a:lnTo>
                    <a:pt x="1281" y="1295"/>
                  </a:lnTo>
                  <a:lnTo>
                    <a:pt x="1279" y="1295"/>
                  </a:lnTo>
                  <a:lnTo>
                    <a:pt x="1279" y="1297"/>
                  </a:lnTo>
                  <a:lnTo>
                    <a:pt x="1279" y="1299"/>
                  </a:lnTo>
                  <a:lnTo>
                    <a:pt x="1277" y="1299"/>
                  </a:lnTo>
                  <a:lnTo>
                    <a:pt x="1277" y="1301"/>
                  </a:lnTo>
                  <a:lnTo>
                    <a:pt x="1275" y="1301"/>
                  </a:lnTo>
                  <a:lnTo>
                    <a:pt x="1273" y="1301"/>
                  </a:lnTo>
                  <a:lnTo>
                    <a:pt x="1273" y="1303"/>
                  </a:lnTo>
                  <a:lnTo>
                    <a:pt x="1273" y="1305"/>
                  </a:lnTo>
                  <a:lnTo>
                    <a:pt x="1271" y="1305"/>
                  </a:lnTo>
                  <a:lnTo>
                    <a:pt x="1271" y="1306"/>
                  </a:lnTo>
                  <a:lnTo>
                    <a:pt x="1269" y="1306"/>
                  </a:lnTo>
                  <a:lnTo>
                    <a:pt x="1267" y="1306"/>
                  </a:lnTo>
                  <a:lnTo>
                    <a:pt x="1265" y="1305"/>
                  </a:lnTo>
                  <a:lnTo>
                    <a:pt x="1265" y="1303"/>
                  </a:lnTo>
                  <a:lnTo>
                    <a:pt x="1263" y="1303"/>
                  </a:lnTo>
                  <a:lnTo>
                    <a:pt x="1261" y="1303"/>
                  </a:lnTo>
                  <a:lnTo>
                    <a:pt x="1261" y="1305"/>
                  </a:lnTo>
                  <a:lnTo>
                    <a:pt x="1261" y="1306"/>
                  </a:lnTo>
                  <a:lnTo>
                    <a:pt x="1261" y="1308"/>
                  </a:lnTo>
                  <a:lnTo>
                    <a:pt x="1259" y="1308"/>
                  </a:lnTo>
                  <a:lnTo>
                    <a:pt x="1259" y="1310"/>
                  </a:lnTo>
                  <a:lnTo>
                    <a:pt x="1258" y="1310"/>
                  </a:lnTo>
                  <a:lnTo>
                    <a:pt x="1256" y="1310"/>
                  </a:lnTo>
                  <a:lnTo>
                    <a:pt x="1256" y="1308"/>
                  </a:lnTo>
                  <a:lnTo>
                    <a:pt x="1254" y="1308"/>
                  </a:lnTo>
                  <a:lnTo>
                    <a:pt x="1252" y="1308"/>
                  </a:lnTo>
                  <a:lnTo>
                    <a:pt x="1252" y="1306"/>
                  </a:lnTo>
                  <a:lnTo>
                    <a:pt x="1250" y="1308"/>
                  </a:lnTo>
                  <a:lnTo>
                    <a:pt x="1250" y="1310"/>
                  </a:lnTo>
                  <a:lnTo>
                    <a:pt x="1248" y="1310"/>
                  </a:lnTo>
                  <a:lnTo>
                    <a:pt x="1248" y="1312"/>
                  </a:lnTo>
                  <a:lnTo>
                    <a:pt x="1246" y="1312"/>
                  </a:lnTo>
                  <a:lnTo>
                    <a:pt x="1244" y="1312"/>
                  </a:lnTo>
                  <a:lnTo>
                    <a:pt x="1242" y="1314"/>
                  </a:lnTo>
                  <a:lnTo>
                    <a:pt x="1240" y="1314"/>
                  </a:lnTo>
                  <a:lnTo>
                    <a:pt x="1240" y="1312"/>
                  </a:lnTo>
                  <a:lnTo>
                    <a:pt x="1242" y="1312"/>
                  </a:lnTo>
                  <a:lnTo>
                    <a:pt x="1240" y="1312"/>
                  </a:lnTo>
                  <a:lnTo>
                    <a:pt x="1240" y="1310"/>
                  </a:lnTo>
                  <a:lnTo>
                    <a:pt x="1238" y="1310"/>
                  </a:lnTo>
                  <a:lnTo>
                    <a:pt x="1238" y="1308"/>
                  </a:lnTo>
                  <a:lnTo>
                    <a:pt x="1236" y="1308"/>
                  </a:lnTo>
                  <a:lnTo>
                    <a:pt x="1235" y="1308"/>
                  </a:lnTo>
                  <a:lnTo>
                    <a:pt x="1235" y="1306"/>
                  </a:lnTo>
                  <a:lnTo>
                    <a:pt x="1236" y="1306"/>
                  </a:lnTo>
                  <a:lnTo>
                    <a:pt x="1236" y="1305"/>
                  </a:lnTo>
                  <a:lnTo>
                    <a:pt x="1235" y="1305"/>
                  </a:lnTo>
                  <a:lnTo>
                    <a:pt x="1236" y="1305"/>
                  </a:lnTo>
                  <a:lnTo>
                    <a:pt x="1236" y="1303"/>
                  </a:lnTo>
                  <a:lnTo>
                    <a:pt x="1236" y="1301"/>
                  </a:lnTo>
                  <a:lnTo>
                    <a:pt x="1235" y="1301"/>
                  </a:lnTo>
                  <a:lnTo>
                    <a:pt x="1233" y="1299"/>
                  </a:lnTo>
                  <a:lnTo>
                    <a:pt x="1235" y="1297"/>
                  </a:lnTo>
                  <a:lnTo>
                    <a:pt x="1235" y="1295"/>
                  </a:lnTo>
                  <a:lnTo>
                    <a:pt x="1235" y="1293"/>
                  </a:lnTo>
                  <a:lnTo>
                    <a:pt x="1235" y="1291"/>
                  </a:lnTo>
                  <a:lnTo>
                    <a:pt x="1233" y="1291"/>
                  </a:lnTo>
                  <a:lnTo>
                    <a:pt x="1233" y="1289"/>
                  </a:lnTo>
                  <a:lnTo>
                    <a:pt x="1233" y="1287"/>
                  </a:lnTo>
                  <a:lnTo>
                    <a:pt x="1231" y="1287"/>
                  </a:lnTo>
                  <a:lnTo>
                    <a:pt x="1231" y="1285"/>
                  </a:lnTo>
                  <a:lnTo>
                    <a:pt x="1231" y="1283"/>
                  </a:lnTo>
                  <a:lnTo>
                    <a:pt x="1231" y="1281"/>
                  </a:lnTo>
                  <a:lnTo>
                    <a:pt x="1229" y="1281"/>
                  </a:lnTo>
                  <a:lnTo>
                    <a:pt x="1229" y="1280"/>
                  </a:lnTo>
                  <a:lnTo>
                    <a:pt x="1229" y="1278"/>
                  </a:lnTo>
                  <a:lnTo>
                    <a:pt x="1227" y="1278"/>
                  </a:lnTo>
                  <a:lnTo>
                    <a:pt x="1225" y="1276"/>
                  </a:lnTo>
                  <a:lnTo>
                    <a:pt x="1227" y="1276"/>
                  </a:lnTo>
                  <a:lnTo>
                    <a:pt x="1227" y="1274"/>
                  </a:lnTo>
                  <a:lnTo>
                    <a:pt x="1225" y="1274"/>
                  </a:lnTo>
                  <a:lnTo>
                    <a:pt x="1227" y="1274"/>
                  </a:lnTo>
                  <a:lnTo>
                    <a:pt x="1227" y="1272"/>
                  </a:lnTo>
                  <a:lnTo>
                    <a:pt x="1227" y="1270"/>
                  </a:lnTo>
                  <a:lnTo>
                    <a:pt x="1225" y="1270"/>
                  </a:lnTo>
                  <a:lnTo>
                    <a:pt x="1225" y="1268"/>
                  </a:lnTo>
                  <a:lnTo>
                    <a:pt x="1223" y="1268"/>
                  </a:lnTo>
                  <a:lnTo>
                    <a:pt x="1223" y="1266"/>
                  </a:lnTo>
                  <a:lnTo>
                    <a:pt x="1223" y="1268"/>
                  </a:lnTo>
                  <a:lnTo>
                    <a:pt x="1223" y="1266"/>
                  </a:lnTo>
                  <a:lnTo>
                    <a:pt x="1221" y="1266"/>
                  </a:lnTo>
                  <a:lnTo>
                    <a:pt x="1219" y="1266"/>
                  </a:lnTo>
                  <a:lnTo>
                    <a:pt x="1217" y="1266"/>
                  </a:lnTo>
                  <a:lnTo>
                    <a:pt x="1217" y="1264"/>
                  </a:lnTo>
                  <a:lnTo>
                    <a:pt x="1217" y="1262"/>
                  </a:lnTo>
                  <a:lnTo>
                    <a:pt x="1215" y="1262"/>
                  </a:lnTo>
                  <a:lnTo>
                    <a:pt x="1213" y="1262"/>
                  </a:lnTo>
                  <a:lnTo>
                    <a:pt x="1213" y="1260"/>
                  </a:lnTo>
                  <a:lnTo>
                    <a:pt x="1212" y="1260"/>
                  </a:lnTo>
                  <a:lnTo>
                    <a:pt x="1212" y="1258"/>
                  </a:lnTo>
                  <a:lnTo>
                    <a:pt x="1210" y="1258"/>
                  </a:lnTo>
                  <a:lnTo>
                    <a:pt x="1210" y="1257"/>
                  </a:lnTo>
                  <a:lnTo>
                    <a:pt x="1210" y="1255"/>
                  </a:lnTo>
                  <a:lnTo>
                    <a:pt x="1208" y="1255"/>
                  </a:lnTo>
                  <a:lnTo>
                    <a:pt x="1208" y="1253"/>
                  </a:lnTo>
                  <a:lnTo>
                    <a:pt x="1206" y="1253"/>
                  </a:lnTo>
                  <a:lnTo>
                    <a:pt x="1206" y="1255"/>
                  </a:lnTo>
                  <a:lnTo>
                    <a:pt x="1206" y="1253"/>
                  </a:lnTo>
                  <a:lnTo>
                    <a:pt x="1204" y="1255"/>
                  </a:lnTo>
                  <a:lnTo>
                    <a:pt x="1204" y="1253"/>
                  </a:lnTo>
                  <a:lnTo>
                    <a:pt x="1202" y="1253"/>
                  </a:lnTo>
                  <a:lnTo>
                    <a:pt x="1200" y="1251"/>
                  </a:lnTo>
                  <a:lnTo>
                    <a:pt x="1202" y="1251"/>
                  </a:lnTo>
                  <a:lnTo>
                    <a:pt x="1200" y="1249"/>
                  </a:lnTo>
                  <a:lnTo>
                    <a:pt x="1198" y="1249"/>
                  </a:lnTo>
                  <a:lnTo>
                    <a:pt x="1198" y="1247"/>
                  </a:lnTo>
                  <a:lnTo>
                    <a:pt x="1196" y="1247"/>
                  </a:lnTo>
                  <a:lnTo>
                    <a:pt x="1196" y="1245"/>
                  </a:lnTo>
                  <a:lnTo>
                    <a:pt x="1196" y="1243"/>
                  </a:lnTo>
                  <a:lnTo>
                    <a:pt x="1196" y="1241"/>
                  </a:lnTo>
                  <a:lnTo>
                    <a:pt x="1198" y="1241"/>
                  </a:lnTo>
                  <a:lnTo>
                    <a:pt x="1198" y="1239"/>
                  </a:lnTo>
                  <a:lnTo>
                    <a:pt x="1198" y="1237"/>
                  </a:lnTo>
                  <a:lnTo>
                    <a:pt x="1198" y="1235"/>
                  </a:lnTo>
                  <a:lnTo>
                    <a:pt x="1198" y="1233"/>
                  </a:lnTo>
                  <a:lnTo>
                    <a:pt x="1196" y="1233"/>
                  </a:lnTo>
                  <a:lnTo>
                    <a:pt x="1198" y="1233"/>
                  </a:lnTo>
                  <a:lnTo>
                    <a:pt x="1196" y="1233"/>
                  </a:lnTo>
                  <a:lnTo>
                    <a:pt x="1196" y="1232"/>
                  </a:lnTo>
                  <a:lnTo>
                    <a:pt x="1194" y="1232"/>
                  </a:lnTo>
                  <a:lnTo>
                    <a:pt x="1194" y="1230"/>
                  </a:lnTo>
                  <a:lnTo>
                    <a:pt x="1192" y="1232"/>
                  </a:lnTo>
                  <a:lnTo>
                    <a:pt x="1190" y="1230"/>
                  </a:lnTo>
                  <a:lnTo>
                    <a:pt x="1190" y="1232"/>
                  </a:lnTo>
                  <a:lnTo>
                    <a:pt x="1188" y="1232"/>
                  </a:lnTo>
                  <a:lnTo>
                    <a:pt x="1187" y="1232"/>
                  </a:lnTo>
                  <a:lnTo>
                    <a:pt x="1187" y="1233"/>
                  </a:lnTo>
                  <a:lnTo>
                    <a:pt x="1185" y="1233"/>
                  </a:lnTo>
                  <a:lnTo>
                    <a:pt x="1185" y="1235"/>
                  </a:lnTo>
                  <a:lnTo>
                    <a:pt x="1183" y="1235"/>
                  </a:lnTo>
                  <a:lnTo>
                    <a:pt x="1181" y="1235"/>
                  </a:lnTo>
                  <a:lnTo>
                    <a:pt x="1179" y="1235"/>
                  </a:lnTo>
                  <a:lnTo>
                    <a:pt x="1177" y="1235"/>
                  </a:lnTo>
                  <a:lnTo>
                    <a:pt x="1177" y="1233"/>
                  </a:lnTo>
                  <a:lnTo>
                    <a:pt x="1175" y="1233"/>
                  </a:lnTo>
                  <a:lnTo>
                    <a:pt x="1175" y="1235"/>
                  </a:lnTo>
                  <a:lnTo>
                    <a:pt x="1177" y="1235"/>
                  </a:lnTo>
                  <a:lnTo>
                    <a:pt x="1175" y="1235"/>
                  </a:lnTo>
                  <a:lnTo>
                    <a:pt x="1173" y="1235"/>
                  </a:lnTo>
                  <a:lnTo>
                    <a:pt x="1171" y="1235"/>
                  </a:lnTo>
                  <a:lnTo>
                    <a:pt x="1171" y="1237"/>
                  </a:lnTo>
                  <a:lnTo>
                    <a:pt x="1171" y="1239"/>
                  </a:lnTo>
                  <a:lnTo>
                    <a:pt x="1169" y="1239"/>
                  </a:lnTo>
                  <a:lnTo>
                    <a:pt x="1169" y="1241"/>
                  </a:lnTo>
                  <a:lnTo>
                    <a:pt x="1167" y="1241"/>
                  </a:lnTo>
                  <a:lnTo>
                    <a:pt x="1167" y="1239"/>
                  </a:lnTo>
                  <a:lnTo>
                    <a:pt x="1165" y="1239"/>
                  </a:lnTo>
                  <a:lnTo>
                    <a:pt x="1164" y="1239"/>
                  </a:lnTo>
                  <a:lnTo>
                    <a:pt x="1164" y="1237"/>
                  </a:lnTo>
                  <a:lnTo>
                    <a:pt x="1162" y="1237"/>
                  </a:lnTo>
                  <a:lnTo>
                    <a:pt x="1162" y="1235"/>
                  </a:lnTo>
                  <a:lnTo>
                    <a:pt x="1162" y="1233"/>
                  </a:lnTo>
                  <a:lnTo>
                    <a:pt x="1160" y="1233"/>
                  </a:lnTo>
                  <a:lnTo>
                    <a:pt x="1160" y="1232"/>
                  </a:lnTo>
                  <a:lnTo>
                    <a:pt x="1158" y="1232"/>
                  </a:lnTo>
                  <a:lnTo>
                    <a:pt x="1156" y="1232"/>
                  </a:lnTo>
                  <a:lnTo>
                    <a:pt x="1154" y="1232"/>
                  </a:lnTo>
                  <a:lnTo>
                    <a:pt x="1154" y="1233"/>
                  </a:lnTo>
                  <a:lnTo>
                    <a:pt x="1152" y="1233"/>
                  </a:lnTo>
                  <a:lnTo>
                    <a:pt x="1152" y="1235"/>
                  </a:lnTo>
                  <a:lnTo>
                    <a:pt x="1150" y="1237"/>
                  </a:lnTo>
                  <a:lnTo>
                    <a:pt x="1150" y="1235"/>
                  </a:lnTo>
                  <a:lnTo>
                    <a:pt x="1148" y="1235"/>
                  </a:lnTo>
                  <a:lnTo>
                    <a:pt x="1144" y="1233"/>
                  </a:lnTo>
                  <a:lnTo>
                    <a:pt x="1144" y="1232"/>
                  </a:lnTo>
                  <a:lnTo>
                    <a:pt x="1144" y="1230"/>
                  </a:lnTo>
                  <a:lnTo>
                    <a:pt x="1142" y="1230"/>
                  </a:lnTo>
                  <a:lnTo>
                    <a:pt x="1142" y="1228"/>
                  </a:lnTo>
                  <a:lnTo>
                    <a:pt x="1140" y="1228"/>
                  </a:lnTo>
                  <a:lnTo>
                    <a:pt x="1139" y="1228"/>
                  </a:lnTo>
                  <a:lnTo>
                    <a:pt x="1137" y="1228"/>
                  </a:lnTo>
                  <a:lnTo>
                    <a:pt x="1137" y="1230"/>
                  </a:lnTo>
                  <a:lnTo>
                    <a:pt x="1137" y="1228"/>
                  </a:lnTo>
                  <a:lnTo>
                    <a:pt x="1137" y="1230"/>
                  </a:lnTo>
                  <a:lnTo>
                    <a:pt x="1135" y="1228"/>
                  </a:lnTo>
                  <a:lnTo>
                    <a:pt x="1133" y="1228"/>
                  </a:lnTo>
                  <a:lnTo>
                    <a:pt x="1133" y="1226"/>
                  </a:lnTo>
                  <a:lnTo>
                    <a:pt x="1131" y="1226"/>
                  </a:lnTo>
                  <a:lnTo>
                    <a:pt x="1131" y="1224"/>
                  </a:lnTo>
                  <a:lnTo>
                    <a:pt x="1129" y="1224"/>
                  </a:lnTo>
                  <a:lnTo>
                    <a:pt x="1131" y="1224"/>
                  </a:lnTo>
                  <a:lnTo>
                    <a:pt x="1131" y="1222"/>
                  </a:lnTo>
                  <a:lnTo>
                    <a:pt x="1131" y="1220"/>
                  </a:lnTo>
                  <a:lnTo>
                    <a:pt x="1131" y="1218"/>
                  </a:lnTo>
                  <a:lnTo>
                    <a:pt x="1129" y="1218"/>
                  </a:lnTo>
                  <a:lnTo>
                    <a:pt x="1129" y="1216"/>
                  </a:lnTo>
                  <a:lnTo>
                    <a:pt x="1127" y="1216"/>
                  </a:lnTo>
                  <a:lnTo>
                    <a:pt x="1125" y="1216"/>
                  </a:lnTo>
                  <a:lnTo>
                    <a:pt x="1123" y="1216"/>
                  </a:lnTo>
                  <a:lnTo>
                    <a:pt x="1121" y="1216"/>
                  </a:lnTo>
                  <a:lnTo>
                    <a:pt x="1119" y="1216"/>
                  </a:lnTo>
                  <a:lnTo>
                    <a:pt x="1119" y="1214"/>
                  </a:lnTo>
                  <a:lnTo>
                    <a:pt x="1117" y="1214"/>
                  </a:lnTo>
                  <a:lnTo>
                    <a:pt x="1119" y="1212"/>
                  </a:lnTo>
                  <a:lnTo>
                    <a:pt x="1117" y="1212"/>
                  </a:lnTo>
                  <a:lnTo>
                    <a:pt x="1117" y="1210"/>
                  </a:lnTo>
                  <a:lnTo>
                    <a:pt x="1117" y="1212"/>
                  </a:lnTo>
                  <a:lnTo>
                    <a:pt x="1116" y="1212"/>
                  </a:lnTo>
                  <a:lnTo>
                    <a:pt x="1116" y="1210"/>
                  </a:lnTo>
                  <a:lnTo>
                    <a:pt x="1114" y="1210"/>
                  </a:lnTo>
                  <a:lnTo>
                    <a:pt x="1112" y="1210"/>
                  </a:lnTo>
                  <a:lnTo>
                    <a:pt x="1112" y="1209"/>
                  </a:lnTo>
                  <a:lnTo>
                    <a:pt x="1110" y="1209"/>
                  </a:lnTo>
                  <a:lnTo>
                    <a:pt x="1108" y="1209"/>
                  </a:lnTo>
                  <a:lnTo>
                    <a:pt x="1108" y="1207"/>
                  </a:lnTo>
                  <a:lnTo>
                    <a:pt x="1106" y="1207"/>
                  </a:lnTo>
                  <a:lnTo>
                    <a:pt x="1108" y="1205"/>
                  </a:lnTo>
                  <a:lnTo>
                    <a:pt x="1106" y="1205"/>
                  </a:lnTo>
                  <a:lnTo>
                    <a:pt x="1104" y="1203"/>
                  </a:lnTo>
                  <a:lnTo>
                    <a:pt x="1104" y="1205"/>
                  </a:lnTo>
                  <a:lnTo>
                    <a:pt x="1104" y="1203"/>
                  </a:lnTo>
                  <a:lnTo>
                    <a:pt x="1102" y="1203"/>
                  </a:lnTo>
                  <a:lnTo>
                    <a:pt x="1102" y="1205"/>
                  </a:lnTo>
                  <a:lnTo>
                    <a:pt x="1100" y="1205"/>
                  </a:lnTo>
                  <a:lnTo>
                    <a:pt x="1102" y="1205"/>
                  </a:lnTo>
                  <a:lnTo>
                    <a:pt x="1102" y="1207"/>
                  </a:lnTo>
                  <a:lnTo>
                    <a:pt x="1100" y="1205"/>
                  </a:lnTo>
                  <a:lnTo>
                    <a:pt x="1098" y="1205"/>
                  </a:lnTo>
                  <a:lnTo>
                    <a:pt x="1096" y="1205"/>
                  </a:lnTo>
                  <a:lnTo>
                    <a:pt x="1094" y="1205"/>
                  </a:lnTo>
                  <a:lnTo>
                    <a:pt x="1094" y="1207"/>
                  </a:lnTo>
                  <a:lnTo>
                    <a:pt x="1094" y="1205"/>
                  </a:lnTo>
                  <a:lnTo>
                    <a:pt x="1093" y="1205"/>
                  </a:lnTo>
                  <a:lnTo>
                    <a:pt x="1091" y="1207"/>
                  </a:lnTo>
                  <a:lnTo>
                    <a:pt x="1087" y="1210"/>
                  </a:lnTo>
                  <a:lnTo>
                    <a:pt x="1087" y="1212"/>
                  </a:lnTo>
                  <a:lnTo>
                    <a:pt x="1085" y="1214"/>
                  </a:lnTo>
                  <a:lnTo>
                    <a:pt x="1085" y="1216"/>
                  </a:lnTo>
                  <a:lnTo>
                    <a:pt x="1083" y="1216"/>
                  </a:lnTo>
                  <a:lnTo>
                    <a:pt x="1083" y="1212"/>
                  </a:lnTo>
                  <a:lnTo>
                    <a:pt x="1081" y="1212"/>
                  </a:lnTo>
                  <a:lnTo>
                    <a:pt x="1079" y="1210"/>
                  </a:lnTo>
                  <a:lnTo>
                    <a:pt x="1079" y="1209"/>
                  </a:lnTo>
                  <a:lnTo>
                    <a:pt x="1077" y="1209"/>
                  </a:lnTo>
                  <a:lnTo>
                    <a:pt x="1073" y="1209"/>
                  </a:lnTo>
                  <a:lnTo>
                    <a:pt x="1075" y="1210"/>
                  </a:lnTo>
                  <a:lnTo>
                    <a:pt x="1075" y="1212"/>
                  </a:lnTo>
                  <a:lnTo>
                    <a:pt x="1077" y="1214"/>
                  </a:lnTo>
                  <a:lnTo>
                    <a:pt x="1075" y="1216"/>
                  </a:lnTo>
                  <a:lnTo>
                    <a:pt x="1075" y="1218"/>
                  </a:lnTo>
                  <a:lnTo>
                    <a:pt x="1073" y="1218"/>
                  </a:lnTo>
                  <a:lnTo>
                    <a:pt x="1071" y="1216"/>
                  </a:lnTo>
                  <a:lnTo>
                    <a:pt x="1069" y="1216"/>
                  </a:lnTo>
                  <a:lnTo>
                    <a:pt x="1066" y="1214"/>
                  </a:lnTo>
                  <a:lnTo>
                    <a:pt x="1064" y="1212"/>
                  </a:lnTo>
                  <a:lnTo>
                    <a:pt x="1062" y="1212"/>
                  </a:lnTo>
                  <a:lnTo>
                    <a:pt x="1060" y="1210"/>
                  </a:lnTo>
                  <a:lnTo>
                    <a:pt x="1062" y="1207"/>
                  </a:lnTo>
                  <a:lnTo>
                    <a:pt x="1064" y="1205"/>
                  </a:lnTo>
                  <a:lnTo>
                    <a:pt x="1064" y="1203"/>
                  </a:lnTo>
                  <a:lnTo>
                    <a:pt x="1066" y="1203"/>
                  </a:lnTo>
                  <a:lnTo>
                    <a:pt x="1064" y="1201"/>
                  </a:lnTo>
                  <a:lnTo>
                    <a:pt x="1064" y="1199"/>
                  </a:lnTo>
                  <a:lnTo>
                    <a:pt x="1062" y="1197"/>
                  </a:lnTo>
                  <a:lnTo>
                    <a:pt x="1060" y="1195"/>
                  </a:lnTo>
                  <a:lnTo>
                    <a:pt x="1058" y="1193"/>
                  </a:lnTo>
                  <a:lnTo>
                    <a:pt x="1056" y="1193"/>
                  </a:lnTo>
                  <a:lnTo>
                    <a:pt x="1054" y="1193"/>
                  </a:lnTo>
                  <a:lnTo>
                    <a:pt x="1054" y="1189"/>
                  </a:lnTo>
                  <a:lnTo>
                    <a:pt x="1052" y="1185"/>
                  </a:lnTo>
                  <a:lnTo>
                    <a:pt x="1052" y="1184"/>
                  </a:lnTo>
                  <a:lnTo>
                    <a:pt x="1052" y="1182"/>
                  </a:lnTo>
                  <a:lnTo>
                    <a:pt x="1050" y="1180"/>
                  </a:lnTo>
                  <a:lnTo>
                    <a:pt x="1052" y="1180"/>
                  </a:lnTo>
                  <a:lnTo>
                    <a:pt x="1050" y="1178"/>
                  </a:lnTo>
                  <a:lnTo>
                    <a:pt x="1048" y="1168"/>
                  </a:lnTo>
                  <a:lnTo>
                    <a:pt x="1046" y="1166"/>
                  </a:lnTo>
                  <a:lnTo>
                    <a:pt x="1045" y="1160"/>
                  </a:lnTo>
                  <a:lnTo>
                    <a:pt x="1045" y="1159"/>
                  </a:lnTo>
                  <a:lnTo>
                    <a:pt x="1045" y="1157"/>
                  </a:lnTo>
                  <a:lnTo>
                    <a:pt x="1043" y="1155"/>
                  </a:lnTo>
                  <a:lnTo>
                    <a:pt x="1043" y="1153"/>
                  </a:lnTo>
                  <a:lnTo>
                    <a:pt x="1037" y="1137"/>
                  </a:lnTo>
                  <a:lnTo>
                    <a:pt x="1035" y="1128"/>
                  </a:lnTo>
                  <a:lnTo>
                    <a:pt x="1033" y="1126"/>
                  </a:lnTo>
                  <a:lnTo>
                    <a:pt x="1033" y="1124"/>
                  </a:lnTo>
                  <a:lnTo>
                    <a:pt x="1031" y="1120"/>
                  </a:lnTo>
                  <a:lnTo>
                    <a:pt x="1031" y="1118"/>
                  </a:lnTo>
                  <a:lnTo>
                    <a:pt x="1027" y="1111"/>
                  </a:lnTo>
                  <a:lnTo>
                    <a:pt x="1027" y="1109"/>
                  </a:lnTo>
                  <a:lnTo>
                    <a:pt x="1029" y="1107"/>
                  </a:lnTo>
                  <a:lnTo>
                    <a:pt x="1029" y="1105"/>
                  </a:lnTo>
                  <a:lnTo>
                    <a:pt x="1031" y="1103"/>
                  </a:lnTo>
                  <a:lnTo>
                    <a:pt x="1033" y="1101"/>
                  </a:lnTo>
                  <a:lnTo>
                    <a:pt x="1039" y="1099"/>
                  </a:lnTo>
                  <a:lnTo>
                    <a:pt x="1043" y="1099"/>
                  </a:lnTo>
                  <a:lnTo>
                    <a:pt x="1045" y="1099"/>
                  </a:lnTo>
                  <a:lnTo>
                    <a:pt x="1048" y="1097"/>
                  </a:lnTo>
                  <a:lnTo>
                    <a:pt x="1052" y="1097"/>
                  </a:lnTo>
                  <a:lnTo>
                    <a:pt x="1054" y="1095"/>
                  </a:lnTo>
                  <a:lnTo>
                    <a:pt x="1056" y="1095"/>
                  </a:lnTo>
                  <a:lnTo>
                    <a:pt x="1058" y="1095"/>
                  </a:lnTo>
                  <a:lnTo>
                    <a:pt x="1060" y="1095"/>
                  </a:lnTo>
                  <a:lnTo>
                    <a:pt x="1060" y="1093"/>
                  </a:lnTo>
                  <a:lnTo>
                    <a:pt x="1062" y="1093"/>
                  </a:lnTo>
                  <a:lnTo>
                    <a:pt x="1062" y="1091"/>
                  </a:lnTo>
                  <a:lnTo>
                    <a:pt x="1066" y="1089"/>
                  </a:lnTo>
                  <a:lnTo>
                    <a:pt x="1068" y="1089"/>
                  </a:lnTo>
                  <a:lnTo>
                    <a:pt x="1069" y="1089"/>
                  </a:lnTo>
                  <a:lnTo>
                    <a:pt x="1071" y="1087"/>
                  </a:lnTo>
                  <a:lnTo>
                    <a:pt x="1073" y="1082"/>
                  </a:lnTo>
                  <a:lnTo>
                    <a:pt x="1073" y="1080"/>
                  </a:lnTo>
                  <a:lnTo>
                    <a:pt x="1075" y="1080"/>
                  </a:lnTo>
                  <a:lnTo>
                    <a:pt x="1079" y="1076"/>
                  </a:lnTo>
                  <a:lnTo>
                    <a:pt x="1081" y="1076"/>
                  </a:lnTo>
                  <a:lnTo>
                    <a:pt x="1081" y="1074"/>
                  </a:lnTo>
                  <a:lnTo>
                    <a:pt x="1085" y="1070"/>
                  </a:lnTo>
                  <a:lnTo>
                    <a:pt x="1089" y="1066"/>
                  </a:lnTo>
                  <a:lnTo>
                    <a:pt x="1093" y="1063"/>
                  </a:lnTo>
                  <a:lnTo>
                    <a:pt x="1096" y="1059"/>
                  </a:lnTo>
                  <a:lnTo>
                    <a:pt x="1100" y="1053"/>
                  </a:lnTo>
                  <a:lnTo>
                    <a:pt x="1098" y="1049"/>
                  </a:lnTo>
                  <a:lnTo>
                    <a:pt x="1091" y="1038"/>
                  </a:lnTo>
                  <a:lnTo>
                    <a:pt x="1089" y="1036"/>
                  </a:lnTo>
                  <a:lnTo>
                    <a:pt x="1087" y="1034"/>
                  </a:lnTo>
                  <a:lnTo>
                    <a:pt x="1085" y="1030"/>
                  </a:lnTo>
                  <a:lnTo>
                    <a:pt x="1083" y="1028"/>
                  </a:lnTo>
                  <a:lnTo>
                    <a:pt x="1083" y="1026"/>
                  </a:lnTo>
                  <a:lnTo>
                    <a:pt x="1081" y="1024"/>
                  </a:lnTo>
                  <a:lnTo>
                    <a:pt x="1077" y="1020"/>
                  </a:lnTo>
                  <a:lnTo>
                    <a:pt x="1077" y="1022"/>
                  </a:lnTo>
                  <a:lnTo>
                    <a:pt x="1075" y="1020"/>
                  </a:lnTo>
                  <a:lnTo>
                    <a:pt x="1066" y="1007"/>
                  </a:lnTo>
                  <a:lnTo>
                    <a:pt x="1062" y="1005"/>
                  </a:lnTo>
                  <a:lnTo>
                    <a:pt x="1060" y="1003"/>
                  </a:lnTo>
                  <a:lnTo>
                    <a:pt x="1058" y="1001"/>
                  </a:lnTo>
                  <a:lnTo>
                    <a:pt x="1060" y="1001"/>
                  </a:lnTo>
                  <a:lnTo>
                    <a:pt x="1060" y="999"/>
                  </a:lnTo>
                  <a:lnTo>
                    <a:pt x="1054" y="993"/>
                  </a:lnTo>
                  <a:lnTo>
                    <a:pt x="1048" y="988"/>
                  </a:lnTo>
                  <a:lnTo>
                    <a:pt x="1048" y="986"/>
                  </a:lnTo>
                  <a:lnTo>
                    <a:pt x="1048" y="984"/>
                  </a:lnTo>
                  <a:lnTo>
                    <a:pt x="1046" y="984"/>
                  </a:lnTo>
                  <a:lnTo>
                    <a:pt x="1045" y="980"/>
                  </a:lnTo>
                  <a:lnTo>
                    <a:pt x="1043" y="974"/>
                  </a:lnTo>
                  <a:lnTo>
                    <a:pt x="1035" y="965"/>
                  </a:lnTo>
                  <a:lnTo>
                    <a:pt x="1029" y="968"/>
                  </a:lnTo>
                  <a:lnTo>
                    <a:pt x="1027" y="968"/>
                  </a:lnTo>
                  <a:lnTo>
                    <a:pt x="1014" y="976"/>
                  </a:lnTo>
                  <a:lnTo>
                    <a:pt x="1012" y="978"/>
                  </a:lnTo>
                  <a:lnTo>
                    <a:pt x="1010" y="978"/>
                  </a:lnTo>
                  <a:lnTo>
                    <a:pt x="1008" y="978"/>
                  </a:lnTo>
                  <a:lnTo>
                    <a:pt x="1006" y="980"/>
                  </a:lnTo>
                  <a:lnTo>
                    <a:pt x="1004" y="982"/>
                  </a:lnTo>
                  <a:lnTo>
                    <a:pt x="1004" y="984"/>
                  </a:lnTo>
                  <a:lnTo>
                    <a:pt x="1002" y="984"/>
                  </a:lnTo>
                  <a:lnTo>
                    <a:pt x="997" y="984"/>
                  </a:lnTo>
                  <a:lnTo>
                    <a:pt x="995" y="984"/>
                  </a:lnTo>
                  <a:lnTo>
                    <a:pt x="991" y="984"/>
                  </a:lnTo>
                  <a:lnTo>
                    <a:pt x="985" y="982"/>
                  </a:lnTo>
                  <a:lnTo>
                    <a:pt x="981" y="984"/>
                  </a:lnTo>
                  <a:lnTo>
                    <a:pt x="979" y="984"/>
                  </a:lnTo>
                  <a:lnTo>
                    <a:pt x="977" y="986"/>
                  </a:lnTo>
                  <a:lnTo>
                    <a:pt x="977" y="990"/>
                  </a:lnTo>
                  <a:lnTo>
                    <a:pt x="979" y="990"/>
                  </a:lnTo>
                  <a:lnTo>
                    <a:pt x="979" y="993"/>
                  </a:lnTo>
                  <a:lnTo>
                    <a:pt x="979" y="995"/>
                  </a:lnTo>
                  <a:lnTo>
                    <a:pt x="981" y="997"/>
                  </a:lnTo>
                  <a:lnTo>
                    <a:pt x="981" y="999"/>
                  </a:lnTo>
                  <a:lnTo>
                    <a:pt x="983" y="1001"/>
                  </a:lnTo>
                  <a:lnTo>
                    <a:pt x="981" y="1003"/>
                  </a:lnTo>
                  <a:lnTo>
                    <a:pt x="979" y="1003"/>
                  </a:lnTo>
                  <a:lnTo>
                    <a:pt x="977" y="1003"/>
                  </a:lnTo>
                  <a:lnTo>
                    <a:pt x="974" y="1005"/>
                  </a:lnTo>
                  <a:lnTo>
                    <a:pt x="972" y="1009"/>
                  </a:lnTo>
                  <a:lnTo>
                    <a:pt x="970" y="1009"/>
                  </a:lnTo>
                  <a:lnTo>
                    <a:pt x="968" y="1009"/>
                  </a:lnTo>
                  <a:lnTo>
                    <a:pt x="966" y="1011"/>
                  </a:lnTo>
                  <a:lnTo>
                    <a:pt x="962" y="1013"/>
                  </a:lnTo>
                  <a:lnTo>
                    <a:pt x="960" y="1013"/>
                  </a:lnTo>
                  <a:lnTo>
                    <a:pt x="958" y="1014"/>
                  </a:lnTo>
                  <a:lnTo>
                    <a:pt x="956" y="1013"/>
                  </a:lnTo>
                  <a:lnTo>
                    <a:pt x="954" y="1007"/>
                  </a:lnTo>
                  <a:lnTo>
                    <a:pt x="954" y="1005"/>
                  </a:lnTo>
                  <a:lnTo>
                    <a:pt x="952" y="1005"/>
                  </a:lnTo>
                  <a:lnTo>
                    <a:pt x="947" y="1005"/>
                  </a:lnTo>
                  <a:lnTo>
                    <a:pt x="941" y="1007"/>
                  </a:lnTo>
                  <a:lnTo>
                    <a:pt x="939" y="1007"/>
                  </a:lnTo>
                  <a:lnTo>
                    <a:pt x="937" y="1007"/>
                  </a:lnTo>
                  <a:lnTo>
                    <a:pt x="937" y="1009"/>
                  </a:lnTo>
                  <a:lnTo>
                    <a:pt x="935" y="1009"/>
                  </a:lnTo>
                  <a:lnTo>
                    <a:pt x="931" y="1011"/>
                  </a:lnTo>
                  <a:lnTo>
                    <a:pt x="929" y="1011"/>
                  </a:lnTo>
                  <a:lnTo>
                    <a:pt x="927" y="1011"/>
                  </a:lnTo>
                  <a:lnTo>
                    <a:pt x="927" y="1009"/>
                  </a:lnTo>
                  <a:lnTo>
                    <a:pt x="926" y="1007"/>
                  </a:lnTo>
                  <a:lnTo>
                    <a:pt x="926" y="1005"/>
                  </a:lnTo>
                  <a:lnTo>
                    <a:pt x="924" y="1005"/>
                  </a:lnTo>
                  <a:lnTo>
                    <a:pt x="922" y="1003"/>
                  </a:lnTo>
                  <a:lnTo>
                    <a:pt x="920" y="1003"/>
                  </a:lnTo>
                  <a:lnTo>
                    <a:pt x="920" y="999"/>
                  </a:lnTo>
                  <a:lnTo>
                    <a:pt x="920" y="997"/>
                  </a:lnTo>
                  <a:lnTo>
                    <a:pt x="918" y="997"/>
                  </a:lnTo>
                  <a:lnTo>
                    <a:pt x="918" y="993"/>
                  </a:lnTo>
                  <a:lnTo>
                    <a:pt x="916" y="990"/>
                  </a:lnTo>
                  <a:lnTo>
                    <a:pt x="914" y="990"/>
                  </a:lnTo>
                  <a:lnTo>
                    <a:pt x="914" y="988"/>
                  </a:lnTo>
                  <a:lnTo>
                    <a:pt x="914" y="986"/>
                  </a:lnTo>
                  <a:lnTo>
                    <a:pt x="912" y="986"/>
                  </a:lnTo>
                  <a:lnTo>
                    <a:pt x="912" y="984"/>
                  </a:lnTo>
                  <a:lnTo>
                    <a:pt x="910" y="978"/>
                  </a:lnTo>
                  <a:lnTo>
                    <a:pt x="910" y="976"/>
                  </a:lnTo>
                  <a:lnTo>
                    <a:pt x="910" y="974"/>
                  </a:lnTo>
                  <a:lnTo>
                    <a:pt x="908" y="974"/>
                  </a:lnTo>
                  <a:lnTo>
                    <a:pt x="903" y="976"/>
                  </a:lnTo>
                  <a:lnTo>
                    <a:pt x="901" y="976"/>
                  </a:lnTo>
                  <a:lnTo>
                    <a:pt x="899" y="976"/>
                  </a:lnTo>
                  <a:lnTo>
                    <a:pt x="899" y="978"/>
                  </a:lnTo>
                  <a:lnTo>
                    <a:pt x="897" y="978"/>
                  </a:lnTo>
                  <a:lnTo>
                    <a:pt x="897" y="980"/>
                  </a:lnTo>
                  <a:lnTo>
                    <a:pt x="895" y="980"/>
                  </a:lnTo>
                  <a:lnTo>
                    <a:pt x="895" y="982"/>
                  </a:lnTo>
                  <a:lnTo>
                    <a:pt x="897" y="984"/>
                  </a:lnTo>
                  <a:lnTo>
                    <a:pt x="897" y="986"/>
                  </a:lnTo>
                  <a:lnTo>
                    <a:pt x="895" y="986"/>
                  </a:lnTo>
                  <a:lnTo>
                    <a:pt x="893" y="984"/>
                  </a:lnTo>
                  <a:lnTo>
                    <a:pt x="891" y="982"/>
                  </a:lnTo>
                  <a:lnTo>
                    <a:pt x="889" y="982"/>
                  </a:lnTo>
                  <a:lnTo>
                    <a:pt x="889" y="980"/>
                  </a:lnTo>
                  <a:lnTo>
                    <a:pt x="887" y="980"/>
                  </a:lnTo>
                  <a:lnTo>
                    <a:pt x="885" y="982"/>
                  </a:lnTo>
                  <a:lnTo>
                    <a:pt x="883" y="982"/>
                  </a:lnTo>
                  <a:lnTo>
                    <a:pt x="881" y="982"/>
                  </a:lnTo>
                  <a:lnTo>
                    <a:pt x="879" y="982"/>
                  </a:lnTo>
                  <a:lnTo>
                    <a:pt x="878" y="982"/>
                  </a:lnTo>
                  <a:lnTo>
                    <a:pt x="876" y="982"/>
                  </a:lnTo>
                  <a:lnTo>
                    <a:pt x="874" y="982"/>
                  </a:lnTo>
                  <a:lnTo>
                    <a:pt x="872" y="984"/>
                  </a:lnTo>
                  <a:lnTo>
                    <a:pt x="872" y="986"/>
                  </a:lnTo>
                  <a:lnTo>
                    <a:pt x="874" y="986"/>
                  </a:lnTo>
                  <a:lnTo>
                    <a:pt x="874" y="988"/>
                  </a:lnTo>
                  <a:lnTo>
                    <a:pt x="872" y="988"/>
                  </a:lnTo>
                  <a:lnTo>
                    <a:pt x="870" y="988"/>
                  </a:lnTo>
                  <a:lnTo>
                    <a:pt x="868" y="988"/>
                  </a:lnTo>
                  <a:lnTo>
                    <a:pt x="868" y="990"/>
                  </a:lnTo>
                  <a:lnTo>
                    <a:pt x="870" y="991"/>
                  </a:lnTo>
                  <a:lnTo>
                    <a:pt x="868" y="991"/>
                  </a:lnTo>
                  <a:lnTo>
                    <a:pt x="868" y="993"/>
                  </a:lnTo>
                  <a:lnTo>
                    <a:pt x="868" y="997"/>
                  </a:lnTo>
                  <a:lnTo>
                    <a:pt x="868" y="999"/>
                  </a:lnTo>
                  <a:lnTo>
                    <a:pt x="866" y="999"/>
                  </a:lnTo>
                  <a:lnTo>
                    <a:pt x="864" y="1001"/>
                  </a:lnTo>
                  <a:lnTo>
                    <a:pt x="862" y="1001"/>
                  </a:lnTo>
                  <a:lnTo>
                    <a:pt x="860" y="1003"/>
                  </a:lnTo>
                  <a:lnTo>
                    <a:pt x="858" y="1005"/>
                  </a:lnTo>
                  <a:lnTo>
                    <a:pt x="856" y="1009"/>
                  </a:lnTo>
                  <a:lnTo>
                    <a:pt x="855" y="1011"/>
                  </a:lnTo>
                  <a:lnTo>
                    <a:pt x="853" y="1011"/>
                  </a:lnTo>
                  <a:lnTo>
                    <a:pt x="853" y="1013"/>
                  </a:lnTo>
                  <a:lnTo>
                    <a:pt x="851" y="1013"/>
                  </a:lnTo>
                  <a:lnTo>
                    <a:pt x="849" y="1013"/>
                  </a:lnTo>
                  <a:lnTo>
                    <a:pt x="847" y="1013"/>
                  </a:lnTo>
                  <a:lnTo>
                    <a:pt x="847" y="1014"/>
                  </a:lnTo>
                  <a:lnTo>
                    <a:pt x="845" y="1016"/>
                  </a:lnTo>
                  <a:lnTo>
                    <a:pt x="845" y="1018"/>
                  </a:lnTo>
                  <a:lnTo>
                    <a:pt x="843" y="1020"/>
                  </a:lnTo>
                  <a:lnTo>
                    <a:pt x="841" y="1020"/>
                  </a:lnTo>
                  <a:lnTo>
                    <a:pt x="839" y="1022"/>
                  </a:lnTo>
                  <a:lnTo>
                    <a:pt x="837" y="1022"/>
                  </a:lnTo>
                  <a:lnTo>
                    <a:pt x="833" y="1022"/>
                  </a:lnTo>
                  <a:lnTo>
                    <a:pt x="831" y="1024"/>
                  </a:lnTo>
                  <a:lnTo>
                    <a:pt x="830" y="1026"/>
                  </a:lnTo>
                  <a:lnTo>
                    <a:pt x="830" y="1028"/>
                  </a:lnTo>
                  <a:lnTo>
                    <a:pt x="828" y="1028"/>
                  </a:lnTo>
                  <a:lnTo>
                    <a:pt x="826" y="1028"/>
                  </a:lnTo>
                  <a:lnTo>
                    <a:pt x="824" y="1026"/>
                  </a:lnTo>
                  <a:lnTo>
                    <a:pt x="822" y="1026"/>
                  </a:lnTo>
                  <a:lnTo>
                    <a:pt x="820" y="1026"/>
                  </a:lnTo>
                  <a:lnTo>
                    <a:pt x="820" y="1024"/>
                  </a:lnTo>
                  <a:lnTo>
                    <a:pt x="818" y="1024"/>
                  </a:lnTo>
                  <a:lnTo>
                    <a:pt x="818" y="1022"/>
                  </a:lnTo>
                  <a:lnTo>
                    <a:pt x="816" y="1022"/>
                  </a:lnTo>
                  <a:lnTo>
                    <a:pt x="814" y="1022"/>
                  </a:lnTo>
                  <a:lnTo>
                    <a:pt x="812" y="1022"/>
                  </a:lnTo>
                  <a:lnTo>
                    <a:pt x="810" y="1020"/>
                  </a:lnTo>
                  <a:lnTo>
                    <a:pt x="810" y="1018"/>
                  </a:lnTo>
                  <a:lnTo>
                    <a:pt x="808" y="1018"/>
                  </a:lnTo>
                  <a:lnTo>
                    <a:pt x="808" y="1020"/>
                  </a:lnTo>
                  <a:lnTo>
                    <a:pt x="807" y="1020"/>
                  </a:lnTo>
                  <a:lnTo>
                    <a:pt x="805" y="1018"/>
                  </a:lnTo>
                  <a:lnTo>
                    <a:pt x="803" y="1018"/>
                  </a:lnTo>
                  <a:lnTo>
                    <a:pt x="803" y="1020"/>
                  </a:lnTo>
                  <a:lnTo>
                    <a:pt x="801" y="1020"/>
                  </a:lnTo>
                  <a:lnTo>
                    <a:pt x="799" y="1020"/>
                  </a:lnTo>
                  <a:lnTo>
                    <a:pt x="799" y="1018"/>
                  </a:lnTo>
                  <a:lnTo>
                    <a:pt x="797" y="1016"/>
                  </a:lnTo>
                  <a:lnTo>
                    <a:pt x="795" y="1018"/>
                  </a:lnTo>
                  <a:lnTo>
                    <a:pt x="793" y="1018"/>
                  </a:lnTo>
                  <a:lnTo>
                    <a:pt x="791" y="1018"/>
                  </a:lnTo>
                  <a:lnTo>
                    <a:pt x="793" y="1018"/>
                  </a:lnTo>
                  <a:lnTo>
                    <a:pt x="793" y="1016"/>
                  </a:lnTo>
                  <a:lnTo>
                    <a:pt x="793" y="1014"/>
                  </a:lnTo>
                  <a:lnTo>
                    <a:pt x="791" y="1013"/>
                  </a:lnTo>
                  <a:lnTo>
                    <a:pt x="791" y="1011"/>
                  </a:lnTo>
                  <a:lnTo>
                    <a:pt x="789" y="1011"/>
                  </a:lnTo>
                  <a:lnTo>
                    <a:pt x="789" y="1009"/>
                  </a:lnTo>
                  <a:lnTo>
                    <a:pt x="787" y="1009"/>
                  </a:lnTo>
                  <a:lnTo>
                    <a:pt x="785" y="1007"/>
                  </a:lnTo>
                  <a:lnTo>
                    <a:pt x="785" y="1009"/>
                  </a:lnTo>
                  <a:lnTo>
                    <a:pt x="784" y="1009"/>
                  </a:lnTo>
                  <a:lnTo>
                    <a:pt x="784" y="1007"/>
                  </a:lnTo>
                  <a:lnTo>
                    <a:pt x="782" y="1007"/>
                  </a:lnTo>
                  <a:lnTo>
                    <a:pt x="782" y="1005"/>
                  </a:lnTo>
                  <a:lnTo>
                    <a:pt x="780" y="1005"/>
                  </a:lnTo>
                  <a:lnTo>
                    <a:pt x="780" y="1003"/>
                  </a:lnTo>
                  <a:lnTo>
                    <a:pt x="780" y="1001"/>
                  </a:lnTo>
                  <a:lnTo>
                    <a:pt x="778" y="1003"/>
                  </a:lnTo>
                  <a:lnTo>
                    <a:pt x="776" y="1003"/>
                  </a:lnTo>
                  <a:lnTo>
                    <a:pt x="770" y="1007"/>
                  </a:lnTo>
                  <a:lnTo>
                    <a:pt x="766" y="1009"/>
                  </a:lnTo>
                  <a:lnTo>
                    <a:pt x="764" y="1011"/>
                  </a:lnTo>
                  <a:lnTo>
                    <a:pt x="759" y="1016"/>
                  </a:lnTo>
                  <a:lnTo>
                    <a:pt x="753" y="1020"/>
                  </a:lnTo>
                  <a:lnTo>
                    <a:pt x="753" y="1018"/>
                  </a:lnTo>
                  <a:lnTo>
                    <a:pt x="753" y="1016"/>
                  </a:lnTo>
                  <a:lnTo>
                    <a:pt x="751" y="1014"/>
                  </a:lnTo>
                  <a:lnTo>
                    <a:pt x="751" y="1013"/>
                  </a:lnTo>
                  <a:lnTo>
                    <a:pt x="751" y="1009"/>
                  </a:lnTo>
                  <a:lnTo>
                    <a:pt x="749" y="999"/>
                  </a:lnTo>
                  <a:lnTo>
                    <a:pt x="745" y="995"/>
                  </a:lnTo>
                  <a:lnTo>
                    <a:pt x="736" y="984"/>
                  </a:lnTo>
                  <a:lnTo>
                    <a:pt x="734" y="980"/>
                  </a:lnTo>
                  <a:lnTo>
                    <a:pt x="728" y="974"/>
                  </a:lnTo>
                  <a:lnTo>
                    <a:pt x="722" y="966"/>
                  </a:lnTo>
                  <a:lnTo>
                    <a:pt x="718" y="966"/>
                  </a:lnTo>
                  <a:lnTo>
                    <a:pt x="714" y="965"/>
                  </a:lnTo>
                  <a:lnTo>
                    <a:pt x="705" y="961"/>
                  </a:lnTo>
                  <a:lnTo>
                    <a:pt x="701" y="961"/>
                  </a:lnTo>
                  <a:lnTo>
                    <a:pt x="701" y="963"/>
                  </a:lnTo>
                  <a:lnTo>
                    <a:pt x="703" y="966"/>
                  </a:lnTo>
                  <a:lnTo>
                    <a:pt x="703" y="968"/>
                  </a:lnTo>
                  <a:lnTo>
                    <a:pt x="703" y="970"/>
                  </a:lnTo>
                  <a:lnTo>
                    <a:pt x="703" y="972"/>
                  </a:lnTo>
                  <a:lnTo>
                    <a:pt x="705" y="974"/>
                  </a:lnTo>
                  <a:lnTo>
                    <a:pt x="703" y="974"/>
                  </a:lnTo>
                  <a:lnTo>
                    <a:pt x="701" y="972"/>
                  </a:lnTo>
                  <a:lnTo>
                    <a:pt x="699" y="972"/>
                  </a:lnTo>
                  <a:lnTo>
                    <a:pt x="699" y="970"/>
                  </a:lnTo>
                  <a:lnTo>
                    <a:pt x="695" y="968"/>
                  </a:lnTo>
                  <a:lnTo>
                    <a:pt x="693" y="968"/>
                  </a:lnTo>
                  <a:lnTo>
                    <a:pt x="691" y="968"/>
                  </a:lnTo>
                  <a:lnTo>
                    <a:pt x="693" y="968"/>
                  </a:lnTo>
                  <a:lnTo>
                    <a:pt x="691" y="968"/>
                  </a:lnTo>
                  <a:lnTo>
                    <a:pt x="691" y="966"/>
                  </a:lnTo>
                  <a:lnTo>
                    <a:pt x="691" y="965"/>
                  </a:lnTo>
                  <a:lnTo>
                    <a:pt x="689" y="965"/>
                  </a:lnTo>
                  <a:lnTo>
                    <a:pt x="689" y="966"/>
                  </a:lnTo>
                  <a:lnTo>
                    <a:pt x="689" y="965"/>
                  </a:lnTo>
                  <a:lnTo>
                    <a:pt x="691" y="965"/>
                  </a:lnTo>
                  <a:lnTo>
                    <a:pt x="689" y="965"/>
                  </a:lnTo>
                  <a:lnTo>
                    <a:pt x="691" y="965"/>
                  </a:lnTo>
                  <a:lnTo>
                    <a:pt x="691" y="963"/>
                  </a:lnTo>
                  <a:lnTo>
                    <a:pt x="689" y="965"/>
                  </a:lnTo>
                  <a:lnTo>
                    <a:pt x="689" y="966"/>
                  </a:lnTo>
                  <a:lnTo>
                    <a:pt x="688" y="966"/>
                  </a:lnTo>
                  <a:lnTo>
                    <a:pt x="689" y="965"/>
                  </a:lnTo>
                  <a:lnTo>
                    <a:pt x="691" y="963"/>
                  </a:lnTo>
                  <a:lnTo>
                    <a:pt x="693" y="963"/>
                  </a:lnTo>
                  <a:lnTo>
                    <a:pt x="693" y="961"/>
                  </a:lnTo>
                  <a:lnTo>
                    <a:pt x="695" y="961"/>
                  </a:lnTo>
                  <a:lnTo>
                    <a:pt x="693" y="961"/>
                  </a:lnTo>
                  <a:lnTo>
                    <a:pt x="691" y="963"/>
                  </a:lnTo>
                  <a:lnTo>
                    <a:pt x="689" y="963"/>
                  </a:lnTo>
                  <a:lnTo>
                    <a:pt x="689" y="961"/>
                  </a:lnTo>
                  <a:lnTo>
                    <a:pt x="689" y="959"/>
                  </a:lnTo>
                  <a:lnTo>
                    <a:pt x="689" y="961"/>
                  </a:lnTo>
                  <a:lnTo>
                    <a:pt x="689" y="963"/>
                  </a:lnTo>
                  <a:lnTo>
                    <a:pt x="688" y="963"/>
                  </a:lnTo>
                  <a:lnTo>
                    <a:pt x="688" y="961"/>
                  </a:lnTo>
                  <a:lnTo>
                    <a:pt x="688" y="963"/>
                  </a:lnTo>
                  <a:lnTo>
                    <a:pt x="688" y="966"/>
                  </a:lnTo>
                  <a:lnTo>
                    <a:pt x="688" y="968"/>
                  </a:lnTo>
                  <a:lnTo>
                    <a:pt x="688" y="970"/>
                  </a:lnTo>
                  <a:lnTo>
                    <a:pt x="686" y="968"/>
                  </a:lnTo>
                  <a:lnTo>
                    <a:pt x="686" y="966"/>
                  </a:lnTo>
                  <a:lnTo>
                    <a:pt x="684" y="968"/>
                  </a:lnTo>
                  <a:lnTo>
                    <a:pt x="686" y="965"/>
                  </a:lnTo>
                  <a:lnTo>
                    <a:pt x="688" y="963"/>
                  </a:lnTo>
                  <a:lnTo>
                    <a:pt x="686" y="963"/>
                  </a:lnTo>
                  <a:lnTo>
                    <a:pt x="686" y="961"/>
                  </a:lnTo>
                  <a:lnTo>
                    <a:pt x="684" y="961"/>
                  </a:lnTo>
                  <a:lnTo>
                    <a:pt x="682" y="959"/>
                  </a:lnTo>
                  <a:lnTo>
                    <a:pt x="682" y="961"/>
                  </a:lnTo>
                  <a:lnTo>
                    <a:pt x="686" y="963"/>
                  </a:lnTo>
                  <a:lnTo>
                    <a:pt x="684" y="963"/>
                  </a:lnTo>
                  <a:lnTo>
                    <a:pt x="686" y="963"/>
                  </a:lnTo>
                  <a:lnTo>
                    <a:pt x="684" y="965"/>
                  </a:lnTo>
                  <a:lnTo>
                    <a:pt x="684" y="966"/>
                  </a:lnTo>
                  <a:lnTo>
                    <a:pt x="684" y="968"/>
                  </a:lnTo>
                  <a:lnTo>
                    <a:pt x="684" y="966"/>
                  </a:lnTo>
                  <a:lnTo>
                    <a:pt x="682" y="966"/>
                  </a:lnTo>
                  <a:lnTo>
                    <a:pt x="680" y="965"/>
                  </a:lnTo>
                  <a:lnTo>
                    <a:pt x="680" y="963"/>
                  </a:lnTo>
                  <a:lnTo>
                    <a:pt x="680" y="961"/>
                  </a:lnTo>
                  <a:lnTo>
                    <a:pt x="680" y="963"/>
                  </a:lnTo>
                  <a:lnTo>
                    <a:pt x="680" y="961"/>
                  </a:lnTo>
                  <a:lnTo>
                    <a:pt x="680" y="959"/>
                  </a:lnTo>
                  <a:lnTo>
                    <a:pt x="678" y="959"/>
                  </a:lnTo>
                  <a:lnTo>
                    <a:pt x="676" y="957"/>
                  </a:lnTo>
                  <a:lnTo>
                    <a:pt x="676" y="959"/>
                  </a:lnTo>
                  <a:lnTo>
                    <a:pt x="674" y="959"/>
                  </a:lnTo>
                  <a:lnTo>
                    <a:pt x="676" y="959"/>
                  </a:lnTo>
                  <a:lnTo>
                    <a:pt x="676" y="957"/>
                  </a:lnTo>
                  <a:lnTo>
                    <a:pt x="674" y="957"/>
                  </a:lnTo>
                  <a:lnTo>
                    <a:pt x="670" y="955"/>
                  </a:lnTo>
                  <a:lnTo>
                    <a:pt x="668" y="955"/>
                  </a:lnTo>
                  <a:lnTo>
                    <a:pt x="668" y="957"/>
                  </a:lnTo>
                  <a:lnTo>
                    <a:pt x="666" y="957"/>
                  </a:lnTo>
                  <a:lnTo>
                    <a:pt x="665" y="957"/>
                  </a:lnTo>
                  <a:lnTo>
                    <a:pt x="665" y="955"/>
                  </a:lnTo>
                  <a:lnTo>
                    <a:pt x="663" y="955"/>
                  </a:lnTo>
                  <a:lnTo>
                    <a:pt x="663" y="957"/>
                  </a:lnTo>
                  <a:lnTo>
                    <a:pt x="663" y="959"/>
                  </a:lnTo>
                  <a:lnTo>
                    <a:pt x="663" y="957"/>
                  </a:lnTo>
                  <a:lnTo>
                    <a:pt x="661" y="955"/>
                  </a:lnTo>
                  <a:lnTo>
                    <a:pt x="659" y="955"/>
                  </a:lnTo>
                  <a:lnTo>
                    <a:pt x="661" y="951"/>
                  </a:lnTo>
                  <a:lnTo>
                    <a:pt x="661" y="949"/>
                  </a:lnTo>
                  <a:lnTo>
                    <a:pt x="661" y="947"/>
                  </a:lnTo>
                  <a:lnTo>
                    <a:pt x="663" y="945"/>
                  </a:lnTo>
                  <a:lnTo>
                    <a:pt x="661" y="945"/>
                  </a:lnTo>
                  <a:lnTo>
                    <a:pt x="661" y="947"/>
                  </a:lnTo>
                  <a:lnTo>
                    <a:pt x="661" y="949"/>
                  </a:lnTo>
                  <a:lnTo>
                    <a:pt x="659" y="949"/>
                  </a:lnTo>
                  <a:lnTo>
                    <a:pt x="659" y="951"/>
                  </a:lnTo>
                  <a:lnTo>
                    <a:pt x="657" y="955"/>
                  </a:lnTo>
                  <a:lnTo>
                    <a:pt x="655" y="957"/>
                  </a:lnTo>
                  <a:lnTo>
                    <a:pt x="653" y="957"/>
                  </a:lnTo>
                  <a:lnTo>
                    <a:pt x="653" y="959"/>
                  </a:lnTo>
                  <a:lnTo>
                    <a:pt x="655" y="961"/>
                  </a:lnTo>
                  <a:lnTo>
                    <a:pt x="655" y="963"/>
                  </a:lnTo>
                  <a:lnTo>
                    <a:pt x="655" y="961"/>
                  </a:lnTo>
                  <a:lnTo>
                    <a:pt x="653" y="961"/>
                  </a:lnTo>
                  <a:lnTo>
                    <a:pt x="655" y="961"/>
                  </a:lnTo>
                  <a:lnTo>
                    <a:pt x="653" y="961"/>
                  </a:lnTo>
                  <a:lnTo>
                    <a:pt x="653" y="959"/>
                  </a:lnTo>
                  <a:lnTo>
                    <a:pt x="651" y="957"/>
                  </a:lnTo>
                  <a:lnTo>
                    <a:pt x="649" y="957"/>
                  </a:lnTo>
                  <a:lnTo>
                    <a:pt x="645" y="957"/>
                  </a:lnTo>
                  <a:lnTo>
                    <a:pt x="645" y="955"/>
                  </a:lnTo>
                  <a:lnTo>
                    <a:pt x="643" y="953"/>
                  </a:lnTo>
                  <a:lnTo>
                    <a:pt x="641" y="953"/>
                  </a:lnTo>
                  <a:lnTo>
                    <a:pt x="641" y="951"/>
                  </a:lnTo>
                  <a:lnTo>
                    <a:pt x="643" y="951"/>
                  </a:lnTo>
                  <a:lnTo>
                    <a:pt x="645" y="949"/>
                  </a:lnTo>
                  <a:lnTo>
                    <a:pt x="643" y="943"/>
                  </a:lnTo>
                  <a:lnTo>
                    <a:pt x="643" y="940"/>
                  </a:lnTo>
                  <a:lnTo>
                    <a:pt x="641" y="940"/>
                  </a:lnTo>
                  <a:lnTo>
                    <a:pt x="640" y="938"/>
                  </a:lnTo>
                  <a:lnTo>
                    <a:pt x="640" y="936"/>
                  </a:lnTo>
                  <a:lnTo>
                    <a:pt x="636" y="934"/>
                  </a:lnTo>
                  <a:lnTo>
                    <a:pt x="634" y="934"/>
                  </a:lnTo>
                  <a:lnTo>
                    <a:pt x="636" y="930"/>
                  </a:lnTo>
                  <a:lnTo>
                    <a:pt x="634" y="930"/>
                  </a:lnTo>
                  <a:lnTo>
                    <a:pt x="634" y="932"/>
                  </a:lnTo>
                  <a:lnTo>
                    <a:pt x="634" y="934"/>
                  </a:lnTo>
                  <a:lnTo>
                    <a:pt x="632" y="934"/>
                  </a:lnTo>
                  <a:lnTo>
                    <a:pt x="626" y="936"/>
                  </a:lnTo>
                  <a:lnTo>
                    <a:pt x="624" y="938"/>
                  </a:lnTo>
                  <a:lnTo>
                    <a:pt x="618" y="940"/>
                  </a:lnTo>
                  <a:lnTo>
                    <a:pt x="617" y="942"/>
                  </a:lnTo>
                  <a:lnTo>
                    <a:pt x="615" y="943"/>
                  </a:lnTo>
                  <a:lnTo>
                    <a:pt x="613" y="943"/>
                  </a:lnTo>
                  <a:lnTo>
                    <a:pt x="613" y="945"/>
                  </a:lnTo>
                  <a:lnTo>
                    <a:pt x="611" y="945"/>
                  </a:lnTo>
                  <a:lnTo>
                    <a:pt x="609" y="943"/>
                  </a:lnTo>
                  <a:lnTo>
                    <a:pt x="603" y="943"/>
                  </a:lnTo>
                  <a:lnTo>
                    <a:pt x="601" y="943"/>
                  </a:lnTo>
                  <a:lnTo>
                    <a:pt x="597" y="942"/>
                  </a:lnTo>
                  <a:lnTo>
                    <a:pt x="595" y="943"/>
                  </a:lnTo>
                  <a:lnTo>
                    <a:pt x="592" y="943"/>
                  </a:lnTo>
                  <a:lnTo>
                    <a:pt x="590" y="943"/>
                  </a:lnTo>
                  <a:lnTo>
                    <a:pt x="588" y="943"/>
                  </a:lnTo>
                  <a:lnTo>
                    <a:pt x="588" y="945"/>
                  </a:lnTo>
                  <a:lnTo>
                    <a:pt x="586" y="945"/>
                  </a:lnTo>
                  <a:lnTo>
                    <a:pt x="584" y="945"/>
                  </a:lnTo>
                  <a:lnTo>
                    <a:pt x="582" y="945"/>
                  </a:lnTo>
                  <a:lnTo>
                    <a:pt x="582" y="947"/>
                  </a:lnTo>
                  <a:lnTo>
                    <a:pt x="582" y="949"/>
                  </a:lnTo>
                  <a:lnTo>
                    <a:pt x="582" y="951"/>
                  </a:lnTo>
                  <a:lnTo>
                    <a:pt x="582" y="953"/>
                  </a:lnTo>
                  <a:lnTo>
                    <a:pt x="580" y="953"/>
                  </a:lnTo>
                  <a:lnTo>
                    <a:pt x="580" y="955"/>
                  </a:lnTo>
                  <a:lnTo>
                    <a:pt x="580" y="957"/>
                  </a:lnTo>
                  <a:lnTo>
                    <a:pt x="580" y="959"/>
                  </a:lnTo>
                  <a:lnTo>
                    <a:pt x="578" y="959"/>
                  </a:lnTo>
                  <a:lnTo>
                    <a:pt x="578" y="961"/>
                  </a:lnTo>
                  <a:lnTo>
                    <a:pt x="576" y="961"/>
                  </a:lnTo>
                  <a:lnTo>
                    <a:pt x="574" y="961"/>
                  </a:lnTo>
                  <a:lnTo>
                    <a:pt x="574" y="963"/>
                  </a:lnTo>
                  <a:lnTo>
                    <a:pt x="572" y="963"/>
                  </a:lnTo>
                  <a:lnTo>
                    <a:pt x="570" y="965"/>
                  </a:lnTo>
                  <a:lnTo>
                    <a:pt x="569" y="965"/>
                  </a:lnTo>
                  <a:lnTo>
                    <a:pt x="569" y="966"/>
                  </a:lnTo>
                  <a:lnTo>
                    <a:pt x="567" y="965"/>
                  </a:lnTo>
                  <a:lnTo>
                    <a:pt x="565" y="966"/>
                  </a:lnTo>
                  <a:lnTo>
                    <a:pt x="563" y="966"/>
                  </a:lnTo>
                  <a:lnTo>
                    <a:pt x="561" y="966"/>
                  </a:lnTo>
                  <a:lnTo>
                    <a:pt x="555" y="966"/>
                  </a:lnTo>
                  <a:lnTo>
                    <a:pt x="553" y="966"/>
                  </a:lnTo>
                  <a:lnTo>
                    <a:pt x="549" y="966"/>
                  </a:lnTo>
                  <a:lnTo>
                    <a:pt x="547" y="966"/>
                  </a:lnTo>
                  <a:lnTo>
                    <a:pt x="547" y="965"/>
                  </a:lnTo>
                  <a:lnTo>
                    <a:pt x="546" y="965"/>
                  </a:lnTo>
                  <a:lnTo>
                    <a:pt x="542" y="963"/>
                  </a:lnTo>
                  <a:lnTo>
                    <a:pt x="536" y="959"/>
                  </a:lnTo>
                  <a:lnTo>
                    <a:pt x="534" y="959"/>
                  </a:lnTo>
                  <a:lnTo>
                    <a:pt x="532" y="959"/>
                  </a:lnTo>
                  <a:lnTo>
                    <a:pt x="530" y="957"/>
                  </a:lnTo>
                  <a:lnTo>
                    <a:pt x="528" y="957"/>
                  </a:lnTo>
                  <a:lnTo>
                    <a:pt x="519" y="949"/>
                  </a:lnTo>
                  <a:lnTo>
                    <a:pt x="515" y="947"/>
                  </a:lnTo>
                  <a:lnTo>
                    <a:pt x="513" y="947"/>
                  </a:lnTo>
                  <a:lnTo>
                    <a:pt x="511" y="945"/>
                  </a:lnTo>
                  <a:lnTo>
                    <a:pt x="507" y="943"/>
                  </a:lnTo>
                  <a:lnTo>
                    <a:pt x="503" y="942"/>
                  </a:lnTo>
                  <a:lnTo>
                    <a:pt x="501" y="940"/>
                  </a:lnTo>
                  <a:lnTo>
                    <a:pt x="499" y="940"/>
                  </a:lnTo>
                  <a:lnTo>
                    <a:pt x="498" y="940"/>
                  </a:lnTo>
                  <a:lnTo>
                    <a:pt x="498" y="938"/>
                  </a:lnTo>
                  <a:lnTo>
                    <a:pt x="496" y="938"/>
                  </a:lnTo>
                  <a:lnTo>
                    <a:pt x="494" y="938"/>
                  </a:lnTo>
                  <a:lnTo>
                    <a:pt x="492" y="938"/>
                  </a:lnTo>
                  <a:lnTo>
                    <a:pt x="490" y="938"/>
                  </a:lnTo>
                  <a:lnTo>
                    <a:pt x="490" y="936"/>
                  </a:lnTo>
                  <a:lnTo>
                    <a:pt x="488" y="936"/>
                  </a:lnTo>
                  <a:lnTo>
                    <a:pt x="486" y="936"/>
                  </a:lnTo>
                  <a:lnTo>
                    <a:pt x="484" y="936"/>
                  </a:lnTo>
                  <a:lnTo>
                    <a:pt x="482" y="934"/>
                  </a:lnTo>
                  <a:lnTo>
                    <a:pt x="480" y="934"/>
                  </a:lnTo>
                  <a:lnTo>
                    <a:pt x="478" y="932"/>
                  </a:lnTo>
                  <a:lnTo>
                    <a:pt x="476" y="932"/>
                  </a:lnTo>
                  <a:lnTo>
                    <a:pt x="475" y="932"/>
                  </a:lnTo>
                  <a:lnTo>
                    <a:pt x="475" y="930"/>
                  </a:lnTo>
                  <a:lnTo>
                    <a:pt x="473" y="930"/>
                  </a:lnTo>
                  <a:lnTo>
                    <a:pt x="473" y="932"/>
                  </a:lnTo>
                  <a:lnTo>
                    <a:pt x="471" y="932"/>
                  </a:lnTo>
                  <a:lnTo>
                    <a:pt x="471" y="934"/>
                  </a:lnTo>
                  <a:lnTo>
                    <a:pt x="469" y="934"/>
                  </a:lnTo>
                  <a:lnTo>
                    <a:pt x="473" y="934"/>
                  </a:lnTo>
                  <a:lnTo>
                    <a:pt x="473" y="936"/>
                  </a:lnTo>
                  <a:lnTo>
                    <a:pt x="471" y="936"/>
                  </a:lnTo>
                  <a:lnTo>
                    <a:pt x="469" y="936"/>
                  </a:lnTo>
                  <a:lnTo>
                    <a:pt x="467" y="936"/>
                  </a:lnTo>
                  <a:lnTo>
                    <a:pt x="463" y="936"/>
                  </a:lnTo>
                  <a:lnTo>
                    <a:pt x="461" y="936"/>
                  </a:lnTo>
                  <a:lnTo>
                    <a:pt x="459" y="936"/>
                  </a:lnTo>
                  <a:lnTo>
                    <a:pt x="457" y="936"/>
                  </a:lnTo>
                  <a:lnTo>
                    <a:pt x="457" y="938"/>
                  </a:lnTo>
                  <a:lnTo>
                    <a:pt x="455" y="938"/>
                  </a:lnTo>
                  <a:lnTo>
                    <a:pt x="455" y="936"/>
                  </a:lnTo>
                  <a:lnTo>
                    <a:pt x="453" y="936"/>
                  </a:lnTo>
                  <a:lnTo>
                    <a:pt x="451" y="938"/>
                  </a:lnTo>
                  <a:lnTo>
                    <a:pt x="450" y="938"/>
                  </a:lnTo>
                  <a:lnTo>
                    <a:pt x="440" y="936"/>
                  </a:lnTo>
                  <a:lnTo>
                    <a:pt x="438" y="934"/>
                  </a:lnTo>
                  <a:lnTo>
                    <a:pt x="438" y="932"/>
                  </a:lnTo>
                  <a:lnTo>
                    <a:pt x="436" y="932"/>
                  </a:lnTo>
                  <a:lnTo>
                    <a:pt x="438" y="932"/>
                  </a:lnTo>
                  <a:lnTo>
                    <a:pt x="438" y="934"/>
                  </a:lnTo>
                  <a:lnTo>
                    <a:pt x="434" y="930"/>
                  </a:lnTo>
                  <a:lnTo>
                    <a:pt x="432" y="928"/>
                  </a:lnTo>
                  <a:lnTo>
                    <a:pt x="430" y="928"/>
                  </a:lnTo>
                  <a:lnTo>
                    <a:pt x="427" y="924"/>
                  </a:lnTo>
                  <a:lnTo>
                    <a:pt x="425" y="922"/>
                  </a:lnTo>
                  <a:lnTo>
                    <a:pt x="425" y="920"/>
                  </a:lnTo>
                  <a:lnTo>
                    <a:pt x="423" y="920"/>
                  </a:lnTo>
                  <a:lnTo>
                    <a:pt x="423" y="918"/>
                  </a:lnTo>
                  <a:lnTo>
                    <a:pt x="421" y="918"/>
                  </a:lnTo>
                  <a:lnTo>
                    <a:pt x="423" y="918"/>
                  </a:lnTo>
                  <a:lnTo>
                    <a:pt x="421" y="918"/>
                  </a:lnTo>
                  <a:lnTo>
                    <a:pt x="421" y="917"/>
                  </a:lnTo>
                  <a:lnTo>
                    <a:pt x="419" y="915"/>
                  </a:lnTo>
                  <a:lnTo>
                    <a:pt x="417" y="913"/>
                  </a:lnTo>
                  <a:lnTo>
                    <a:pt x="417" y="911"/>
                  </a:lnTo>
                  <a:lnTo>
                    <a:pt x="415" y="911"/>
                  </a:lnTo>
                  <a:lnTo>
                    <a:pt x="415" y="909"/>
                  </a:lnTo>
                  <a:lnTo>
                    <a:pt x="413" y="909"/>
                  </a:lnTo>
                  <a:lnTo>
                    <a:pt x="411" y="909"/>
                  </a:lnTo>
                  <a:lnTo>
                    <a:pt x="413" y="907"/>
                  </a:lnTo>
                  <a:lnTo>
                    <a:pt x="411" y="907"/>
                  </a:lnTo>
                  <a:lnTo>
                    <a:pt x="409" y="905"/>
                  </a:lnTo>
                  <a:lnTo>
                    <a:pt x="407" y="903"/>
                  </a:lnTo>
                  <a:lnTo>
                    <a:pt x="407" y="905"/>
                  </a:lnTo>
                  <a:lnTo>
                    <a:pt x="407" y="903"/>
                  </a:lnTo>
                  <a:lnTo>
                    <a:pt x="405" y="903"/>
                  </a:lnTo>
                  <a:lnTo>
                    <a:pt x="405" y="901"/>
                  </a:lnTo>
                  <a:lnTo>
                    <a:pt x="403" y="901"/>
                  </a:lnTo>
                  <a:lnTo>
                    <a:pt x="403" y="903"/>
                  </a:lnTo>
                  <a:lnTo>
                    <a:pt x="403" y="901"/>
                  </a:lnTo>
                  <a:lnTo>
                    <a:pt x="402" y="901"/>
                  </a:lnTo>
                  <a:lnTo>
                    <a:pt x="400" y="901"/>
                  </a:lnTo>
                  <a:lnTo>
                    <a:pt x="398" y="899"/>
                  </a:lnTo>
                  <a:lnTo>
                    <a:pt x="398" y="897"/>
                  </a:lnTo>
                  <a:lnTo>
                    <a:pt x="398" y="895"/>
                  </a:lnTo>
                  <a:lnTo>
                    <a:pt x="398" y="897"/>
                  </a:lnTo>
                  <a:lnTo>
                    <a:pt x="398" y="899"/>
                  </a:lnTo>
                  <a:lnTo>
                    <a:pt x="400" y="901"/>
                  </a:lnTo>
                  <a:lnTo>
                    <a:pt x="402" y="899"/>
                  </a:lnTo>
                  <a:lnTo>
                    <a:pt x="402" y="897"/>
                  </a:lnTo>
                  <a:lnTo>
                    <a:pt x="400" y="897"/>
                  </a:lnTo>
                  <a:lnTo>
                    <a:pt x="400" y="895"/>
                  </a:lnTo>
                  <a:lnTo>
                    <a:pt x="398" y="895"/>
                  </a:lnTo>
                  <a:lnTo>
                    <a:pt x="400" y="895"/>
                  </a:lnTo>
                  <a:lnTo>
                    <a:pt x="400" y="893"/>
                  </a:lnTo>
                  <a:lnTo>
                    <a:pt x="398" y="893"/>
                  </a:lnTo>
                  <a:lnTo>
                    <a:pt x="400" y="892"/>
                  </a:lnTo>
                  <a:lnTo>
                    <a:pt x="398" y="892"/>
                  </a:lnTo>
                  <a:lnTo>
                    <a:pt x="396" y="892"/>
                  </a:lnTo>
                  <a:lnTo>
                    <a:pt x="396" y="893"/>
                  </a:lnTo>
                  <a:lnTo>
                    <a:pt x="396" y="895"/>
                  </a:lnTo>
                  <a:lnTo>
                    <a:pt x="396" y="893"/>
                  </a:lnTo>
                  <a:lnTo>
                    <a:pt x="396" y="892"/>
                  </a:lnTo>
                  <a:lnTo>
                    <a:pt x="396" y="890"/>
                  </a:lnTo>
                  <a:lnTo>
                    <a:pt x="396" y="888"/>
                  </a:lnTo>
                  <a:lnTo>
                    <a:pt x="396" y="886"/>
                  </a:lnTo>
                  <a:lnTo>
                    <a:pt x="394" y="886"/>
                  </a:lnTo>
                  <a:lnTo>
                    <a:pt x="394" y="884"/>
                  </a:lnTo>
                  <a:lnTo>
                    <a:pt x="394" y="882"/>
                  </a:lnTo>
                  <a:lnTo>
                    <a:pt x="392" y="882"/>
                  </a:lnTo>
                  <a:lnTo>
                    <a:pt x="394" y="880"/>
                  </a:lnTo>
                  <a:lnTo>
                    <a:pt x="392" y="882"/>
                  </a:lnTo>
                  <a:lnTo>
                    <a:pt x="394" y="882"/>
                  </a:lnTo>
                  <a:lnTo>
                    <a:pt x="396" y="882"/>
                  </a:lnTo>
                  <a:lnTo>
                    <a:pt x="394" y="882"/>
                  </a:lnTo>
                  <a:lnTo>
                    <a:pt x="398" y="880"/>
                  </a:lnTo>
                  <a:lnTo>
                    <a:pt x="400" y="880"/>
                  </a:lnTo>
                  <a:lnTo>
                    <a:pt x="396" y="880"/>
                  </a:lnTo>
                  <a:lnTo>
                    <a:pt x="394" y="880"/>
                  </a:lnTo>
                  <a:lnTo>
                    <a:pt x="392" y="882"/>
                  </a:lnTo>
                  <a:lnTo>
                    <a:pt x="390" y="882"/>
                  </a:lnTo>
                  <a:lnTo>
                    <a:pt x="394" y="880"/>
                  </a:lnTo>
                  <a:lnTo>
                    <a:pt x="396" y="878"/>
                  </a:lnTo>
                  <a:lnTo>
                    <a:pt x="396" y="876"/>
                  </a:lnTo>
                  <a:lnTo>
                    <a:pt x="398" y="874"/>
                  </a:lnTo>
                  <a:lnTo>
                    <a:pt x="398" y="872"/>
                  </a:lnTo>
                  <a:lnTo>
                    <a:pt x="400" y="872"/>
                  </a:lnTo>
                  <a:lnTo>
                    <a:pt x="402" y="872"/>
                  </a:lnTo>
                  <a:lnTo>
                    <a:pt x="400" y="870"/>
                  </a:lnTo>
                  <a:lnTo>
                    <a:pt x="402" y="870"/>
                  </a:lnTo>
                  <a:lnTo>
                    <a:pt x="403" y="870"/>
                  </a:lnTo>
                  <a:lnTo>
                    <a:pt x="403" y="869"/>
                  </a:lnTo>
                  <a:lnTo>
                    <a:pt x="405" y="867"/>
                  </a:lnTo>
                  <a:lnTo>
                    <a:pt x="405" y="865"/>
                  </a:lnTo>
                  <a:lnTo>
                    <a:pt x="407" y="865"/>
                  </a:lnTo>
                  <a:lnTo>
                    <a:pt x="409" y="865"/>
                  </a:lnTo>
                  <a:lnTo>
                    <a:pt x="409" y="863"/>
                  </a:lnTo>
                  <a:lnTo>
                    <a:pt x="411" y="863"/>
                  </a:lnTo>
                  <a:lnTo>
                    <a:pt x="413" y="863"/>
                  </a:lnTo>
                  <a:lnTo>
                    <a:pt x="413" y="861"/>
                  </a:lnTo>
                  <a:lnTo>
                    <a:pt x="413" y="863"/>
                  </a:lnTo>
                  <a:lnTo>
                    <a:pt x="415" y="861"/>
                  </a:lnTo>
                  <a:lnTo>
                    <a:pt x="417" y="861"/>
                  </a:lnTo>
                  <a:lnTo>
                    <a:pt x="419" y="861"/>
                  </a:lnTo>
                  <a:lnTo>
                    <a:pt x="419" y="859"/>
                  </a:lnTo>
                  <a:lnTo>
                    <a:pt x="421" y="859"/>
                  </a:lnTo>
                  <a:lnTo>
                    <a:pt x="423" y="857"/>
                  </a:lnTo>
                  <a:lnTo>
                    <a:pt x="425" y="857"/>
                  </a:lnTo>
                  <a:lnTo>
                    <a:pt x="427" y="857"/>
                  </a:lnTo>
                  <a:lnTo>
                    <a:pt x="428" y="857"/>
                  </a:lnTo>
                  <a:lnTo>
                    <a:pt x="430" y="857"/>
                  </a:lnTo>
                  <a:lnTo>
                    <a:pt x="430" y="855"/>
                  </a:lnTo>
                  <a:lnTo>
                    <a:pt x="430" y="857"/>
                  </a:lnTo>
                  <a:lnTo>
                    <a:pt x="432" y="857"/>
                  </a:lnTo>
                  <a:lnTo>
                    <a:pt x="434" y="857"/>
                  </a:lnTo>
                  <a:lnTo>
                    <a:pt x="434" y="855"/>
                  </a:lnTo>
                  <a:lnTo>
                    <a:pt x="436" y="855"/>
                  </a:lnTo>
                  <a:lnTo>
                    <a:pt x="438" y="851"/>
                  </a:lnTo>
                  <a:lnTo>
                    <a:pt x="440" y="851"/>
                  </a:lnTo>
                  <a:lnTo>
                    <a:pt x="440" y="849"/>
                  </a:lnTo>
                  <a:lnTo>
                    <a:pt x="440" y="847"/>
                  </a:lnTo>
                  <a:lnTo>
                    <a:pt x="440" y="845"/>
                  </a:lnTo>
                  <a:lnTo>
                    <a:pt x="440" y="844"/>
                  </a:lnTo>
                  <a:lnTo>
                    <a:pt x="440" y="842"/>
                  </a:lnTo>
                  <a:lnTo>
                    <a:pt x="440" y="840"/>
                  </a:lnTo>
                  <a:lnTo>
                    <a:pt x="440" y="838"/>
                  </a:lnTo>
                  <a:lnTo>
                    <a:pt x="442" y="838"/>
                  </a:lnTo>
                  <a:lnTo>
                    <a:pt x="442" y="836"/>
                  </a:lnTo>
                  <a:lnTo>
                    <a:pt x="442" y="834"/>
                  </a:lnTo>
                  <a:lnTo>
                    <a:pt x="442" y="830"/>
                  </a:lnTo>
                  <a:lnTo>
                    <a:pt x="440" y="830"/>
                  </a:lnTo>
                  <a:lnTo>
                    <a:pt x="440" y="828"/>
                  </a:lnTo>
                  <a:lnTo>
                    <a:pt x="440" y="826"/>
                  </a:lnTo>
                  <a:lnTo>
                    <a:pt x="440" y="824"/>
                  </a:lnTo>
                  <a:lnTo>
                    <a:pt x="438" y="820"/>
                  </a:lnTo>
                  <a:lnTo>
                    <a:pt x="438" y="819"/>
                  </a:lnTo>
                  <a:lnTo>
                    <a:pt x="438" y="817"/>
                  </a:lnTo>
                  <a:lnTo>
                    <a:pt x="438" y="815"/>
                  </a:lnTo>
                  <a:lnTo>
                    <a:pt x="438" y="813"/>
                  </a:lnTo>
                  <a:lnTo>
                    <a:pt x="436" y="811"/>
                  </a:lnTo>
                  <a:lnTo>
                    <a:pt x="436" y="809"/>
                  </a:lnTo>
                  <a:lnTo>
                    <a:pt x="434" y="807"/>
                  </a:lnTo>
                  <a:lnTo>
                    <a:pt x="432" y="805"/>
                  </a:lnTo>
                  <a:lnTo>
                    <a:pt x="434" y="803"/>
                  </a:lnTo>
                  <a:lnTo>
                    <a:pt x="436" y="803"/>
                  </a:lnTo>
                  <a:lnTo>
                    <a:pt x="438" y="803"/>
                  </a:lnTo>
                  <a:lnTo>
                    <a:pt x="438" y="801"/>
                  </a:lnTo>
                  <a:lnTo>
                    <a:pt x="438" y="803"/>
                  </a:lnTo>
                  <a:lnTo>
                    <a:pt x="440" y="803"/>
                  </a:lnTo>
                  <a:lnTo>
                    <a:pt x="440" y="801"/>
                  </a:lnTo>
                  <a:lnTo>
                    <a:pt x="442" y="801"/>
                  </a:lnTo>
                  <a:lnTo>
                    <a:pt x="442" y="799"/>
                  </a:lnTo>
                  <a:lnTo>
                    <a:pt x="440" y="799"/>
                  </a:lnTo>
                  <a:lnTo>
                    <a:pt x="438" y="799"/>
                  </a:lnTo>
                  <a:lnTo>
                    <a:pt x="438" y="801"/>
                  </a:lnTo>
                  <a:lnTo>
                    <a:pt x="440" y="801"/>
                  </a:lnTo>
                  <a:lnTo>
                    <a:pt x="438" y="801"/>
                  </a:lnTo>
                  <a:lnTo>
                    <a:pt x="438" y="799"/>
                  </a:lnTo>
                  <a:lnTo>
                    <a:pt x="440" y="799"/>
                  </a:lnTo>
                  <a:lnTo>
                    <a:pt x="442" y="799"/>
                  </a:lnTo>
                  <a:lnTo>
                    <a:pt x="444" y="799"/>
                  </a:lnTo>
                  <a:lnTo>
                    <a:pt x="444" y="797"/>
                  </a:lnTo>
                  <a:lnTo>
                    <a:pt x="444" y="796"/>
                  </a:lnTo>
                  <a:lnTo>
                    <a:pt x="444" y="794"/>
                  </a:lnTo>
                  <a:lnTo>
                    <a:pt x="446" y="794"/>
                  </a:lnTo>
                  <a:lnTo>
                    <a:pt x="446" y="792"/>
                  </a:lnTo>
                  <a:lnTo>
                    <a:pt x="444" y="792"/>
                  </a:lnTo>
                  <a:lnTo>
                    <a:pt x="446" y="792"/>
                  </a:lnTo>
                  <a:lnTo>
                    <a:pt x="446" y="790"/>
                  </a:lnTo>
                  <a:lnTo>
                    <a:pt x="444" y="790"/>
                  </a:lnTo>
                  <a:lnTo>
                    <a:pt x="446" y="790"/>
                  </a:lnTo>
                  <a:lnTo>
                    <a:pt x="446" y="788"/>
                  </a:lnTo>
                  <a:lnTo>
                    <a:pt x="448" y="790"/>
                  </a:lnTo>
                  <a:lnTo>
                    <a:pt x="446" y="790"/>
                  </a:lnTo>
                  <a:lnTo>
                    <a:pt x="448" y="790"/>
                  </a:lnTo>
                  <a:lnTo>
                    <a:pt x="448" y="792"/>
                  </a:lnTo>
                  <a:lnTo>
                    <a:pt x="448" y="790"/>
                  </a:lnTo>
                  <a:lnTo>
                    <a:pt x="448" y="788"/>
                  </a:lnTo>
                  <a:lnTo>
                    <a:pt x="446" y="788"/>
                  </a:lnTo>
                  <a:lnTo>
                    <a:pt x="448" y="788"/>
                  </a:lnTo>
                  <a:lnTo>
                    <a:pt x="446" y="788"/>
                  </a:lnTo>
                  <a:lnTo>
                    <a:pt x="446" y="786"/>
                  </a:lnTo>
                  <a:lnTo>
                    <a:pt x="446" y="784"/>
                  </a:lnTo>
                  <a:lnTo>
                    <a:pt x="444" y="784"/>
                  </a:lnTo>
                  <a:lnTo>
                    <a:pt x="444" y="782"/>
                  </a:lnTo>
                  <a:lnTo>
                    <a:pt x="448" y="780"/>
                  </a:lnTo>
                  <a:lnTo>
                    <a:pt x="450" y="778"/>
                  </a:lnTo>
                  <a:lnTo>
                    <a:pt x="451" y="778"/>
                  </a:lnTo>
                  <a:lnTo>
                    <a:pt x="453" y="776"/>
                  </a:lnTo>
                  <a:lnTo>
                    <a:pt x="457" y="772"/>
                  </a:lnTo>
                  <a:lnTo>
                    <a:pt x="459" y="772"/>
                  </a:lnTo>
                  <a:lnTo>
                    <a:pt x="463" y="769"/>
                  </a:lnTo>
                  <a:lnTo>
                    <a:pt x="465" y="767"/>
                  </a:lnTo>
                  <a:lnTo>
                    <a:pt x="467" y="767"/>
                  </a:lnTo>
                  <a:lnTo>
                    <a:pt x="467" y="765"/>
                  </a:lnTo>
                  <a:lnTo>
                    <a:pt x="467" y="767"/>
                  </a:lnTo>
                  <a:lnTo>
                    <a:pt x="465" y="767"/>
                  </a:lnTo>
                  <a:lnTo>
                    <a:pt x="465" y="769"/>
                  </a:lnTo>
                  <a:lnTo>
                    <a:pt x="463" y="769"/>
                  </a:lnTo>
                  <a:lnTo>
                    <a:pt x="461" y="769"/>
                  </a:lnTo>
                  <a:lnTo>
                    <a:pt x="461" y="771"/>
                  </a:lnTo>
                  <a:lnTo>
                    <a:pt x="461" y="769"/>
                  </a:lnTo>
                  <a:lnTo>
                    <a:pt x="459" y="771"/>
                  </a:lnTo>
                  <a:lnTo>
                    <a:pt x="457" y="771"/>
                  </a:lnTo>
                  <a:lnTo>
                    <a:pt x="457" y="769"/>
                  </a:lnTo>
                  <a:lnTo>
                    <a:pt x="457" y="771"/>
                  </a:lnTo>
                  <a:lnTo>
                    <a:pt x="457" y="769"/>
                  </a:lnTo>
                  <a:lnTo>
                    <a:pt x="455" y="769"/>
                  </a:lnTo>
                  <a:lnTo>
                    <a:pt x="457" y="769"/>
                  </a:lnTo>
                  <a:lnTo>
                    <a:pt x="457" y="771"/>
                  </a:lnTo>
                  <a:lnTo>
                    <a:pt x="455" y="771"/>
                  </a:lnTo>
                  <a:lnTo>
                    <a:pt x="457" y="771"/>
                  </a:lnTo>
                  <a:lnTo>
                    <a:pt x="455" y="771"/>
                  </a:lnTo>
                  <a:lnTo>
                    <a:pt x="457" y="771"/>
                  </a:lnTo>
                  <a:lnTo>
                    <a:pt x="457" y="772"/>
                  </a:lnTo>
                  <a:lnTo>
                    <a:pt x="457" y="771"/>
                  </a:lnTo>
                  <a:lnTo>
                    <a:pt x="459" y="771"/>
                  </a:lnTo>
                  <a:lnTo>
                    <a:pt x="457" y="772"/>
                  </a:lnTo>
                  <a:lnTo>
                    <a:pt x="455" y="772"/>
                  </a:lnTo>
                  <a:lnTo>
                    <a:pt x="457" y="772"/>
                  </a:lnTo>
                  <a:lnTo>
                    <a:pt x="455" y="772"/>
                  </a:lnTo>
                  <a:lnTo>
                    <a:pt x="455" y="771"/>
                  </a:lnTo>
                  <a:lnTo>
                    <a:pt x="453" y="771"/>
                  </a:lnTo>
                  <a:lnTo>
                    <a:pt x="453" y="769"/>
                  </a:lnTo>
                  <a:lnTo>
                    <a:pt x="453" y="772"/>
                  </a:lnTo>
                  <a:lnTo>
                    <a:pt x="455" y="774"/>
                  </a:lnTo>
                  <a:lnTo>
                    <a:pt x="450" y="778"/>
                  </a:lnTo>
                  <a:lnTo>
                    <a:pt x="450" y="776"/>
                  </a:lnTo>
                  <a:lnTo>
                    <a:pt x="450" y="778"/>
                  </a:lnTo>
                  <a:lnTo>
                    <a:pt x="450" y="776"/>
                  </a:lnTo>
                  <a:lnTo>
                    <a:pt x="451" y="776"/>
                  </a:lnTo>
                  <a:lnTo>
                    <a:pt x="450" y="776"/>
                  </a:lnTo>
                  <a:lnTo>
                    <a:pt x="450" y="778"/>
                  </a:lnTo>
                  <a:lnTo>
                    <a:pt x="448" y="780"/>
                  </a:lnTo>
                  <a:lnTo>
                    <a:pt x="448" y="778"/>
                  </a:lnTo>
                  <a:lnTo>
                    <a:pt x="448" y="776"/>
                  </a:lnTo>
                  <a:lnTo>
                    <a:pt x="450" y="776"/>
                  </a:lnTo>
                  <a:lnTo>
                    <a:pt x="448" y="774"/>
                  </a:lnTo>
                  <a:lnTo>
                    <a:pt x="448" y="772"/>
                  </a:lnTo>
                  <a:lnTo>
                    <a:pt x="448" y="771"/>
                  </a:lnTo>
                  <a:lnTo>
                    <a:pt x="448" y="769"/>
                  </a:lnTo>
                  <a:lnTo>
                    <a:pt x="448" y="767"/>
                  </a:lnTo>
                  <a:lnTo>
                    <a:pt x="446" y="767"/>
                  </a:lnTo>
                  <a:lnTo>
                    <a:pt x="448" y="765"/>
                  </a:lnTo>
                  <a:lnTo>
                    <a:pt x="446" y="765"/>
                  </a:lnTo>
                  <a:lnTo>
                    <a:pt x="446" y="763"/>
                  </a:lnTo>
                  <a:lnTo>
                    <a:pt x="446" y="761"/>
                  </a:lnTo>
                  <a:lnTo>
                    <a:pt x="446" y="759"/>
                  </a:lnTo>
                  <a:lnTo>
                    <a:pt x="446" y="761"/>
                  </a:lnTo>
                  <a:lnTo>
                    <a:pt x="444" y="759"/>
                  </a:lnTo>
                  <a:lnTo>
                    <a:pt x="446" y="759"/>
                  </a:lnTo>
                  <a:lnTo>
                    <a:pt x="444" y="759"/>
                  </a:lnTo>
                  <a:lnTo>
                    <a:pt x="446" y="759"/>
                  </a:lnTo>
                  <a:lnTo>
                    <a:pt x="444" y="759"/>
                  </a:lnTo>
                  <a:lnTo>
                    <a:pt x="444" y="757"/>
                  </a:lnTo>
                  <a:lnTo>
                    <a:pt x="446" y="757"/>
                  </a:lnTo>
                  <a:lnTo>
                    <a:pt x="444" y="757"/>
                  </a:lnTo>
                  <a:lnTo>
                    <a:pt x="444" y="755"/>
                  </a:lnTo>
                  <a:lnTo>
                    <a:pt x="444" y="757"/>
                  </a:lnTo>
                  <a:lnTo>
                    <a:pt x="444" y="755"/>
                  </a:lnTo>
                  <a:lnTo>
                    <a:pt x="444" y="753"/>
                  </a:lnTo>
                  <a:lnTo>
                    <a:pt x="444" y="751"/>
                  </a:lnTo>
                  <a:lnTo>
                    <a:pt x="442" y="749"/>
                  </a:lnTo>
                  <a:lnTo>
                    <a:pt x="444" y="749"/>
                  </a:lnTo>
                  <a:lnTo>
                    <a:pt x="444" y="747"/>
                  </a:lnTo>
                  <a:lnTo>
                    <a:pt x="442" y="747"/>
                  </a:lnTo>
                  <a:lnTo>
                    <a:pt x="442" y="746"/>
                  </a:lnTo>
                  <a:lnTo>
                    <a:pt x="442" y="744"/>
                  </a:lnTo>
                  <a:lnTo>
                    <a:pt x="440" y="742"/>
                  </a:lnTo>
                  <a:lnTo>
                    <a:pt x="442" y="742"/>
                  </a:lnTo>
                  <a:lnTo>
                    <a:pt x="442" y="740"/>
                  </a:lnTo>
                  <a:lnTo>
                    <a:pt x="442" y="738"/>
                  </a:lnTo>
                  <a:lnTo>
                    <a:pt x="440" y="738"/>
                  </a:lnTo>
                  <a:lnTo>
                    <a:pt x="442" y="740"/>
                  </a:lnTo>
                  <a:lnTo>
                    <a:pt x="442" y="742"/>
                  </a:lnTo>
                  <a:lnTo>
                    <a:pt x="440" y="742"/>
                  </a:lnTo>
                  <a:lnTo>
                    <a:pt x="440" y="740"/>
                  </a:lnTo>
                  <a:lnTo>
                    <a:pt x="440" y="738"/>
                  </a:lnTo>
                  <a:lnTo>
                    <a:pt x="440" y="740"/>
                  </a:lnTo>
                  <a:lnTo>
                    <a:pt x="440" y="738"/>
                  </a:lnTo>
                  <a:lnTo>
                    <a:pt x="440" y="736"/>
                  </a:lnTo>
                  <a:lnTo>
                    <a:pt x="440" y="734"/>
                  </a:lnTo>
                  <a:lnTo>
                    <a:pt x="440" y="732"/>
                  </a:lnTo>
                  <a:lnTo>
                    <a:pt x="440" y="730"/>
                  </a:lnTo>
                  <a:lnTo>
                    <a:pt x="440" y="728"/>
                  </a:lnTo>
                  <a:lnTo>
                    <a:pt x="440" y="726"/>
                  </a:lnTo>
                  <a:lnTo>
                    <a:pt x="440" y="728"/>
                  </a:lnTo>
                  <a:lnTo>
                    <a:pt x="440" y="726"/>
                  </a:lnTo>
                  <a:lnTo>
                    <a:pt x="442" y="726"/>
                  </a:lnTo>
                  <a:lnTo>
                    <a:pt x="442" y="724"/>
                  </a:lnTo>
                  <a:lnTo>
                    <a:pt x="440" y="724"/>
                  </a:lnTo>
                  <a:lnTo>
                    <a:pt x="442" y="724"/>
                  </a:lnTo>
                  <a:lnTo>
                    <a:pt x="440" y="724"/>
                  </a:lnTo>
                  <a:lnTo>
                    <a:pt x="442" y="724"/>
                  </a:lnTo>
                  <a:lnTo>
                    <a:pt x="440" y="723"/>
                  </a:lnTo>
                  <a:lnTo>
                    <a:pt x="442" y="723"/>
                  </a:lnTo>
                  <a:lnTo>
                    <a:pt x="442" y="721"/>
                  </a:lnTo>
                  <a:lnTo>
                    <a:pt x="442" y="719"/>
                  </a:lnTo>
                  <a:lnTo>
                    <a:pt x="442" y="717"/>
                  </a:lnTo>
                  <a:lnTo>
                    <a:pt x="444" y="717"/>
                  </a:lnTo>
                  <a:lnTo>
                    <a:pt x="444" y="719"/>
                  </a:lnTo>
                  <a:lnTo>
                    <a:pt x="444" y="717"/>
                  </a:lnTo>
                  <a:lnTo>
                    <a:pt x="442" y="717"/>
                  </a:lnTo>
                  <a:lnTo>
                    <a:pt x="444" y="715"/>
                  </a:lnTo>
                  <a:lnTo>
                    <a:pt x="446" y="715"/>
                  </a:lnTo>
                  <a:lnTo>
                    <a:pt x="444" y="715"/>
                  </a:lnTo>
                  <a:lnTo>
                    <a:pt x="444" y="717"/>
                  </a:lnTo>
                  <a:lnTo>
                    <a:pt x="446" y="717"/>
                  </a:lnTo>
                  <a:lnTo>
                    <a:pt x="446" y="715"/>
                  </a:lnTo>
                  <a:lnTo>
                    <a:pt x="446" y="713"/>
                  </a:lnTo>
                  <a:lnTo>
                    <a:pt x="448" y="713"/>
                  </a:lnTo>
                  <a:lnTo>
                    <a:pt x="446" y="713"/>
                  </a:lnTo>
                  <a:lnTo>
                    <a:pt x="448" y="711"/>
                  </a:lnTo>
                  <a:lnTo>
                    <a:pt x="448" y="713"/>
                  </a:lnTo>
                  <a:lnTo>
                    <a:pt x="448" y="711"/>
                  </a:lnTo>
                  <a:lnTo>
                    <a:pt x="448" y="713"/>
                  </a:lnTo>
                  <a:lnTo>
                    <a:pt x="448" y="711"/>
                  </a:lnTo>
                  <a:lnTo>
                    <a:pt x="446" y="711"/>
                  </a:lnTo>
                  <a:lnTo>
                    <a:pt x="446" y="709"/>
                  </a:lnTo>
                  <a:lnTo>
                    <a:pt x="448" y="709"/>
                  </a:lnTo>
                  <a:lnTo>
                    <a:pt x="450" y="709"/>
                  </a:lnTo>
                  <a:lnTo>
                    <a:pt x="450" y="707"/>
                  </a:lnTo>
                  <a:lnTo>
                    <a:pt x="448" y="707"/>
                  </a:lnTo>
                  <a:lnTo>
                    <a:pt x="446" y="707"/>
                  </a:lnTo>
                  <a:lnTo>
                    <a:pt x="448" y="705"/>
                  </a:lnTo>
                  <a:lnTo>
                    <a:pt x="448" y="703"/>
                  </a:lnTo>
                  <a:lnTo>
                    <a:pt x="450" y="703"/>
                  </a:lnTo>
                  <a:lnTo>
                    <a:pt x="450" y="701"/>
                  </a:lnTo>
                  <a:lnTo>
                    <a:pt x="450" y="699"/>
                  </a:lnTo>
                  <a:lnTo>
                    <a:pt x="450" y="698"/>
                  </a:lnTo>
                  <a:lnTo>
                    <a:pt x="450" y="696"/>
                  </a:lnTo>
                  <a:lnTo>
                    <a:pt x="451" y="696"/>
                  </a:lnTo>
                  <a:lnTo>
                    <a:pt x="451" y="694"/>
                  </a:lnTo>
                  <a:lnTo>
                    <a:pt x="450" y="694"/>
                  </a:lnTo>
                  <a:lnTo>
                    <a:pt x="451" y="694"/>
                  </a:lnTo>
                  <a:lnTo>
                    <a:pt x="450" y="696"/>
                  </a:lnTo>
                  <a:lnTo>
                    <a:pt x="448" y="696"/>
                  </a:lnTo>
                  <a:lnTo>
                    <a:pt x="446" y="696"/>
                  </a:lnTo>
                  <a:lnTo>
                    <a:pt x="446" y="694"/>
                  </a:lnTo>
                  <a:lnTo>
                    <a:pt x="444" y="694"/>
                  </a:lnTo>
                  <a:lnTo>
                    <a:pt x="442" y="694"/>
                  </a:lnTo>
                  <a:lnTo>
                    <a:pt x="442" y="692"/>
                  </a:lnTo>
                  <a:lnTo>
                    <a:pt x="440" y="690"/>
                  </a:lnTo>
                  <a:lnTo>
                    <a:pt x="442" y="690"/>
                  </a:lnTo>
                  <a:lnTo>
                    <a:pt x="440" y="690"/>
                  </a:lnTo>
                  <a:lnTo>
                    <a:pt x="442" y="690"/>
                  </a:lnTo>
                  <a:lnTo>
                    <a:pt x="442" y="688"/>
                  </a:lnTo>
                  <a:lnTo>
                    <a:pt x="442" y="686"/>
                  </a:lnTo>
                  <a:lnTo>
                    <a:pt x="444" y="686"/>
                  </a:lnTo>
                  <a:lnTo>
                    <a:pt x="442" y="684"/>
                  </a:lnTo>
                  <a:lnTo>
                    <a:pt x="442" y="686"/>
                  </a:lnTo>
                  <a:lnTo>
                    <a:pt x="442" y="684"/>
                  </a:lnTo>
                  <a:lnTo>
                    <a:pt x="440" y="686"/>
                  </a:lnTo>
                  <a:lnTo>
                    <a:pt x="440" y="684"/>
                  </a:lnTo>
                  <a:lnTo>
                    <a:pt x="442" y="684"/>
                  </a:lnTo>
                  <a:lnTo>
                    <a:pt x="442" y="682"/>
                  </a:lnTo>
                  <a:lnTo>
                    <a:pt x="444" y="682"/>
                  </a:lnTo>
                  <a:lnTo>
                    <a:pt x="444" y="684"/>
                  </a:lnTo>
                  <a:lnTo>
                    <a:pt x="444" y="682"/>
                  </a:lnTo>
                  <a:lnTo>
                    <a:pt x="446" y="682"/>
                  </a:lnTo>
                  <a:lnTo>
                    <a:pt x="446" y="680"/>
                  </a:lnTo>
                  <a:lnTo>
                    <a:pt x="446" y="678"/>
                  </a:lnTo>
                  <a:lnTo>
                    <a:pt x="446" y="676"/>
                  </a:lnTo>
                  <a:lnTo>
                    <a:pt x="446" y="675"/>
                  </a:lnTo>
                  <a:lnTo>
                    <a:pt x="446" y="673"/>
                  </a:lnTo>
                  <a:lnTo>
                    <a:pt x="448" y="673"/>
                  </a:lnTo>
                  <a:lnTo>
                    <a:pt x="448" y="675"/>
                  </a:lnTo>
                  <a:lnTo>
                    <a:pt x="448" y="676"/>
                  </a:lnTo>
                  <a:lnTo>
                    <a:pt x="448" y="678"/>
                  </a:lnTo>
                  <a:lnTo>
                    <a:pt x="450" y="678"/>
                  </a:lnTo>
                  <a:lnTo>
                    <a:pt x="450" y="676"/>
                  </a:lnTo>
                  <a:lnTo>
                    <a:pt x="450" y="675"/>
                  </a:lnTo>
                  <a:lnTo>
                    <a:pt x="450" y="673"/>
                  </a:lnTo>
                  <a:lnTo>
                    <a:pt x="448" y="673"/>
                  </a:lnTo>
                  <a:lnTo>
                    <a:pt x="450" y="673"/>
                  </a:lnTo>
                  <a:lnTo>
                    <a:pt x="448" y="673"/>
                  </a:lnTo>
                  <a:lnTo>
                    <a:pt x="448" y="671"/>
                  </a:lnTo>
                  <a:lnTo>
                    <a:pt x="448" y="669"/>
                  </a:lnTo>
                  <a:lnTo>
                    <a:pt x="448" y="667"/>
                  </a:lnTo>
                  <a:lnTo>
                    <a:pt x="450" y="667"/>
                  </a:lnTo>
                  <a:lnTo>
                    <a:pt x="450" y="665"/>
                  </a:lnTo>
                  <a:lnTo>
                    <a:pt x="448" y="665"/>
                  </a:lnTo>
                  <a:lnTo>
                    <a:pt x="450" y="665"/>
                  </a:lnTo>
                  <a:lnTo>
                    <a:pt x="450" y="663"/>
                  </a:lnTo>
                  <a:lnTo>
                    <a:pt x="448" y="663"/>
                  </a:lnTo>
                  <a:lnTo>
                    <a:pt x="450" y="663"/>
                  </a:lnTo>
                  <a:lnTo>
                    <a:pt x="450" y="661"/>
                  </a:lnTo>
                  <a:lnTo>
                    <a:pt x="450" y="659"/>
                  </a:lnTo>
                  <a:lnTo>
                    <a:pt x="450" y="657"/>
                  </a:lnTo>
                  <a:lnTo>
                    <a:pt x="448" y="657"/>
                  </a:lnTo>
                  <a:lnTo>
                    <a:pt x="448" y="659"/>
                  </a:lnTo>
                  <a:lnTo>
                    <a:pt x="448" y="661"/>
                  </a:lnTo>
                  <a:lnTo>
                    <a:pt x="448" y="663"/>
                  </a:lnTo>
                  <a:lnTo>
                    <a:pt x="448" y="665"/>
                  </a:lnTo>
                  <a:lnTo>
                    <a:pt x="446" y="667"/>
                  </a:lnTo>
                  <a:lnTo>
                    <a:pt x="446" y="669"/>
                  </a:lnTo>
                  <a:lnTo>
                    <a:pt x="446" y="671"/>
                  </a:lnTo>
                  <a:lnTo>
                    <a:pt x="446" y="673"/>
                  </a:lnTo>
                  <a:lnTo>
                    <a:pt x="444" y="675"/>
                  </a:lnTo>
                  <a:lnTo>
                    <a:pt x="446" y="675"/>
                  </a:lnTo>
                  <a:lnTo>
                    <a:pt x="444" y="675"/>
                  </a:lnTo>
                  <a:lnTo>
                    <a:pt x="444" y="676"/>
                  </a:lnTo>
                  <a:lnTo>
                    <a:pt x="444" y="678"/>
                  </a:lnTo>
                  <a:lnTo>
                    <a:pt x="444" y="680"/>
                  </a:lnTo>
                  <a:lnTo>
                    <a:pt x="442" y="678"/>
                  </a:lnTo>
                  <a:lnTo>
                    <a:pt x="442" y="680"/>
                  </a:lnTo>
                  <a:lnTo>
                    <a:pt x="440" y="680"/>
                  </a:lnTo>
                  <a:lnTo>
                    <a:pt x="440" y="678"/>
                  </a:lnTo>
                  <a:lnTo>
                    <a:pt x="438" y="678"/>
                  </a:lnTo>
                  <a:lnTo>
                    <a:pt x="438" y="676"/>
                  </a:lnTo>
                  <a:lnTo>
                    <a:pt x="440" y="676"/>
                  </a:lnTo>
                  <a:lnTo>
                    <a:pt x="438" y="676"/>
                  </a:lnTo>
                  <a:lnTo>
                    <a:pt x="438" y="675"/>
                  </a:lnTo>
                  <a:lnTo>
                    <a:pt x="438" y="673"/>
                  </a:lnTo>
                  <a:lnTo>
                    <a:pt x="438" y="671"/>
                  </a:lnTo>
                  <a:lnTo>
                    <a:pt x="436" y="671"/>
                  </a:lnTo>
                  <a:lnTo>
                    <a:pt x="436" y="669"/>
                  </a:lnTo>
                  <a:lnTo>
                    <a:pt x="436" y="667"/>
                  </a:lnTo>
                  <a:lnTo>
                    <a:pt x="434" y="667"/>
                  </a:lnTo>
                  <a:lnTo>
                    <a:pt x="434" y="665"/>
                  </a:lnTo>
                  <a:lnTo>
                    <a:pt x="436" y="665"/>
                  </a:lnTo>
                  <a:lnTo>
                    <a:pt x="436" y="663"/>
                  </a:lnTo>
                  <a:lnTo>
                    <a:pt x="434" y="665"/>
                  </a:lnTo>
                  <a:lnTo>
                    <a:pt x="432" y="665"/>
                  </a:lnTo>
                  <a:lnTo>
                    <a:pt x="434" y="663"/>
                  </a:lnTo>
                  <a:lnTo>
                    <a:pt x="432" y="663"/>
                  </a:lnTo>
                  <a:lnTo>
                    <a:pt x="434" y="663"/>
                  </a:lnTo>
                  <a:lnTo>
                    <a:pt x="432" y="663"/>
                  </a:lnTo>
                  <a:lnTo>
                    <a:pt x="432" y="661"/>
                  </a:lnTo>
                  <a:lnTo>
                    <a:pt x="430" y="661"/>
                  </a:lnTo>
                  <a:lnTo>
                    <a:pt x="428" y="663"/>
                  </a:lnTo>
                  <a:lnTo>
                    <a:pt x="427" y="663"/>
                  </a:lnTo>
                  <a:lnTo>
                    <a:pt x="425" y="663"/>
                  </a:lnTo>
                  <a:lnTo>
                    <a:pt x="425" y="661"/>
                  </a:lnTo>
                  <a:lnTo>
                    <a:pt x="425" y="663"/>
                  </a:lnTo>
                  <a:lnTo>
                    <a:pt x="427" y="663"/>
                  </a:lnTo>
                  <a:lnTo>
                    <a:pt x="428" y="663"/>
                  </a:lnTo>
                  <a:lnTo>
                    <a:pt x="430" y="663"/>
                  </a:lnTo>
                  <a:lnTo>
                    <a:pt x="430" y="661"/>
                  </a:lnTo>
                  <a:lnTo>
                    <a:pt x="432" y="661"/>
                  </a:lnTo>
                  <a:lnTo>
                    <a:pt x="434" y="661"/>
                  </a:lnTo>
                  <a:lnTo>
                    <a:pt x="436" y="661"/>
                  </a:lnTo>
                  <a:lnTo>
                    <a:pt x="438" y="661"/>
                  </a:lnTo>
                  <a:lnTo>
                    <a:pt x="440" y="659"/>
                  </a:lnTo>
                  <a:lnTo>
                    <a:pt x="438" y="659"/>
                  </a:lnTo>
                  <a:lnTo>
                    <a:pt x="438" y="657"/>
                  </a:lnTo>
                  <a:lnTo>
                    <a:pt x="436" y="657"/>
                  </a:lnTo>
                  <a:lnTo>
                    <a:pt x="436" y="659"/>
                  </a:lnTo>
                  <a:lnTo>
                    <a:pt x="436" y="661"/>
                  </a:lnTo>
                  <a:lnTo>
                    <a:pt x="436" y="659"/>
                  </a:lnTo>
                  <a:lnTo>
                    <a:pt x="436" y="657"/>
                  </a:lnTo>
                  <a:lnTo>
                    <a:pt x="434" y="657"/>
                  </a:lnTo>
                  <a:lnTo>
                    <a:pt x="436" y="657"/>
                  </a:lnTo>
                  <a:lnTo>
                    <a:pt x="436" y="659"/>
                  </a:lnTo>
                  <a:lnTo>
                    <a:pt x="434" y="659"/>
                  </a:lnTo>
                  <a:lnTo>
                    <a:pt x="434" y="657"/>
                  </a:lnTo>
                  <a:lnTo>
                    <a:pt x="436" y="657"/>
                  </a:lnTo>
                  <a:lnTo>
                    <a:pt x="434" y="657"/>
                  </a:lnTo>
                  <a:lnTo>
                    <a:pt x="434" y="655"/>
                  </a:lnTo>
                  <a:lnTo>
                    <a:pt x="434" y="657"/>
                  </a:lnTo>
                  <a:lnTo>
                    <a:pt x="432" y="657"/>
                  </a:lnTo>
                  <a:lnTo>
                    <a:pt x="430" y="657"/>
                  </a:lnTo>
                  <a:lnTo>
                    <a:pt x="430" y="659"/>
                  </a:lnTo>
                  <a:lnTo>
                    <a:pt x="428" y="659"/>
                  </a:lnTo>
                  <a:lnTo>
                    <a:pt x="430" y="659"/>
                  </a:lnTo>
                  <a:lnTo>
                    <a:pt x="430" y="661"/>
                  </a:lnTo>
                  <a:lnTo>
                    <a:pt x="428" y="661"/>
                  </a:lnTo>
                  <a:lnTo>
                    <a:pt x="427" y="661"/>
                  </a:lnTo>
                  <a:lnTo>
                    <a:pt x="428" y="661"/>
                  </a:lnTo>
                  <a:lnTo>
                    <a:pt x="427" y="661"/>
                  </a:lnTo>
                  <a:lnTo>
                    <a:pt x="427" y="663"/>
                  </a:lnTo>
                  <a:lnTo>
                    <a:pt x="427" y="661"/>
                  </a:lnTo>
                  <a:lnTo>
                    <a:pt x="425" y="661"/>
                  </a:lnTo>
                  <a:lnTo>
                    <a:pt x="423" y="661"/>
                  </a:lnTo>
                  <a:lnTo>
                    <a:pt x="425" y="661"/>
                  </a:lnTo>
                  <a:lnTo>
                    <a:pt x="423" y="659"/>
                  </a:lnTo>
                  <a:lnTo>
                    <a:pt x="425" y="659"/>
                  </a:lnTo>
                  <a:lnTo>
                    <a:pt x="427" y="659"/>
                  </a:lnTo>
                  <a:lnTo>
                    <a:pt x="427" y="657"/>
                  </a:lnTo>
                  <a:lnTo>
                    <a:pt x="427" y="659"/>
                  </a:lnTo>
                  <a:lnTo>
                    <a:pt x="427" y="657"/>
                  </a:lnTo>
                  <a:lnTo>
                    <a:pt x="428" y="657"/>
                  </a:lnTo>
                  <a:lnTo>
                    <a:pt x="428" y="655"/>
                  </a:lnTo>
                  <a:lnTo>
                    <a:pt x="428" y="653"/>
                  </a:lnTo>
                  <a:lnTo>
                    <a:pt x="428" y="651"/>
                  </a:lnTo>
                  <a:lnTo>
                    <a:pt x="427" y="651"/>
                  </a:lnTo>
                  <a:lnTo>
                    <a:pt x="428" y="651"/>
                  </a:lnTo>
                  <a:lnTo>
                    <a:pt x="428" y="650"/>
                  </a:lnTo>
                  <a:lnTo>
                    <a:pt x="427" y="648"/>
                  </a:lnTo>
                  <a:lnTo>
                    <a:pt x="425" y="648"/>
                  </a:lnTo>
                  <a:lnTo>
                    <a:pt x="423" y="648"/>
                  </a:lnTo>
                  <a:lnTo>
                    <a:pt x="423" y="650"/>
                  </a:lnTo>
                  <a:lnTo>
                    <a:pt x="423" y="648"/>
                  </a:lnTo>
                  <a:lnTo>
                    <a:pt x="423" y="646"/>
                  </a:lnTo>
                  <a:lnTo>
                    <a:pt x="423" y="648"/>
                  </a:lnTo>
                  <a:lnTo>
                    <a:pt x="427" y="648"/>
                  </a:lnTo>
                  <a:lnTo>
                    <a:pt x="428" y="648"/>
                  </a:lnTo>
                  <a:lnTo>
                    <a:pt x="430" y="648"/>
                  </a:lnTo>
                  <a:lnTo>
                    <a:pt x="432" y="648"/>
                  </a:lnTo>
                  <a:lnTo>
                    <a:pt x="434" y="648"/>
                  </a:lnTo>
                  <a:lnTo>
                    <a:pt x="434" y="650"/>
                  </a:lnTo>
                  <a:lnTo>
                    <a:pt x="436" y="650"/>
                  </a:lnTo>
                  <a:lnTo>
                    <a:pt x="434" y="650"/>
                  </a:lnTo>
                  <a:lnTo>
                    <a:pt x="436" y="651"/>
                  </a:lnTo>
                  <a:lnTo>
                    <a:pt x="436" y="650"/>
                  </a:lnTo>
                  <a:lnTo>
                    <a:pt x="438" y="650"/>
                  </a:lnTo>
                  <a:lnTo>
                    <a:pt x="438" y="648"/>
                  </a:lnTo>
                  <a:lnTo>
                    <a:pt x="440" y="648"/>
                  </a:lnTo>
                  <a:lnTo>
                    <a:pt x="440" y="650"/>
                  </a:lnTo>
                  <a:lnTo>
                    <a:pt x="440" y="651"/>
                  </a:lnTo>
                  <a:lnTo>
                    <a:pt x="438" y="651"/>
                  </a:lnTo>
                  <a:lnTo>
                    <a:pt x="438" y="653"/>
                  </a:lnTo>
                  <a:lnTo>
                    <a:pt x="436" y="653"/>
                  </a:lnTo>
                  <a:lnTo>
                    <a:pt x="438" y="653"/>
                  </a:lnTo>
                  <a:lnTo>
                    <a:pt x="438" y="651"/>
                  </a:lnTo>
                  <a:lnTo>
                    <a:pt x="440" y="651"/>
                  </a:lnTo>
                  <a:lnTo>
                    <a:pt x="440" y="653"/>
                  </a:lnTo>
                  <a:lnTo>
                    <a:pt x="440" y="655"/>
                  </a:lnTo>
                  <a:lnTo>
                    <a:pt x="440" y="653"/>
                  </a:lnTo>
                  <a:lnTo>
                    <a:pt x="440" y="651"/>
                  </a:lnTo>
                  <a:lnTo>
                    <a:pt x="440" y="650"/>
                  </a:lnTo>
                  <a:lnTo>
                    <a:pt x="440" y="648"/>
                  </a:lnTo>
                  <a:lnTo>
                    <a:pt x="440" y="650"/>
                  </a:lnTo>
                  <a:lnTo>
                    <a:pt x="442" y="650"/>
                  </a:lnTo>
                  <a:lnTo>
                    <a:pt x="442" y="651"/>
                  </a:lnTo>
                  <a:lnTo>
                    <a:pt x="442" y="653"/>
                  </a:lnTo>
                  <a:lnTo>
                    <a:pt x="442" y="655"/>
                  </a:lnTo>
                  <a:lnTo>
                    <a:pt x="444" y="655"/>
                  </a:lnTo>
                  <a:lnTo>
                    <a:pt x="446" y="655"/>
                  </a:lnTo>
                  <a:lnTo>
                    <a:pt x="446" y="653"/>
                  </a:lnTo>
                  <a:lnTo>
                    <a:pt x="444" y="653"/>
                  </a:lnTo>
                  <a:lnTo>
                    <a:pt x="444" y="651"/>
                  </a:lnTo>
                  <a:lnTo>
                    <a:pt x="442" y="648"/>
                  </a:lnTo>
                  <a:lnTo>
                    <a:pt x="444" y="648"/>
                  </a:lnTo>
                  <a:lnTo>
                    <a:pt x="444" y="650"/>
                  </a:lnTo>
                  <a:lnTo>
                    <a:pt x="446" y="651"/>
                  </a:lnTo>
                  <a:lnTo>
                    <a:pt x="446" y="653"/>
                  </a:lnTo>
                  <a:lnTo>
                    <a:pt x="446" y="650"/>
                  </a:lnTo>
                  <a:lnTo>
                    <a:pt x="444" y="648"/>
                  </a:lnTo>
                  <a:lnTo>
                    <a:pt x="446" y="648"/>
                  </a:lnTo>
                  <a:lnTo>
                    <a:pt x="446" y="650"/>
                  </a:lnTo>
                  <a:lnTo>
                    <a:pt x="448" y="650"/>
                  </a:lnTo>
                  <a:lnTo>
                    <a:pt x="448" y="651"/>
                  </a:lnTo>
                  <a:lnTo>
                    <a:pt x="448" y="653"/>
                  </a:lnTo>
                  <a:lnTo>
                    <a:pt x="450" y="653"/>
                  </a:lnTo>
                  <a:lnTo>
                    <a:pt x="450" y="651"/>
                  </a:lnTo>
                  <a:lnTo>
                    <a:pt x="448" y="650"/>
                  </a:lnTo>
                  <a:lnTo>
                    <a:pt x="448" y="648"/>
                  </a:lnTo>
                  <a:lnTo>
                    <a:pt x="446" y="648"/>
                  </a:lnTo>
                  <a:lnTo>
                    <a:pt x="446" y="646"/>
                  </a:lnTo>
                  <a:lnTo>
                    <a:pt x="446" y="648"/>
                  </a:lnTo>
                  <a:lnTo>
                    <a:pt x="446" y="646"/>
                  </a:lnTo>
                  <a:lnTo>
                    <a:pt x="446" y="644"/>
                  </a:lnTo>
                  <a:lnTo>
                    <a:pt x="444" y="642"/>
                  </a:lnTo>
                  <a:lnTo>
                    <a:pt x="444" y="640"/>
                  </a:lnTo>
                  <a:lnTo>
                    <a:pt x="442" y="640"/>
                  </a:lnTo>
                  <a:lnTo>
                    <a:pt x="442" y="638"/>
                  </a:lnTo>
                  <a:lnTo>
                    <a:pt x="440" y="638"/>
                  </a:lnTo>
                  <a:lnTo>
                    <a:pt x="442" y="638"/>
                  </a:lnTo>
                  <a:lnTo>
                    <a:pt x="440" y="636"/>
                  </a:lnTo>
                  <a:lnTo>
                    <a:pt x="440" y="632"/>
                  </a:lnTo>
                  <a:lnTo>
                    <a:pt x="440" y="630"/>
                  </a:lnTo>
                  <a:lnTo>
                    <a:pt x="440" y="628"/>
                  </a:lnTo>
                  <a:lnTo>
                    <a:pt x="440" y="626"/>
                  </a:lnTo>
                  <a:lnTo>
                    <a:pt x="440" y="625"/>
                  </a:lnTo>
                  <a:lnTo>
                    <a:pt x="440" y="623"/>
                  </a:lnTo>
                  <a:lnTo>
                    <a:pt x="440" y="621"/>
                  </a:lnTo>
                  <a:lnTo>
                    <a:pt x="440" y="619"/>
                  </a:lnTo>
                  <a:lnTo>
                    <a:pt x="440" y="617"/>
                  </a:lnTo>
                  <a:lnTo>
                    <a:pt x="438" y="615"/>
                  </a:lnTo>
                  <a:lnTo>
                    <a:pt x="436" y="611"/>
                  </a:lnTo>
                  <a:lnTo>
                    <a:pt x="436" y="609"/>
                  </a:lnTo>
                  <a:lnTo>
                    <a:pt x="436" y="607"/>
                  </a:lnTo>
                  <a:lnTo>
                    <a:pt x="434" y="607"/>
                  </a:lnTo>
                  <a:lnTo>
                    <a:pt x="436" y="607"/>
                  </a:lnTo>
                  <a:lnTo>
                    <a:pt x="434" y="605"/>
                  </a:lnTo>
                  <a:lnTo>
                    <a:pt x="434" y="603"/>
                  </a:lnTo>
                  <a:lnTo>
                    <a:pt x="432" y="598"/>
                  </a:lnTo>
                  <a:lnTo>
                    <a:pt x="432" y="596"/>
                  </a:lnTo>
                  <a:lnTo>
                    <a:pt x="432" y="598"/>
                  </a:lnTo>
                  <a:lnTo>
                    <a:pt x="432" y="596"/>
                  </a:lnTo>
                  <a:lnTo>
                    <a:pt x="430" y="596"/>
                  </a:lnTo>
                  <a:lnTo>
                    <a:pt x="428" y="596"/>
                  </a:lnTo>
                  <a:lnTo>
                    <a:pt x="427" y="598"/>
                  </a:lnTo>
                  <a:lnTo>
                    <a:pt x="425" y="600"/>
                  </a:lnTo>
                  <a:lnTo>
                    <a:pt x="423" y="600"/>
                  </a:lnTo>
                  <a:lnTo>
                    <a:pt x="423" y="602"/>
                  </a:lnTo>
                  <a:lnTo>
                    <a:pt x="421" y="602"/>
                  </a:lnTo>
                  <a:lnTo>
                    <a:pt x="421" y="603"/>
                  </a:lnTo>
                  <a:lnTo>
                    <a:pt x="421" y="602"/>
                  </a:lnTo>
                  <a:lnTo>
                    <a:pt x="421" y="603"/>
                  </a:lnTo>
                  <a:lnTo>
                    <a:pt x="419" y="603"/>
                  </a:lnTo>
                  <a:lnTo>
                    <a:pt x="421" y="603"/>
                  </a:lnTo>
                  <a:lnTo>
                    <a:pt x="419" y="603"/>
                  </a:lnTo>
                  <a:lnTo>
                    <a:pt x="419" y="605"/>
                  </a:lnTo>
                  <a:lnTo>
                    <a:pt x="417" y="605"/>
                  </a:lnTo>
                  <a:lnTo>
                    <a:pt x="417" y="607"/>
                  </a:lnTo>
                  <a:lnTo>
                    <a:pt x="415" y="607"/>
                  </a:lnTo>
                  <a:lnTo>
                    <a:pt x="413" y="609"/>
                  </a:lnTo>
                  <a:lnTo>
                    <a:pt x="407" y="613"/>
                  </a:lnTo>
                  <a:lnTo>
                    <a:pt x="405" y="615"/>
                  </a:lnTo>
                  <a:lnTo>
                    <a:pt x="403" y="617"/>
                  </a:lnTo>
                  <a:lnTo>
                    <a:pt x="402" y="617"/>
                  </a:lnTo>
                  <a:lnTo>
                    <a:pt x="400" y="619"/>
                  </a:lnTo>
                  <a:lnTo>
                    <a:pt x="398" y="619"/>
                  </a:lnTo>
                  <a:lnTo>
                    <a:pt x="396" y="619"/>
                  </a:lnTo>
                  <a:lnTo>
                    <a:pt x="396" y="621"/>
                  </a:lnTo>
                  <a:lnTo>
                    <a:pt x="396" y="623"/>
                  </a:lnTo>
                  <a:lnTo>
                    <a:pt x="396" y="625"/>
                  </a:lnTo>
                  <a:lnTo>
                    <a:pt x="396" y="626"/>
                  </a:lnTo>
                  <a:lnTo>
                    <a:pt x="396" y="628"/>
                  </a:lnTo>
                  <a:lnTo>
                    <a:pt x="398" y="628"/>
                  </a:lnTo>
                  <a:lnTo>
                    <a:pt x="396" y="630"/>
                  </a:lnTo>
                  <a:lnTo>
                    <a:pt x="396" y="628"/>
                  </a:lnTo>
                  <a:lnTo>
                    <a:pt x="396" y="626"/>
                  </a:lnTo>
                  <a:lnTo>
                    <a:pt x="396" y="625"/>
                  </a:lnTo>
                  <a:lnTo>
                    <a:pt x="394" y="625"/>
                  </a:lnTo>
                  <a:lnTo>
                    <a:pt x="396" y="623"/>
                  </a:lnTo>
                  <a:lnTo>
                    <a:pt x="394" y="619"/>
                  </a:lnTo>
                  <a:lnTo>
                    <a:pt x="392" y="621"/>
                  </a:lnTo>
                  <a:lnTo>
                    <a:pt x="394" y="625"/>
                  </a:lnTo>
                  <a:lnTo>
                    <a:pt x="394" y="626"/>
                  </a:lnTo>
                  <a:lnTo>
                    <a:pt x="394" y="630"/>
                  </a:lnTo>
                  <a:lnTo>
                    <a:pt x="398" y="632"/>
                  </a:lnTo>
                  <a:lnTo>
                    <a:pt x="396" y="632"/>
                  </a:lnTo>
                  <a:lnTo>
                    <a:pt x="394" y="632"/>
                  </a:lnTo>
                  <a:lnTo>
                    <a:pt x="394" y="630"/>
                  </a:lnTo>
                  <a:lnTo>
                    <a:pt x="394" y="626"/>
                  </a:lnTo>
                  <a:lnTo>
                    <a:pt x="392" y="621"/>
                  </a:lnTo>
                  <a:lnTo>
                    <a:pt x="390" y="619"/>
                  </a:lnTo>
                  <a:lnTo>
                    <a:pt x="390" y="617"/>
                  </a:lnTo>
                  <a:lnTo>
                    <a:pt x="392" y="617"/>
                  </a:lnTo>
                  <a:lnTo>
                    <a:pt x="390" y="613"/>
                  </a:lnTo>
                  <a:lnTo>
                    <a:pt x="392" y="613"/>
                  </a:lnTo>
                  <a:lnTo>
                    <a:pt x="392" y="611"/>
                  </a:lnTo>
                  <a:lnTo>
                    <a:pt x="392" y="609"/>
                  </a:lnTo>
                  <a:lnTo>
                    <a:pt x="394" y="609"/>
                  </a:lnTo>
                  <a:lnTo>
                    <a:pt x="392" y="613"/>
                  </a:lnTo>
                  <a:lnTo>
                    <a:pt x="392" y="617"/>
                  </a:lnTo>
                  <a:lnTo>
                    <a:pt x="394" y="617"/>
                  </a:lnTo>
                  <a:lnTo>
                    <a:pt x="394" y="615"/>
                  </a:lnTo>
                  <a:lnTo>
                    <a:pt x="394" y="613"/>
                  </a:lnTo>
                  <a:lnTo>
                    <a:pt x="394" y="611"/>
                  </a:lnTo>
                  <a:lnTo>
                    <a:pt x="394" y="613"/>
                  </a:lnTo>
                  <a:lnTo>
                    <a:pt x="396" y="613"/>
                  </a:lnTo>
                  <a:lnTo>
                    <a:pt x="396" y="617"/>
                  </a:lnTo>
                  <a:lnTo>
                    <a:pt x="400" y="617"/>
                  </a:lnTo>
                  <a:lnTo>
                    <a:pt x="402" y="615"/>
                  </a:lnTo>
                  <a:lnTo>
                    <a:pt x="403" y="615"/>
                  </a:lnTo>
                  <a:lnTo>
                    <a:pt x="403" y="613"/>
                  </a:lnTo>
                  <a:lnTo>
                    <a:pt x="405" y="613"/>
                  </a:lnTo>
                  <a:lnTo>
                    <a:pt x="407" y="611"/>
                  </a:lnTo>
                  <a:lnTo>
                    <a:pt x="415" y="603"/>
                  </a:lnTo>
                  <a:lnTo>
                    <a:pt x="430" y="592"/>
                  </a:lnTo>
                  <a:lnTo>
                    <a:pt x="430" y="590"/>
                  </a:lnTo>
                  <a:lnTo>
                    <a:pt x="432" y="590"/>
                  </a:lnTo>
                  <a:lnTo>
                    <a:pt x="432" y="588"/>
                  </a:lnTo>
                  <a:lnTo>
                    <a:pt x="434" y="586"/>
                  </a:lnTo>
                  <a:lnTo>
                    <a:pt x="434" y="584"/>
                  </a:lnTo>
                  <a:lnTo>
                    <a:pt x="434" y="582"/>
                  </a:lnTo>
                  <a:lnTo>
                    <a:pt x="436" y="578"/>
                  </a:lnTo>
                  <a:lnTo>
                    <a:pt x="436" y="577"/>
                  </a:lnTo>
                  <a:lnTo>
                    <a:pt x="434" y="575"/>
                  </a:lnTo>
                  <a:lnTo>
                    <a:pt x="434" y="573"/>
                  </a:lnTo>
                  <a:lnTo>
                    <a:pt x="440" y="569"/>
                  </a:lnTo>
                  <a:lnTo>
                    <a:pt x="444" y="567"/>
                  </a:lnTo>
                  <a:lnTo>
                    <a:pt x="446" y="567"/>
                  </a:lnTo>
                  <a:lnTo>
                    <a:pt x="446" y="565"/>
                  </a:lnTo>
                  <a:lnTo>
                    <a:pt x="448" y="565"/>
                  </a:lnTo>
                  <a:lnTo>
                    <a:pt x="450" y="563"/>
                  </a:lnTo>
                  <a:lnTo>
                    <a:pt x="451" y="563"/>
                  </a:lnTo>
                  <a:lnTo>
                    <a:pt x="451" y="561"/>
                  </a:lnTo>
                  <a:lnTo>
                    <a:pt x="453" y="561"/>
                  </a:lnTo>
                  <a:lnTo>
                    <a:pt x="455" y="555"/>
                  </a:lnTo>
                  <a:lnTo>
                    <a:pt x="457" y="553"/>
                  </a:lnTo>
                  <a:lnTo>
                    <a:pt x="457" y="548"/>
                  </a:lnTo>
                  <a:lnTo>
                    <a:pt x="459" y="546"/>
                  </a:lnTo>
                  <a:lnTo>
                    <a:pt x="461" y="534"/>
                  </a:lnTo>
                  <a:lnTo>
                    <a:pt x="463" y="529"/>
                  </a:lnTo>
                  <a:lnTo>
                    <a:pt x="463" y="523"/>
                  </a:lnTo>
                  <a:lnTo>
                    <a:pt x="463" y="519"/>
                  </a:lnTo>
                  <a:lnTo>
                    <a:pt x="465" y="513"/>
                  </a:lnTo>
                  <a:lnTo>
                    <a:pt x="465" y="507"/>
                  </a:lnTo>
                  <a:lnTo>
                    <a:pt x="467" y="502"/>
                  </a:lnTo>
                  <a:lnTo>
                    <a:pt x="469" y="500"/>
                  </a:lnTo>
                  <a:lnTo>
                    <a:pt x="469" y="498"/>
                  </a:lnTo>
                  <a:lnTo>
                    <a:pt x="469" y="496"/>
                  </a:lnTo>
                  <a:lnTo>
                    <a:pt x="469" y="494"/>
                  </a:lnTo>
                  <a:lnTo>
                    <a:pt x="469" y="490"/>
                  </a:lnTo>
                  <a:lnTo>
                    <a:pt x="467" y="488"/>
                  </a:lnTo>
                  <a:lnTo>
                    <a:pt x="465" y="488"/>
                  </a:lnTo>
                  <a:lnTo>
                    <a:pt x="463" y="484"/>
                  </a:lnTo>
                  <a:lnTo>
                    <a:pt x="461" y="484"/>
                  </a:lnTo>
                  <a:lnTo>
                    <a:pt x="461" y="482"/>
                  </a:lnTo>
                  <a:lnTo>
                    <a:pt x="459" y="482"/>
                  </a:lnTo>
                  <a:lnTo>
                    <a:pt x="459" y="479"/>
                  </a:lnTo>
                  <a:lnTo>
                    <a:pt x="461" y="482"/>
                  </a:lnTo>
                  <a:lnTo>
                    <a:pt x="463" y="482"/>
                  </a:lnTo>
                  <a:lnTo>
                    <a:pt x="463" y="484"/>
                  </a:lnTo>
                  <a:lnTo>
                    <a:pt x="465" y="486"/>
                  </a:lnTo>
                  <a:lnTo>
                    <a:pt x="465" y="488"/>
                  </a:lnTo>
                  <a:lnTo>
                    <a:pt x="467" y="488"/>
                  </a:lnTo>
                  <a:lnTo>
                    <a:pt x="469" y="488"/>
                  </a:lnTo>
                  <a:lnTo>
                    <a:pt x="469" y="486"/>
                  </a:lnTo>
                  <a:lnTo>
                    <a:pt x="467" y="486"/>
                  </a:lnTo>
                  <a:lnTo>
                    <a:pt x="469" y="488"/>
                  </a:lnTo>
                  <a:lnTo>
                    <a:pt x="467" y="488"/>
                  </a:lnTo>
                  <a:lnTo>
                    <a:pt x="467" y="486"/>
                  </a:lnTo>
                  <a:lnTo>
                    <a:pt x="465" y="484"/>
                  </a:lnTo>
                  <a:lnTo>
                    <a:pt x="465" y="482"/>
                  </a:lnTo>
                  <a:lnTo>
                    <a:pt x="465" y="481"/>
                  </a:lnTo>
                  <a:lnTo>
                    <a:pt x="467" y="482"/>
                  </a:lnTo>
                  <a:lnTo>
                    <a:pt x="467" y="481"/>
                  </a:lnTo>
                  <a:lnTo>
                    <a:pt x="467" y="479"/>
                  </a:lnTo>
                  <a:lnTo>
                    <a:pt x="469" y="479"/>
                  </a:lnTo>
                  <a:lnTo>
                    <a:pt x="469" y="477"/>
                  </a:lnTo>
                  <a:lnTo>
                    <a:pt x="471" y="479"/>
                  </a:lnTo>
                  <a:lnTo>
                    <a:pt x="471" y="477"/>
                  </a:lnTo>
                  <a:lnTo>
                    <a:pt x="473" y="477"/>
                  </a:lnTo>
                  <a:lnTo>
                    <a:pt x="475" y="477"/>
                  </a:lnTo>
                  <a:lnTo>
                    <a:pt x="473" y="475"/>
                  </a:lnTo>
                  <a:lnTo>
                    <a:pt x="471" y="475"/>
                  </a:lnTo>
                  <a:lnTo>
                    <a:pt x="471" y="477"/>
                  </a:lnTo>
                  <a:lnTo>
                    <a:pt x="469" y="475"/>
                  </a:lnTo>
                  <a:lnTo>
                    <a:pt x="473" y="475"/>
                  </a:lnTo>
                  <a:lnTo>
                    <a:pt x="475" y="471"/>
                  </a:lnTo>
                  <a:lnTo>
                    <a:pt x="476" y="471"/>
                  </a:lnTo>
                  <a:lnTo>
                    <a:pt x="480" y="469"/>
                  </a:lnTo>
                  <a:lnTo>
                    <a:pt x="482" y="467"/>
                  </a:lnTo>
                  <a:lnTo>
                    <a:pt x="484" y="465"/>
                  </a:lnTo>
                  <a:lnTo>
                    <a:pt x="486" y="463"/>
                  </a:lnTo>
                  <a:lnTo>
                    <a:pt x="488" y="463"/>
                  </a:lnTo>
                  <a:lnTo>
                    <a:pt x="488" y="461"/>
                  </a:lnTo>
                  <a:lnTo>
                    <a:pt x="490" y="457"/>
                  </a:lnTo>
                  <a:lnTo>
                    <a:pt x="492" y="457"/>
                  </a:lnTo>
                  <a:lnTo>
                    <a:pt x="492" y="456"/>
                  </a:lnTo>
                  <a:lnTo>
                    <a:pt x="490" y="456"/>
                  </a:lnTo>
                  <a:lnTo>
                    <a:pt x="488" y="454"/>
                  </a:lnTo>
                  <a:lnTo>
                    <a:pt x="488" y="456"/>
                  </a:lnTo>
                  <a:lnTo>
                    <a:pt x="486" y="457"/>
                  </a:lnTo>
                  <a:lnTo>
                    <a:pt x="488" y="459"/>
                  </a:lnTo>
                  <a:lnTo>
                    <a:pt x="486" y="461"/>
                  </a:lnTo>
                  <a:lnTo>
                    <a:pt x="484" y="461"/>
                  </a:lnTo>
                  <a:lnTo>
                    <a:pt x="484" y="463"/>
                  </a:lnTo>
                  <a:lnTo>
                    <a:pt x="482" y="463"/>
                  </a:lnTo>
                  <a:lnTo>
                    <a:pt x="484" y="463"/>
                  </a:lnTo>
                  <a:lnTo>
                    <a:pt x="482" y="465"/>
                  </a:lnTo>
                  <a:lnTo>
                    <a:pt x="480" y="467"/>
                  </a:lnTo>
                  <a:lnTo>
                    <a:pt x="478" y="467"/>
                  </a:lnTo>
                  <a:lnTo>
                    <a:pt x="476" y="469"/>
                  </a:lnTo>
                  <a:lnTo>
                    <a:pt x="475" y="469"/>
                  </a:lnTo>
                  <a:lnTo>
                    <a:pt x="471" y="471"/>
                  </a:lnTo>
                  <a:lnTo>
                    <a:pt x="469" y="471"/>
                  </a:lnTo>
                  <a:lnTo>
                    <a:pt x="469" y="473"/>
                  </a:lnTo>
                  <a:lnTo>
                    <a:pt x="467" y="477"/>
                  </a:lnTo>
                  <a:lnTo>
                    <a:pt x="467" y="479"/>
                  </a:lnTo>
                  <a:lnTo>
                    <a:pt x="465" y="481"/>
                  </a:lnTo>
                  <a:lnTo>
                    <a:pt x="463" y="481"/>
                  </a:lnTo>
                  <a:lnTo>
                    <a:pt x="461" y="481"/>
                  </a:lnTo>
                  <a:lnTo>
                    <a:pt x="463" y="481"/>
                  </a:lnTo>
                  <a:lnTo>
                    <a:pt x="463" y="479"/>
                  </a:lnTo>
                  <a:lnTo>
                    <a:pt x="461" y="479"/>
                  </a:lnTo>
                  <a:lnTo>
                    <a:pt x="463" y="479"/>
                  </a:lnTo>
                  <a:lnTo>
                    <a:pt x="463" y="481"/>
                  </a:lnTo>
                  <a:lnTo>
                    <a:pt x="465" y="479"/>
                  </a:lnTo>
                  <a:lnTo>
                    <a:pt x="467" y="477"/>
                  </a:lnTo>
                  <a:lnTo>
                    <a:pt x="467" y="475"/>
                  </a:lnTo>
                  <a:lnTo>
                    <a:pt x="467" y="473"/>
                  </a:lnTo>
                  <a:lnTo>
                    <a:pt x="469" y="471"/>
                  </a:lnTo>
                  <a:lnTo>
                    <a:pt x="469" y="469"/>
                  </a:lnTo>
                  <a:lnTo>
                    <a:pt x="475" y="469"/>
                  </a:lnTo>
                  <a:lnTo>
                    <a:pt x="476" y="467"/>
                  </a:lnTo>
                  <a:lnTo>
                    <a:pt x="478" y="463"/>
                  </a:lnTo>
                  <a:lnTo>
                    <a:pt x="480" y="459"/>
                  </a:lnTo>
                  <a:lnTo>
                    <a:pt x="482" y="456"/>
                  </a:lnTo>
                  <a:lnTo>
                    <a:pt x="482" y="452"/>
                  </a:lnTo>
                  <a:lnTo>
                    <a:pt x="484" y="448"/>
                  </a:lnTo>
                  <a:lnTo>
                    <a:pt x="486" y="446"/>
                  </a:lnTo>
                  <a:lnTo>
                    <a:pt x="488" y="442"/>
                  </a:lnTo>
                  <a:lnTo>
                    <a:pt x="490" y="438"/>
                  </a:lnTo>
                  <a:lnTo>
                    <a:pt x="490" y="436"/>
                  </a:lnTo>
                  <a:lnTo>
                    <a:pt x="492" y="434"/>
                  </a:lnTo>
                  <a:lnTo>
                    <a:pt x="492" y="432"/>
                  </a:lnTo>
                  <a:lnTo>
                    <a:pt x="492" y="434"/>
                  </a:lnTo>
                  <a:lnTo>
                    <a:pt x="492" y="432"/>
                  </a:lnTo>
                  <a:lnTo>
                    <a:pt x="494" y="432"/>
                  </a:lnTo>
                  <a:lnTo>
                    <a:pt x="494" y="431"/>
                  </a:lnTo>
                  <a:lnTo>
                    <a:pt x="498" y="427"/>
                  </a:lnTo>
                  <a:lnTo>
                    <a:pt x="496" y="427"/>
                  </a:lnTo>
                  <a:lnTo>
                    <a:pt x="498" y="427"/>
                  </a:lnTo>
                  <a:lnTo>
                    <a:pt x="498" y="425"/>
                  </a:lnTo>
                  <a:lnTo>
                    <a:pt x="498" y="423"/>
                  </a:lnTo>
                  <a:lnTo>
                    <a:pt x="498" y="425"/>
                  </a:lnTo>
                  <a:lnTo>
                    <a:pt x="499" y="423"/>
                  </a:lnTo>
                  <a:lnTo>
                    <a:pt x="501" y="421"/>
                  </a:lnTo>
                  <a:lnTo>
                    <a:pt x="499" y="421"/>
                  </a:lnTo>
                  <a:lnTo>
                    <a:pt x="501" y="421"/>
                  </a:lnTo>
                  <a:lnTo>
                    <a:pt x="501" y="419"/>
                  </a:lnTo>
                  <a:lnTo>
                    <a:pt x="503" y="419"/>
                  </a:lnTo>
                  <a:lnTo>
                    <a:pt x="503" y="417"/>
                  </a:lnTo>
                  <a:lnTo>
                    <a:pt x="501" y="417"/>
                  </a:lnTo>
                  <a:lnTo>
                    <a:pt x="503" y="417"/>
                  </a:lnTo>
                  <a:lnTo>
                    <a:pt x="503" y="419"/>
                  </a:lnTo>
                  <a:lnTo>
                    <a:pt x="505" y="417"/>
                  </a:lnTo>
                  <a:lnTo>
                    <a:pt x="505" y="415"/>
                  </a:lnTo>
                  <a:lnTo>
                    <a:pt x="505" y="417"/>
                  </a:lnTo>
                  <a:lnTo>
                    <a:pt x="509" y="413"/>
                  </a:lnTo>
                  <a:lnTo>
                    <a:pt x="511" y="411"/>
                  </a:lnTo>
                  <a:lnTo>
                    <a:pt x="513" y="411"/>
                  </a:lnTo>
                  <a:lnTo>
                    <a:pt x="515" y="411"/>
                  </a:lnTo>
                  <a:lnTo>
                    <a:pt x="515" y="409"/>
                  </a:lnTo>
                  <a:lnTo>
                    <a:pt x="517" y="409"/>
                  </a:lnTo>
                  <a:lnTo>
                    <a:pt x="515" y="409"/>
                  </a:lnTo>
                  <a:lnTo>
                    <a:pt x="515" y="408"/>
                  </a:lnTo>
                  <a:lnTo>
                    <a:pt x="517" y="409"/>
                  </a:lnTo>
                  <a:lnTo>
                    <a:pt x="517" y="408"/>
                  </a:lnTo>
                  <a:lnTo>
                    <a:pt x="519" y="406"/>
                  </a:lnTo>
                  <a:lnTo>
                    <a:pt x="521" y="404"/>
                  </a:lnTo>
                  <a:lnTo>
                    <a:pt x="522" y="402"/>
                  </a:lnTo>
                  <a:lnTo>
                    <a:pt x="521" y="402"/>
                  </a:lnTo>
                  <a:lnTo>
                    <a:pt x="522" y="402"/>
                  </a:lnTo>
                  <a:lnTo>
                    <a:pt x="522" y="400"/>
                  </a:lnTo>
                  <a:lnTo>
                    <a:pt x="524" y="400"/>
                  </a:lnTo>
                  <a:lnTo>
                    <a:pt x="526" y="400"/>
                  </a:lnTo>
                  <a:lnTo>
                    <a:pt x="524" y="398"/>
                  </a:lnTo>
                  <a:lnTo>
                    <a:pt x="526" y="400"/>
                  </a:lnTo>
                  <a:lnTo>
                    <a:pt x="528" y="398"/>
                  </a:lnTo>
                  <a:lnTo>
                    <a:pt x="528" y="396"/>
                  </a:lnTo>
                  <a:lnTo>
                    <a:pt x="528" y="398"/>
                  </a:lnTo>
                  <a:lnTo>
                    <a:pt x="530" y="396"/>
                  </a:lnTo>
                  <a:lnTo>
                    <a:pt x="530" y="394"/>
                  </a:lnTo>
                  <a:lnTo>
                    <a:pt x="530" y="396"/>
                  </a:lnTo>
                  <a:lnTo>
                    <a:pt x="530" y="394"/>
                  </a:lnTo>
                  <a:lnTo>
                    <a:pt x="532" y="394"/>
                  </a:lnTo>
                  <a:lnTo>
                    <a:pt x="532" y="392"/>
                  </a:lnTo>
                  <a:lnTo>
                    <a:pt x="534" y="392"/>
                  </a:lnTo>
                  <a:lnTo>
                    <a:pt x="534" y="390"/>
                  </a:lnTo>
                  <a:lnTo>
                    <a:pt x="536" y="392"/>
                  </a:lnTo>
                  <a:lnTo>
                    <a:pt x="538" y="392"/>
                  </a:lnTo>
                  <a:lnTo>
                    <a:pt x="538" y="390"/>
                  </a:lnTo>
                  <a:lnTo>
                    <a:pt x="538" y="392"/>
                  </a:lnTo>
                  <a:lnTo>
                    <a:pt x="540" y="390"/>
                  </a:lnTo>
                  <a:lnTo>
                    <a:pt x="540" y="388"/>
                  </a:lnTo>
                  <a:lnTo>
                    <a:pt x="540" y="390"/>
                  </a:lnTo>
                  <a:lnTo>
                    <a:pt x="542" y="388"/>
                  </a:lnTo>
                  <a:lnTo>
                    <a:pt x="542" y="386"/>
                  </a:lnTo>
                  <a:lnTo>
                    <a:pt x="542" y="388"/>
                  </a:lnTo>
                  <a:lnTo>
                    <a:pt x="544" y="386"/>
                  </a:lnTo>
                  <a:lnTo>
                    <a:pt x="547" y="384"/>
                  </a:lnTo>
                  <a:lnTo>
                    <a:pt x="546" y="384"/>
                  </a:lnTo>
                  <a:lnTo>
                    <a:pt x="547" y="384"/>
                  </a:lnTo>
                  <a:lnTo>
                    <a:pt x="549" y="384"/>
                  </a:lnTo>
                  <a:lnTo>
                    <a:pt x="547" y="383"/>
                  </a:lnTo>
                  <a:lnTo>
                    <a:pt x="549" y="384"/>
                  </a:lnTo>
                  <a:lnTo>
                    <a:pt x="549" y="383"/>
                  </a:lnTo>
                  <a:lnTo>
                    <a:pt x="549" y="384"/>
                  </a:lnTo>
                  <a:lnTo>
                    <a:pt x="549" y="383"/>
                  </a:lnTo>
                  <a:lnTo>
                    <a:pt x="551" y="383"/>
                  </a:lnTo>
                  <a:lnTo>
                    <a:pt x="549" y="383"/>
                  </a:lnTo>
                  <a:lnTo>
                    <a:pt x="549" y="381"/>
                  </a:lnTo>
                  <a:lnTo>
                    <a:pt x="549" y="383"/>
                  </a:lnTo>
                  <a:lnTo>
                    <a:pt x="551" y="383"/>
                  </a:lnTo>
                  <a:lnTo>
                    <a:pt x="553" y="383"/>
                  </a:lnTo>
                  <a:lnTo>
                    <a:pt x="553" y="381"/>
                  </a:lnTo>
                  <a:lnTo>
                    <a:pt x="553" y="383"/>
                  </a:lnTo>
                  <a:lnTo>
                    <a:pt x="555" y="381"/>
                  </a:lnTo>
                  <a:lnTo>
                    <a:pt x="553" y="381"/>
                  </a:lnTo>
                  <a:lnTo>
                    <a:pt x="553" y="379"/>
                  </a:lnTo>
                  <a:lnTo>
                    <a:pt x="553" y="381"/>
                  </a:lnTo>
                  <a:lnTo>
                    <a:pt x="555" y="381"/>
                  </a:lnTo>
                  <a:lnTo>
                    <a:pt x="555" y="379"/>
                  </a:lnTo>
                  <a:lnTo>
                    <a:pt x="555" y="381"/>
                  </a:lnTo>
                  <a:lnTo>
                    <a:pt x="557" y="381"/>
                  </a:lnTo>
                  <a:lnTo>
                    <a:pt x="557" y="379"/>
                  </a:lnTo>
                  <a:lnTo>
                    <a:pt x="557" y="381"/>
                  </a:lnTo>
                  <a:lnTo>
                    <a:pt x="559" y="379"/>
                  </a:lnTo>
                  <a:lnTo>
                    <a:pt x="561" y="379"/>
                  </a:lnTo>
                  <a:lnTo>
                    <a:pt x="559" y="377"/>
                  </a:lnTo>
                  <a:lnTo>
                    <a:pt x="561" y="379"/>
                  </a:lnTo>
                  <a:lnTo>
                    <a:pt x="561" y="377"/>
                  </a:lnTo>
                  <a:lnTo>
                    <a:pt x="563" y="377"/>
                  </a:lnTo>
                  <a:lnTo>
                    <a:pt x="565" y="375"/>
                  </a:lnTo>
                  <a:lnTo>
                    <a:pt x="563" y="375"/>
                  </a:lnTo>
                  <a:lnTo>
                    <a:pt x="563" y="373"/>
                  </a:lnTo>
                  <a:lnTo>
                    <a:pt x="565" y="373"/>
                  </a:lnTo>
                  <a:lnTo>
                    <a:pt x="563" y="373"/>
                  </a:lnTo>
                  <a:lnTo>
                    <a:pt x="563" y="375"/>
                  </a:lnTo>
                  <a:lnTo>
                    <a:pt x="565" y="375"/>
                  </a:lnTo>
                  <a:lnTo>
                    <a:pt x="569" y="375"/>
                  </a:lnTo>
                  <a:lnTo>
                    <a:pt x="567" y="373"/>
                  </a:lnTo>
                  <a:lnTo>
                    <a:pt x="567" y="371"/>
                  </a:lnTo>
                  <a:lnTo>
                    <a:pt x="569" y="371"/>
                  </a:lnTo>
                  <a:lnTo>
                    <a:pt x="567" y="371"/>
                  </a:lnTo>
                  <a:lnTo>
                    <a:pt x="567" y="373"/>
                  </a:lnTo>
                  <a:lnTo>
                    <a:pt x="569" y="375"/>
                  </a:lnTo>
                  <a:lnTo>
                    <a:pt x="569" y="373"/>
                  </a:lnTo>
                  <a:lnTo>
                    <a:pt x="570" y="371"/>
                  </a:lnTo>
                  <a:lnTo>
                    <a:pt x="570" y="369"/>
                  </a:lnTo>
                  <a:lnTo>
                    <a:pt x="570" y="371"/>
                  </a:lnTo>
                  <a:lnTo>
                    <a:pt x="574" y="369"/>
                  </a:lnTo>
                  <a:lnTo>
                    <a:pt x="574" y="365"/>
                  </a:lnTo>
                  <a:lnTo>
                    <a:pt x="574" y="369"/>
                  </a:lnTo>
                  <a:lnTo>
                    <a:pt x="576" y="365"/>
                  </a:lnTo>
                  <a:lnTo>
                    <a:pt x="578" y="365"/>
                  </a:lnTo>
                  <a:lnTo>
                    <a:pt x="578" y="363"/>
                  </a:lnTo>
                  <a:lnTo>
                    <a:pt x="580" y="363"/>
                  </a:lnTo>
                  <a:lnTo>
                    <a:pt x="580" y="361"/>
                  </a:lnTo>
                  <a:lnTo>
                    <a:pt x="580" y="359"/>
                  </a:lnTo>
                  <a:lnTo>
                    <a:pt x="582" y="359"/>
                  </a:lnTo>
                  <a:lnTo>
                    <a:pt x="586" y="354"/>
                  </a:lnTo>
                  <a:lnTo>
                    <a:pt x="588" y="354"/>
                  </a:lnTo>
                  <a:lnTo>
                    <a:pt x="588" y="352"/>
                  </a:lnTo>
                  <a:lnTo>
                    <a:pt x="590" y="352"/>
                  </a:lnTo>
                  <a:lnTo>
                    <a:pt x="592" y="350"/>
                  </a:lnTo>
                  <a:lnTo>
                    <a:pt x="593" y="350"/>
                  </a:lnTo>
                  <a:lnTo>
                    <a:pt x="595" y="350"/>
                  </a:lnTo>
                  <a:lnTo>
                    <a:pt x="595" y="348"/>
                  </a:lnTo>
                  <a:lnTo>
                    <a:pt x="595" y="346"/>
                  </a:lnTo>
                  <a:lnTo>
                    <a:pt x="597" y="346"/>
                  </a:lnTo>
                  <a:lnTo>
                    <a:pt x="597" y="344"/>
                  </a:lnTo>
                  <a:lnTo>
                    <a:pt x="601" y="336"/>
                  </a:lnTo>
                  <a:lnTo>
                    <a:pt x="595" y="333"/>
                  </a:lnTo>
                  <a:lnTo>
                    <a:pt x="601" y="336"/>
                  </a:lnTo>
                  <a:lnTo>
                    <a:pt x="601" y="335"/>
                  </a:lnTo>
                  <a:lnTo>
                    <a:pt x="618" y="319"/>
                  </a:lnTo>
                  <a:lnTo>
                    <a:pt x="624" y="315"/>
                  </a:lnTo>
                  <a:lnTo>
                    <a:pt x="626" y="313"/>
                  </a:lnTo>
                  <a:lnTo>
                    <a:pt x="628" y="313"/>
                  </a:lnTo>
                  <a:lnTo>
                    <a:pt x="630" y="311"/>
                  </a:lnTo>
                  <a:lnTo>
                    <a:pt x="632" y="311"/>
                  </a:lnTo>
                  <a:lnTo>
                    <a:pt x="634" y="310"/>
                  </a:lnTo>
                  <a:lnTo>
                    <a:pt x="636" y="310"/>
                  </a:lnTo>
                  <a:lnTo>
                    <a:pt x="643" y="306"/>
                  </a:lnTo>
                  <a:lnTo>
                    <a:pt x="649" y="304"/>
                  </a:lnTo>
                  <a:lnTo>
                    <a:pt x="651" y="304"/>
                  </a:lnTo>
                  <a:lnTo>
                    <a:pt x="653" y="304"/>
                  </a:lnTo>
                  <a:lnTo>
                    <a:pt x="653" y="302"/>
                  </a:lnTo>
                  <a:lnTo>
                    <a:pt x="655" y="302"/>
                  </a:lnTo>
                  <a:lnTo>
                    <a:pt x="657" y="302"/>
                  </a:lnTo>
                  <a:lnTo>
                    <a:pt x="657" y="304"/>
                  </a:lnTo>
                  <a:lnTo>
                    <a:pt x="657" y="302"/>
                  </a:lnTo>
                  <a:lnTo>
                    <a:pt x="659" y="302"/>
                  </a:lnTo>
                  <a:lnTo>
                    <a:pt x="661" y="302"/>
                  </a:lnTo>
                  <a:lnTo>
                    <a:pt x="661" y="300"/>
                  </a:lnTo>
                  <a:lnTo>
                    <a:pt x="663" y="300"/>
                  </a:lnTo>
                  <a:lnTo>
                    <a:pt x="665" y="298"/>
                  </a:lnTo>
                  <a:lnTo>
                    <a:pt x="666" y="298"/>
                  </a:lnTo>
                  <a:lnTo>
                    <a:pt x="668" y="296"/>
                  </a:lnTo>
                  <a:lnTo>
                    <a:pt x="674" y="292"/>
                  </a:lnTo>
                  <a:lnTo>
                    <a:pt x="678" y="292"/>
                  </a:lnTo>
                  <a:lnTo>
                    <a:pt x="680" y="290"/>
                  </a:lnTo>
                  <a:lnTo>
                    <a:pt x="682" y="290"/>
                  </a:lnTo>
                  <a:lnTo>
                    <a:pt x="686" y="290"/>
                  </a:lnTo>
                  <a:lnTo>
                    <a:pt x="691" y="288"/>
                  </a:lnTo>
                  <a:lnTo>
                    <a:pt x="699" y="286"/>
                  </a:lnTo>
                  <a:lnTo>
                    <a:pt x="703" y="286"/>
                  </a:lnTo>
                  <a:lnTo>
                    <a:pt x="705" y="286"/>
                  </a:lnTo>
                  <a:lnTo>
                    <a:pt x="707" y="285"/>
                  </a:lnTo>
                  <a:lnTo>
                    <a:pt x="711" y="285"/>
                  </a:lnTo>
                  <a:lnTo>
                    <a:pt x="712" y="283"/>
                  </a:lnTo>
                  <a:lnTo>
                    <a:pt x="716" y="283"/>
                  </a:lnTo>
                  <a:lnTo>
                    <a:pt x="720" y="281"/>
                  </a:lnTo>
                  <a:lnTo>
                    <a:pt x="724" y="279"/>
                  </a:lnTo>
                  <a:lnTo>
                    <a:pt x="728" y="277"/>
                  </a:lnTo>
                  <a:lnTo>
                    <a:pt x="732" y="275"/>
                  </a:lnTo>
                  <a:lnTo>
                    <a:pt x="737" y="273"/>
                  </a:lnTo>
                  <a:lnTo>
                    <a:pt x="739" y="273"/>
                  </a:lnTo>
                  <a:lnTo>
                    <a:pt x="741" y="269"/>
                  </a:lnTo>
                  <a:lnTo>
                    <a:pt x="743" y="269"/>
                  </a:lnTo>
                  <a:lnTo>
                    <a:pt x="745" y="267"/>
                  </a:lnTo>
                  <a:lnTo>
                    <a:pt x="749" y="267"/>
                  </a:lnTo>
                  <a:lnTo>
                    <a:pt x="755" y="263"/>
                  </a:lnTo>
                  <a:lnTo>
                    <a:pt x="760" y="262"/>
                  </a:lnTo>
                  <a:lnTo>
                    <a:pt x="764" y="258"/>
                  </a:lnTo>
                  <a:lnTo>
                    <a:pt x="768" y="258"/>
                  </a:lnTo>
                  <a:lnTo>
                    <a:pt x="770" y="256"/>
                  </a:lnTo>
                  <a:lnTo>
                    <a:pt x="772" y="254"/>
                  </a:lnTo>
                  <a:lnTo>
                    <a:pt x="772" y="256"/>
                  </a:lnTo>
                  <a:lnTo>
                    <a:pt x="772" y="254"/>
                  </a:lnTo>
                  <a:lnTo>
                    <a:pt x="776" y="254"/>
                  </a:lnTo>
                  <a:lnTo>
                    <a:pt x="778" y="256"/>
                  </a:lnTo>
                  <a:lnTo>
                    <a:pt x="776" y="254"/>
                  </a:lnTo>
                  <a:lnTo>
                    <a:pt x="778" y="252"/>
                  </a:lnTo>
                  <a:lnTo>
                    <a:pt x="780" y="252"/>
                  </a:lnTo>
                  <a:lnTo>
                    <a:pt x="780" y="250"/>
                  </a:lnTo>
                  <a:lnTo>
                    <a:pt x="782" y="250"/>
                  </a:lnTo>
                  <a:lnTo>
                    <a:pt x="784" y="248"/>
                  </a:lnTo>
                  <a:lnTo>
                    <a:pt x="784" y="250"/>
                  </a:lnTo>
                  <a:lnTo>
                    <a:pt x="785" y="248"/>
                  </a:lnTo>
                  <a:lnTo>
                    <a:pt x="787" y="248"/>
                  </a:lnTo>
                  <a:lnTo>
                    <a:pt x="793" y="246"/>
                  </a:lnTo>
                  <a:lnTo>
                    <a:pt x="801" y="244"/>
                  </a:lnTo>
                  <a:lnTo>
                    <a:pt x="805" y="242"/>
                  </a:lnTo>
                  <a:lnTo>
                    <a:pt x="807" y="242"/>
                  </a:lnTo>
                  <a:lnTo>
                    <a:pt x="812" y="238"/>
                  </a:lnTo>
                  <a:lnTo>
                    <a:pt x="812" y="240"/>
                  </a:lnTo>
                  <a:lnTo>
                    <a:pt x="812" y="238"/>
                  </a:lnTo>
                  <a:lnTo>
                    <a:pt x="814" y="238"/>
                  </a:lnTo>
                  <a:lnTo>
                    <a:pt x="814" y="240"/>
                  </a:lnTo>
                  <a:lnTo>
                    <a:pt x="814" y="238"/>
                  </a:lnTo>
                  <a:lnTo>
                    <a:pt x="816" y="238"/>
                  </a:lnTo>
                  <a:lnTo>
                    <a:pt x="816" y="237"/>
                  </a:lnTo>
                  <a:lnTo>
                    <a:pt x="818" y="237"/>
                  </a:lnTo>
                  <a:lnTo>
                    <a:pt x="820" y="237"/>
                  </a:lnTo>
                  <a:lnTo>
                    <a:pt x="822" y="235"/>
                  </a:lnTo>
                  <a:lnTo>
                    <a:pt x="824" y="235"/>
                  </a:lnTo>
                  <a:lnTo>
                    <a:pt x="826" y="233"/>
                  </a:lnTo>
                  <a:lnTo>
                    <a:pt x="828" y="233"/>
                  </a:lnTo>
                  <a:lnTo>
                    <a:pt x="830" y="231"/>
                  </a:lnTo>
                  <a:lnTo>
                    <a:pt x="830" y="233"/>
                  </a:lnTo>
                  <a:lnTo>
                    <a:pt x="833" y="237"/>
                  </a:lnTo>
                  <a:lnTo>
                    <a:pt x="830" y="233"/>
                  </a:lnTo>
                  <a:lnTo>
                    <a:pt x="830" y="229"/>
                  </a:lnTo>
                  <a:lnTo>
                    <a:pt x="831" y="229"/>
                  </a:lnTo>
                  <a:lnTo>
                    <a:pt x="833" y="229"/>
                  </a:lnTo>
                  <a:lnTo>
                    <a:pt x="833" y="227"/>
                  </a:lnTo>
                  <a:lnTo>
                    <a:pt x="835" y="227"/>
                  </a:lnTo>
                  <a:lnTo>
                    <a:pt x="837" y="227"/>
                  </a:lnTo>
                  <a:lnTo>
                    <a:pt x="837" y="225"/>
                  </a:lnTo>
                  <a:lnTo>
                    <a:pt x="839" y="227"/>
                  </a:lnTo>
                  <a:lnTo>
                    <a:pt x="845" y="225"/>
                  </a:lnTo>
                  <a:lnTo>
                    <a:pt x="847" y="223"/>
                  </a:lnTo>
                  <a:lnTo>
                    <a:pt x="849" y="221"/>
                  </a:lnTo>
                  <a:lnTo>
                    <a:pt x="851" y="221"/>
                  </a:lnTo>
                  <a:lnTo>
                    <a:pt x="853" y="219"/>
                  </a:lnTo>
                  <a:lnTo>
                    <a:pt x="856" y="219"/>
                  </a:lnTo>
                  <a:lnTo>
                    <a:pt x="862" y="217"/>
                  </a:lnTo>
                  <a:lnTo>
                    <a:pt x="864" y="217"/>
                  </a:lnTo>
                  <a:lnTo>
                    <a:pt x="866" y="215"/>
                  </a:lnTo>
                  <a:lnTo>
                    <a:pt x="868" y="217"/>
                  </a:lnTo>
                  <a:lnTo>
                    <a:pt x="868" y="215"/>
                  </a:lnTo>
                  <a:lnTo>
                    <a:pt x="870" y="215"/>
                  </a:lnTo>
                  <a:lnTo>
                    <a:pt x="870" y="214"/>
                  </a:lnTo>
                  <a:lnTo>
                    <a:pt x="872" y="214"/>
                  </a:lnTo>
                  <a:lnTo>
                    <a:pt x="874" y="214"/>
                  </a:lnTo>
                  <a:lnTo>
                    <a:pt x="874" y="212"/>
                  </a:lnTo>
                  <a:lnTo>
                    <a:pt x="876" y="212"/>
                  </a:lnTo>
                  <a:lnTo>
                    <a:pt x="878" y="212"/>
                  </a:lnTo>
                  <a:lnTo>
                    <a:pt x="878" y="210"/>
                  </a:lnTo>
                  <a:lnTo>
                    <a:pt x="878" y="212"/>
                  </a:lnTo>
                  <a:lnTo>
                    <a:pt x="879" y="212"/>
                  </a:lnTo>
                  <a:lnTo>
                    <a:pt x="881" y="212"/>
                  </a:lnTo>
                  <a:lnTo>
                    <a:pt x="879" y="210"/>
                  </a:lnTo>
                  <a:lnTo>
                    <a:pt x="879" y="208"/>
                  </a:lnTo>
                  <a:lnTo>
                    <a:pt x="879" y="210"/>
                  </a:lnTo>
                  <a:lnTo>
                    <a:pt x="881" y="208"/>
                  </a:lnTo>
                  <a:lnTo>
                    <a:pt x="881" y="210"/>
                  </a:lnTo>
                  <a:lnTo>
                    <a:pt x="879" y="210"/>
                  </a:lnTo>
                  <a:lnTo>
                    <a:pt x="881" y="210"/>
                  </a:lnTo>
                  <a:lnTo>
                    <a:pt x="881" y="208"/>
                  </a:lnTo>
                  <a:lnTo>
                    <a:pt x="879" y="204"/>
                  </a:lnTo>
                  <a:lnTo>
                    <a:pt x="876" y="198"/>
                  </a:lnTo>
                  <a:lnTo>
                    <a:pt x="876" y="196"/>
                  </a:lnTo>
                  <a:lnTo>
                    <a:pt x="878" y="196"/>
                  </a:lnTo>
                  <a:lnTo>
                    <a:pt x="879" y="200"/>
                  </a:lnTo>
                  <a:lnTo>
                    <a:pt x="879" y="202"/>
                  </a:lnTo>
                  <a:lnTo>
                    <a:pt x="881" y="208"/>
                  </a:lnTo>
                  <a:lnTo>
                    <a:pt x="881" y="206"/>
                  </a:lnTo>
                  <a:lnTo>
                    <a:pt x="883" y="206"/>
                  </a:lnTo>
                  <a:lnTo>
                    <a:pt x="885" y="206"/>
                  </a:lnTo>
                  <a:lnTo>
                    <a:pt x="885" y="208"/>
                  </a:lnTo>
                  <a:lnTo>
                    <a:pt x="887" y="208"/>
                  </a:lnTo>
                  <a:lnTo>
                    <a:pt x="887" y="210"/>
                  </a:lnTo>
                  <a:lnTo>
                    <a:pt x="889" y="210"/>
                  </a:lnTo>
                  <a:lnTo>
                    <a:pt x="889" y="208"/>
                  </a:lnTo>
                  <a:lnTo>
                    <a:pt x="891" y="208"/>
                  </a:lnTo>
                  <a:lnTo>
                    <a:pt x="893" y="208"/>
                  </a:lnTo>
                  <a:lnTo>
                    <a:pt x="895" y="208"/>
                  </a:lnTo>
                  <a:lnTo>
                    <a:pt x="897" y="208"/>
                  </a:lnTo>
                  <a:lnTo>
                    <a:pt x="899" y="208"/>
                  </a:lnTo>
                  <a:lnTo>
                    <a:pt x="901" y="208"/>
                  </a:lnTo>
                  <a:lnTo>
                    <a:pt x="903" y="208"/>
                  </a:lnTo>
                  <a:lnTo>
                    <a:pt x="904" y="208"/>
                  </a:lnTo>
                  <a:lnTo>
                    <a:pt x="906" y="208"/>
                  </a:lnTo>
                  <a:lnTo>
                    <a:pt x="908" y="208"/>
                  </a:lnTo>
                  <a:lnTo>
                    <a:pt x="910" y="208"/>
                  </a:lnTo>
                  <a:lnTo>
                    <a:pt x="912" y="208"/>
                  </a:lnTo>
                  <a:lnTo>
                    <a:pt x="914" y="208"/>
                  </a:lnTo>
                  <a:lnTo>
                    <a:pt x="916" y="208"/>
                  </a:lnTo>
                  <a:lnTo>
                    <a:pt x="916" y="210"/>
                  </a:lnTo>
                  <a:lnTo>
                    <a:pt x="918" y="208"/>
                  </a:lnTo>
                  <a:lnTo>
                    <a:pt x="918" y="210"/>
                  </a:lnTo>
                  <a:lnTo>
                    <a:pt x="918" y="208"/>
                  </a:lnTo>
                  <a:lnTo>
                    <a:pt x="920" y="210"/>
                  </a:lnTo>
                  <a:lnTo>
                    <a:pt x="926" y="208"/>
                  </a:lnTo>
                  <a:lnTo>
                    <a:pt x="927" y="208"/>
                  </a:lnTo>
                  <a:lnTo>
                    <a:pt x="929" y="206"/>
                  </a:lnTo>
                  <a:lnTo>
                    <a:pt x="931" y="206"/>
                  </a:lnTo>
                  <a:lnTo>
                    <a:pt x="933" y="206"/>
                  </a:lnTo>
                  <a:lnTo>
                    <a:pt x="943" y="202"/>
                  </a:lnTo>
                  <a:lnTo>
                    <a:pt x="945" y="202"/>
                  </a:lnTo>
                  <a:lnTo>
                    <a:pt x="950" y="202"/>
                  </a:lnTo>
                  <a:lnTo>
                    <a:pt x="952" y="200"/>
                  </a:lnTo>
                  <a:lnTo>
                    <a:pt x="952" y="196"/>
                  </a:lnTo>
                  <a:lnTo>
                    <a:pt x="956" y="194"/>
                  </a:lnTo>
                  <a:lnTo>
                    <a:pt x="956" y="192"/>
                  </a:lnTo>
                  <a:lnTo>
                    <a:pt x="956" y="194"/>
                  </a:lnTo>
                  <a:lnTo>
                    <a:pt x="956" y="192"/>
                  </a:lnTo>
                  <a:lnTo>
                    <a:pt x="956" y="194"/>
                  </a:lnTo>
                  <a:lnTo>
                    <a:pt x="952" y="196"/>
                  </a:lnTo>
                  <a:lnTo>
                    <a:pt x="954" y="198"/>
                  </a:lnTo>
                  <a:lnTo>
                    <a:pt x="952" y="198"/>
                  </a:lnTo>
                  <a:lnTo>
                    <a:pt x="954" y="198"/>
                  </a:lnTo>
                  <a:lnTo>
                    <a:pt x="956" y="200"/>
                  </a:lnTo>
                  <a:lnTo>
                    <a:pt x="954" y="200"/>
                  </a:lnTo>
                  <a:lnTo>
                    <a:pt x="958" y="200"/>
                  </a:lnTo>
                  <a:lnTo>
                    <a:pt x="960" y="200"/>
                  </a:lnTo>
                  <a:lnTo>
                    <a:pt x="966" y="198"/>
                  </a:lnTo>
                  <a:lnTo>
                    <a:pt x="968" y="198"/>
                  </a:lnTo>
                  <a:lnTo>
                    <a:pt x="970" y="198"/>
                  </a:lnTo>
                  <a:lnTo>
                    <a:pt x="972" y="198"/>
                  </a:lnTo>
                  <a:lnTo>
                    <a:pt x="974" y="196"/>
                  </a:lnTo>
                  <a:lnTo>
                    <a:pt x="975" y="196"/>
                  </a:lnTo>
                  <a:lnTo>
                    <a:pt x="977" y="196"/>
                  </a:lnTo>
                  <a:lnTo>
                    <a:pt x="979" y="196"/>
                  </a:lnTo>
                  <a:lnTo>
                    <a:pt x="983" y="194"/>
                  </a:lnTo>
                  <a:lnTo>
                    <a:pt x="985" y="194"/>
                  </a:lnTo>
                  <a:lnTo>
                    <a:pt x="987" y="194"/>
                  </a:lnTo>
                  <a:lnTo>
                    <a:pt x="989" y="192"/>
                  </a:lnTo>
                  <a:lnTo>
                    <a:pt x="991" y="192"/>
                  </a:lnTo>
                  <a:lnTo>
                    <a:pt x="993" y="192"/>
                  </a:lnTo>
                  <a:lnTo>
                    <a:pt x="995" y="192"/>
                  </a:lnTo>
                  <a:lnTo>
                    <a:pt x="997" y="192"/>
                  </a:lnTo>
                  <a:lnTo>
                    <a:pt x="998" y="192"/>
                  </a:lnTo>
                  <a:lnTo>
                    <a:pt x="1000" y="192"/>
                  </a:lnTo>
                  <a:lnTo>
                    <a:pt x="1002" y="192"/>
                  </a:lnTo>
                  <a:lnTo>
                    <a:pt x="1004" y="192"/>
                  </a:lnTo>
                  <a:lnTo>
                    <a:pt x="1006" y="192"/>
                  </a:lnTo>
                  <a:lnTo>
                    <a:pt x="1008" y="192"/>
                  </a:lnTo>
                  <a:lnTo>
                    <a:pt x="1010" y="192"/>
                  </a:lnTo>
                  <a:lnTo>
                    <a:pt x="1018" y="190"/>
                  </a:lnTo>
                  <a:lnTo>
                    <a:pt x="1027" y="189"/>
                  </a:lnTo>
                  <a:lnTo>
                    <a:pt x="1033" y="189"/>
                  </a:lnTo>
                  <a:lnTo>
                    <a:pt x="1035" y="189"/>
                  </a:lnTo>
                  <a:lnTo>
                    <a:pt x="1039" y="190"/>
                  </a:lnTo>
                  <a:lnTo>
                    <a:pt x="1041" y="190"/>
                  </a:lnTo>
                  <a:lnTo>
                    <a:pt x="1041" y="192"/>
                  </a:lnTo>
                  <a:lnTo>
                    <a:pt x="1045" y="190"/>
                  </a:lnTo>
                  <a:lnTo>
                    <a:pt x="1048" y="194"/>
                  </a:lnTo>
                  <a:lnTo>
                    <a:pt x="1054" y="187"/>
                  </a:lnTo>
                  <a:lnTo>
                    <a:pt x="1054" y="185"/>
                  </a:lnTo>
                  <a:lnTo>
                    <a:pt x="1054" y="187"/>
                  </a:lnTo>
                  <a:lnTo>
                    <a:pt x="1056" y="185"/>
                  </a:lnTo>
                  <a:lnTo>
                    <a:pt x="1058" y="183"/>
                  </a:lnTo>
                  <a:lnTo>
                    <a:pt x="1060" y="181"/>
                  </a:lnTo>
                  <a:lnTo>
                    <a:pt x="1062" y="179"/>
                  </a:lnTo>
                  <a:lnTo>
                    <a:pt x="1062" y="181"/>
                  </a:lnTo>
                  <a:lnTo>
                    <a:pt x="1058" y="183"/>
                  </a:lnTo>
                  <a:lnTo>
                    <a:pt x="1054" y="187"/>
                  </a:lnTo>
                  <a:lnTo>
                    <a:pt x="1056" y="187"/>
                  </a:lnTo>
                  <a:lnTo>
                    <a:pt x="1054" y="187"/>
                  </a:lnTo>
                  <a:lnTo>
                    <a:pt x="1052" y="189"/>
                  </a:lnTo>
                  <a:lnTo>
                    <a:pt x="1054" y="189"/>
                  </a:lnTo>
                  <a:lnTo>
                    <a:pt x="1054" y="190"/>
                  </a:lnTo>
                  <a:lnTo>
                    <a:pt x="1052" y="190"/>
                  </a:lnTo>
                  <a:lnTo>
                    <a:pt x="1050" y="190"/>
                  </a:lnTo>
                  <a:lnTo>
                    <a:pt x="1050" y="192"/>
                  </a:lnTo>
                  <a:lnTo>
                    <a:pt x="1054" y="189"/>
                  </a:lnTo>
                  <a:lnTo>
                    <a:pt x="1056" y="189"/>
                  </a:lnTo>
                  <a:lnTo>
                    <a:pt x="1062" y="190"/>
                  </a:lnTo>
                  <a:lnTo>
                    <a:pt x="1058" y="189"/>
                  </a:lnTo>
                  <a:lnTo>
                    <a:pt x="1058" y="190"/>
                  </a:lnTo>
                  <a:lnTo>
                    <a:pt x="1056" y="190"/>
                  </a:lnTo>
                  <a:lnTo>
                    <a:pt x="1058" y="190"/>
                  </a:lnTo>
                  <a:lnTo>
                    <a:pt x="1060" y="190"/>
                  </a:lnTo>
                  <a:lnTo>
                    <a:pt x="1062" y="190"/>
                  </a:lnTo>
                  <a:lnTo>
                    <a:pt x="1064" y="190"/>
                  </a:lnTo>
                  <a:lnTo>
                    <a:pt x="1066" y="190"/>
                  </a:lnTo>
                  <a:lnTo>
                    <a:pt x="1068" y="192"/>
                  </a:lnTo>
                  <a:lnTo>
                    <a:pt x="1068" y="190"/>
                  </a:lnTo>
                  <a:lnTo>
                    <a:pt x="1069" y="192"/>
                  </a:lnTo>
                  <a:lnTo>
                    <a:pt x="1071" y="192"/>
                  </a:lnTo>
                  <a:lnTo>
                    <a:pt x="1073" y="192"/>
                  </a:lnTo>
                  <a:lnTo>
                    <a:pt x="1073" y="194"/>
                  </a:lnTo>
                  <a:lnTo>
                    <a:pt x="1075" y="194"/>
                  </a:lnTo>
                  <a:lnTo>
                    <a:pt x="1077" y="194"/>
                  </a:lnTo>
                  <a:lnTo>
                    <a:pt x="1079" y="194"/>
                  </a:lnTo>
                  <a:lnTo>
                    <a:pt x="1081" y="194"/>
                  </a:lnTo>
                  <a:lnTo>
                    <a:pt x="1087" y="194"/>
                  </a:lnTo>
                  <a:lnTo>
                    <a:pt x="1089" y="196"/>
                  </a:lnTo>
                  <a:lnTo>
                    <a:pt x="1093" y="196"/>
                  </a:lnTo>
                  <a:lnTo>
                    <a:pt x="1093" y="198"/>
                  </a:lnTo>
                  <a:lnTo>
                    <a:pt x="1093" y="196"/>
                  </a:lnTo>
                  <a:lnTo>
                    <a:pt x="1123" y="185"/>
                  </a:lnTo>
                  <a:lnTo>
                    <a:pt x="1125" y="183"/>
                  </a:lnTo>
                  <a:lnTo>
                    <a:pt x="1127" y="183"/>
                  </a:lnTo>
                  <a:lnTo>
                    <a:pt x="1129" y="183"/>
                  </a:lnTo>
                  <a:lnTo>
                    <a:pt x="1131" y="183"/>
                  </a:lnTo>
                  <a:lnTo>
                    <a:pt x="1131" y="185"/>
                  </a:lnTo>
                  <a:lnTo>
                    <a:pt x="1135" y="187"/>
                  </a:lnTo>
                  <a:lnTo>
                    <a:pt x="1137" y="189"/>
                  </a:lnTo>
                  <a:lnTo>
                    <a:pt x="1139" y="189"/>
                  </a:lnTo>
                  <a:lnTo>
                    <a:pt x="1139" y="190"/>
                  </a:lnTo>
                  <a:lnTo>
                    <a:pt x="1140" y="189"/>
                  </a:lnTo>
                  <a:lnTo>
                    <a:pt x="1142" y="189"/>
                  </a:lnTo>
                  <a:lnTo>
                    <a:pt x="1144" y="189"/>
                  </a:lnTo>
                  <a:lnTo>
                    <a:pt x="1142" y="189"/>
                  </a:lnTo>
                  <a:lnTo>
                    <a:pt x="1142" y="190"/>
                  </a:lnTo>
                  <a:lnTo>
                    <a:pt x="1142" y="192"/>
                  </a:lnTo>
                  <a:lnTo>
                    <a:pt x="1140" y="194"/>
                  </a:lnTo>
                  <a:lnTo>
                    <a:pt x="1140" y="192"/>
                  </a:lnTo>
                  <a:lnTo>
                    <a:pt x="1140" y="194"/>
                  </a:lnTo>
                  <a:lnTo>
                    <a:pt x="1139" y="194"/>
                  </a:lnTo>
                  <a:lnTo>
                    <a:pt x="1140" y="194"/>
                  </a:lnTo>
                  <a:lnTo>
                    <a:pt x="1139" y="194"/>
                  </a:lnTo>
                  <a:lnTo>
                    <a:pt x="1139" y="192"/>
                  </a:lnTo>
                  <a:lnTo>
                    <a:pt x="1139" y="190"/>
                  </a:lnTo>
                  <a:lnTo>
                    <a:pt x="1137" y="190"/>
                  </a:lnTo>
                  <a:lnTo>
                    <a:pt x="1139" y="190"/>
                  </a:lnTo>
                  <a:lnTo>
                    <a:pt x="1137" y="190"/>
                  </a:lnTo>
                  <a:lnTo>
                    <a:pt x="1137" y="189"/>
                  </a:lnTo>
                  <a:lnTo>
                    <a:pt x="1135" y="189"/>
                  </a:lnTo>
                  <a:lnTo>
                    <a:pt x="1133" y="190"/>
                  </a:lnTo>
                  <a:lnTo>
                    <a:pt x="1135" y="189"/>
                  </a:lnTo>
                  <a:lnTo>
                    <a:pt x="1133" y="187"/>
                  </a:lnTo>
                  <a:lnTo>
                    <a:pt x="1131" y="185"/>
                  </a:lnTo>
                  <a:lnTo>
                    <a:pt x="1129" y="185"/>
                  </a:lnTo>
                  <a:lnTo>
                    <a:pt x="1127" y="185"/>
                  </a:lnTo>
                  <a:lnTo>
                    <a:pt x="1125" y="185"/>
                  </a:lnTo>
                  <a:lnTo>
                    <a:pt x="1110" y="190"/>
                  </a:lnTo>
                  <a:lnTo>
                    <a:pt x="1110" y="192"/>
                  </a:lnTo>
                  <a:lnTo>
                    <a:pt x="1108" y="192"/>
                  </a:lnTo>
                  <a:lnTo>
                    <a:pt x="1110" y="192"/>
                  </a:lnTo>
                  <a:lnTo>
                    <a:pt x="1112" y="192"/>
                  </a:lnTo>
                  <a:lnTo>
                    <a:pt x="1112" y="190"/>
                  </a:lnTo>
                  <a:lnTo>
                    <a:pt x="1112" y="192"/>
                  </a:lnTo>
                  <a:lnTo>
                    <a:pt x="1112" y="190"/>
                  </a:lnTo>
                  <a:lnTo>
                    <a:pt x="1114" y="190"/>
                  </a:lnTo>
                  <a:lnTo>
                    <a:pt x="1112" y="190"/>
                  </a:lnTo>
                  <a:lnTo>
                    <a:pt x="1112" y="192"/>
                  </a:lnTo>
                  <a:lnTo>
                    <a:pt x="1110" y="192"/>
                  </a:lnTo>
                  <a:lnTo>
                    <a:pt x="1112" y="192"/>
                  </a:lnTo>
                  <a:lnTo>
                    <a:pt x="1112" y="194"/>
                  </a:lnTo>
                  <a:lnTo>
                    <a:pt x="1110" y="196"/>
                  </a:lnTo>
                  <a:lnTo>
                    <a:pt x="1110" y="198"/>
                  </a:lnTo>
                  <a:lnTo>
                    <a:pt x="1110" y="200"/>
                  </a:lnTo>
                  <a:lnTo>
                    <a:pt x="1108" y="200"/>
                  </a:lnTo>
                  <a:lnTo>
                    <a:pt x="1108" y="202"/>
                  </a:lnTo>
                  <a:lnTo>
                    <a:pt x="1108" y="204"/>
                  </a:lnTo>
                  <a:lnTo>
                    <a:pt x="1106" y="206"/>
                  </a:lnTo>
                  <a:lnTo>
                    <a:pt x="1106" y="208"/>
                  </a:lnTo>
                  <a:lnTo>
                    <a:pt x="1106" y="210"/>
                  </a:lnTo>
                  <a:lnTo>
                    <a:pt x="1106" y="212"/>
                  </a:lnTo>
                  <a:lnTo>
                    <a:pt x="1106" y="214"/>
                  </a:lnTo>
                  <a:lnTo>
                    <a:pt x="1106" y="215"/>
                  </a:lnTo>
                  <a:lnTo>
                    <a:pt x="1106" y="217"/>
                  </a:lnTo>
                  <a:lnTo>
                    <a:pt x="1106" y="219"/>
                  </a:lnTo>
                  <a:lnTo>
                    <a:pt x="1106" y="221"/>
                  </a:lnTo>
                  <a:lnTo>
                    <a:pt x="1108" y="223"/>
                  </a:lnTo>
                  <a:lnTo>
                    <a:pt x="1110" y="225"/>
                  </a:lnTo>
                  <a:lnTo>
                    <a:pt x="1110" y="227"/>
                  </a:lnTo>
                  <a:lnTo>
                    <a:pt x="1106" y="225"/>
                  </a:lnTo>
                  <a:lnTo>
                    <a:pt x="1106" y="227"/>
                  </a:lnTo>
                  <a:lnTo>
                    <a:pt x="1108" y="229"/>
                  </a:lnTo>
                  <a:lnTo>
                    <a:pt x="1110" y="229"/>
                  </a:lnTo>
                  <a:lnTo>
                    <a:pt x="1108" y="229"/>
                  </a:lnTo>
                  <a:lnTo>
                    <a:pt x="1110" y="229"/>
                  </a:lnTo>
                  <a:lnTo>
                    <a:pt x="1110" y="231"/>
                  </a:lnTo>
                  <a:lnTo>
                    <a:pt x="1112" y="231"/>
                  </a:lnTo>
                  <a:lnTo>
                    <a:pt x="1112" y="233"/>
                  </a:lnTo>
                  <a:lnTo>
                    <a:pt x="1112" y="235"/>
                  </a:lnTo>
                  <a:lnTo>
                    <a:pt x="1112" y="233"/>
                  </a:lnTo>
                  <a:lnTo>
                    <a:pt x="1112" y="235"/>
                  </a:lnTo>
                  <a:lnTo>
                    <a:pt x="1110" y="235"/>
                  </a:lnTo>
                  <a:lnTo>
                    <a:pt x="1108" y="233"/>
                  </a:lnTo>
                  <a:lnTo>
                    <a:pt x="1106" y="231"/>
                  </a:lnTo>
                  <a:lnTo>
                    <a:pt x="1104" y="231"/>
                  </a:lnTo>
                  <a:lnTo>
                    <a:pt x="1104" y="233"/>
                  </a:lnTo>
                  <a:lnTo>
                    <a:pt x="1106" y="231"/>
                  </a:lnTo>
                  <a:lnTo>
                    <a:pt x="1106" y="233"/>
                  </a:lnTo>
                  <a:lnTo>
                    <a:pt x="1104" y="233"/>
                  </a:lnTo>
                  <a:lnTo>
                    <a:pt x="1106" y="233"/>
                  </a:lnTo>
                  <a:lnTo>
                    <a:pt x="1104" y="233"/>
                  </a:lnTo>
                  <a:lnTo>
                    <a:pt x="1104" y="235"/>
                  </a:lnTo>
                  <a:lnTo>
                    <a:pt x="1104" y="233"/>
                  </a:lnTo>
                  <a:lnTo>
                    <a:pt x="1104" y="235"/>
                  </a:lnTo>
                  <a:lnTo>
                    <a:pt x="1104" y="233"/>
                  </a:lnTo>
                  <a:lnTo>
                    <a:pt x="1102" y="233"/>
                  </a:lnTo>
                  <a:lnTo>
                    <a:pt x="1102" y="235"/>
                  </a:lnTo>
                  <a:lnTo>
                    <a:pt x="1104" y="233"/>
                  </a:lnTo>
                  <a:lnTo>
                    <a:pt x="1104" y="235"/>
                  </a:lnTo>
                  <a:lnTo>
                    <a:pt x="1104" y="237"/>
                  </a:lnTo>
                  <a:lnTo>
                    <a:pt x="1106" y="235"/>
                  </a:lnTo>
                  <a:lnTo>
                    <a:pt x="1104" y="235"/>
                  </a:lnTo>
                  <a:lnTo>
                    <a:pt x="1106" y="235"/>
                  </a:lnTo>
                  <a:lnTo>
                    <a:pt x="1106" y="237"/>
                  </a:lnTo>
                  <a:lnTo>
                    <a:pt x="1104" y="237"/>
                  </a:lnTo>
                  <a:lnTo>
                    <a:pt x="1106" y="237"/>
                  </a:lnTo>
                  <a:lnTo>
                    <a:pt x="1106" y="238"/>
                  </a:lnTo>
                  <a:lnTo>
                    <a:pt x="1108" y="238"/>
                  </a:lnTo>
                  <a:lnTo>
                    <a:pt x="1106" y="237"/>
                  </a:lnTo>
                  <a:lnTo>
                    <a:pt x="1108" y="235"/>
                  </a:lnTo>
                  <a:lnTo>
                    <a:pt x="1106" y="235"/>
                  </a:lnTo>
                  <a:lnTo>
                    <a:pt x="1108" y="235"/>
                  </a:lnTo>
                  <a:lnTo>
                    <a:pt x="1110" y="235"/>
                  </a:lnTo>
                  <a:lnTo>
                    <a:pt x="1108" y="235"/>
                  </a:lnTo>
                  <a:lnTo>
                    <a:pt x="1110" y="235"/>
                  </a:lnTo>
                  <a:lnTo>
                    <a:pt x="1110" y="237"/>
                  </a:lnTo>
                  <a:lnTo>
                    <a:pt x="1108" y="237"/>
                  </a:lnTo>
                  <a:lnTo>
                    <a:pt x="1108" y="235"/>
                  </a:lnTo>
                  <a:lnTo>
                    <a:pt x="1108" y="237"/>
                  </a:lnTo>
                  <a:lnTo>
                    <a:pt x="1110" y="237"/>
                  </a:lnTo>
                  <a:lnTo>
                    <a:pt x="1108" y="237"/>
                  </a:lnTo>
                  <a:lnTo>
                    <a:pt x="1110" y="237"/>
                  </a:lnTo>
                  <a:lnTo>
                    <a:pt x="1110" y="238"/>
                  </a:lnTo>
                  <a:lnTo>
                    <a:pt x="1110" y="235"/>
                  </a:lnTo>
                  <a:lnTo>
                    <a:pt x="1112" y="235"/>
                  </a:lnTo>
                  <a:lnTo>
                    <a:pt x="1112" y="237"/>
                  </a:lnTo>
                  <a:lnTo>
                    <a:pt x="1112" y="238"/>
                  </a:lnTo>
                  <a:lnTo>
                    <a:pt x="1112" y="240"/>
                  </a:lnTo>
                  <a:lnTo>
                    <a:pt x="1112" y="242"/>
                  </a:lnTo>
                  <a:lnTo>
                    <a:pt x="1110" y="242"/>
                  </a:lnTo>
                  <a:lnTo>
                    <a:pt x="1112" y="242"/>
                  </a:lnTo>
                  <a:lnTo>
                    <a:pt x="1110" y="242"/>
                  </a:lnTo>
                  <a:lnTo>
                    <a:pt x="1110" y="244"/>
                  </a:lnTo>
                  <a:lnTo>
                    <a:pt x="1110" y="246"/>
                  </a:lnTo>
                  <a:lnTo>
                    <a:pt x="1110" y="248"/>
                  </a:lnTo>
                  <a:lnTo>
                    <a:pt x="1110" y="250"/>
                  </a:lnTo>
                  <a:lnTo>
                    <a:pt x="1110" y="252"/>
                  </a:lnTo>
                  <a:lnTo>
                    <a:pt x="1110" y="254"/>
                  </a:lnTo>
                  <a:lnTo>
                    <a:pt x="1110" y="256"/>
                  </a:lnTo>
                  <a:lnTo>
                    <a:pt x="1110" y="258"/>
                  </a:lnTo>
                  <a:lnTo>
                    <a:pt x="1112" y="258"/>
                  </a:lnTo>
                  <a:lnTo>
                    <a:pt x="1112" y="260"/>
                  </a:lnTo>
                  <a:lnTo>
                    <a:pt x="1110" y="260"/>
                  </a:lnTo>
                  <a:lnTo>
                    <a:pt x="1110" y="262"/>
                  </a:lnTo>
                  <a:lnTo>
                    <a:pt x="1108" y="262"/>
                  </a:lnTo>
                  <a:lnTo>
                    <a:pt x="1106" y="262"/>
                  </a:lnTo>
                  <a:lnTo>
                    <a:pt x="1104" y="262"/>
                  </a:lnTo>
                  <a:lnTo>
                    <a:pt x="1102" y="262"/>
                  </a:lnTo>
                  <a:lnTo>
                    <a:pt x="1100" y="262"/>
                  </a:lnTo>
                  <a:lnTo>
                    <a:pt x="1098" y="260"/>
                  </a:lnTo>
                  <a:lnTo>
                    <a:pt x="1098" y="262"/>
                  </a:lnTo>
                  <a:lnTo>
                    <a:pt x="1100" y="262"/>
                  </a:lnTo>
                  <a:lnTo>
                    <a:pt x="1102" y="262"/>
                  </a:lnTo>
                  <a:lnTo>
                    <a:pt x="1100" y="263"/>
                  </a:lnTo>
                  <a:lnTo>
                    <a:pt x="1100" y="265"/>
                  </a:lnTo>
                  <a:lnTo>
                    <a:pt x="1100" y="263"/>
                  </a:lnTo>
                  <a:lnTo>
                    <a:pt x="1102" y="262"/>
                  </a:lnTo>
                  <a:lnTo>
                    <a:pt x="1104" y="262"/>
                  </a:lnTo>
                  <a:lnTo>
                    <a:pt x="1108" y="262"/>
                  </a:lnTo>
                  <a:lnTo>
                    <a:pt x="1110" y="262"/>
                  </a:lnTo>
                  <a:lnTo>
                    <a:pt x="1112" y="260"/>
                  </a:lnTo>
                  <a:lnTo>
                    <a:pt x="1114" y="262"/>
                  </a:lnTo>
                  <a:lnTo>
                    <a:pt x="1114" y="263"/>
                  </a:lnTo>
                  <a:lnTo>
                    <a:pt x="1112" y="263"/>
                  </a:lnTo>
                  <a:lnTo>
                    <a:pt x="1114" y="263"/>
                  </a:lnTo>
                  <a:lnTo>
                    <a:pt x="1112" y="263"/>
                  </a:lnTo>
                  <a:lnTo>
                    <a:pt x="1112" y="265"/>
                  </a:lnTo>
                  <a:lnTo>
                    <a:pt x="1112" y="267"/>
                  </a:lnTo>
                  <a:lnTo>
                    <a:pt x="1112" y="269"/>
                  </a:lnTo>
                  <a:lnTo>
                    <a:pt x="1112" y="271"/>
                  </a:lnTo>
                  <a:lnTo>
                    <a:pt x="1114" y="271"/>
                  </a:lnTo>
                  <a:lnTo>
                    <a:pt x="1112" y="273"/>
                  </a:lnTo>
                  <a:lnTo>
                    <a:pt x="1114" y="273"/>
                  </a:lnTo>
                  <a:lnTo>
                    <a:pt x="1112" y="275"/>
                  </a:lnTo>
                  <a:lnTo>
                    <a:pt x="1112" y="277"/>
                  </a:lnTo>
                  <a:lnTo>
                    <a:pt x="1112" y="279"/>
                  </a:lnTo>
                  <a:lnTo>
                    <a:pt x="1110" y="279"/>
                  </a:lnTo>
                  <a:lnTo>
                    <a:pt x="1112" y="279"/>
                  </a:lnTo>
                  <a:lnTo>
                    <a:pt x="1112" y="281"/>
                  </a:lnTo>
                  <a:lnTo>
                    <a:pt x="1112" y="279"/>
                  </a:lnTo>
                  <a:lnTo>
                    <a:pt x="1112" y="277"/>
                  </a:lnTo>
                  <a:lnTo>
                    <a:pt x="1112" y="275"/>
                  </a:lnTo>
                  <a:lnTo>
                    <a:pt x="1114" y="275"/>
                  </a:lnTo>
                  <a:lnTo>
                    <a:pt x="1114" y="273"/>
                  </a:lnTo>
                  <a:lnTo>
                    <a:pt x="1114" y="275"/>
                  </a:lnTo>
                  <a:lnTo>
                    <a:pt x="1114" y="277"/>
                  </a:lnTo>
                  <a:lnTo>
                    <a:pt x="1114" y="279"/>
                  </a:lnTo>
                  <a:lnTo>
                    <a:pt x="1116" y="279"/>
                  </a:lnTo>
                  <a:lnTo>
                    <a:pt x="1114" y="281"/>
                  </a:lnTo>
                  <a:lnTo>
                    <a:pt x="1116" y="281"/>
                  </a:lnTo>
                  <a:lnTo>
                    <a:pt x="1116" y="283"/>
                  </a:lnTo>
                  <a:lnTo>
                    <a:pt x="1117" y="283"/>
                  </a:lnTo>
                  <a:lnTo>
                    <a:pt x="1117" y="285"/>
                  </a:lnTo>
                  <a:lnTo>
                    <a:pt x="1119" y="286"/>
                  </a:lnTo>
                  <a:lnTo>
                    <a:pt x="1121" y="286"/>
                  </a:lnTo>
                  <a:lnTo>
                    <a:pt x="1121" y="288"/>
                  </a:lnTo>
                  <a:lnTo>
                    <a:pt x="1121" y="290"/>
                  </a:lnTo>
                  <a:lnTo>
                    <a:pt x="1119" y="292"/>
                  </a:lnTo>
                  <a:lnTo>
                    <a:pt x="1119" y="294"/>
                  </a:lnTo>
                  <a:lnTo>
                    <a:pt x="1117" y="294"/>
                  </a:lnTo>
                  <a:lnTo>
                    <a:pt x="1117" y="296"/>
                  </a:lnTo>
                  <a:lnTo>
                    <a:pt x="1117" y="298"/>
                  </a:lnTo>
                  <a:lnTo>
                    <a:pt x="1117" y="300"/>
                  </a:lnTo>
                  <a:lnTo>
                    <a:pt x="1117" y="302"/>
                  </a:lnTo>
                  <a:lnTo>
                    <a:pt x="1117" y="304"/>
                  </a:lnTo>
                  <a:lnTo>
                    <a:pt x="1117" y="306"/>
                  </a:lnTo>
                  <a:lnTo>
                    <a:pt x="1119" y="308"/>
                  </a:lnTo>
                  <a:lnTo>
                    <a:pt x="1119" y="310"/>
                  </a:lnTo>
                  <a:lnTo>
                    <a:pt x="1119" y="311"/>
                  </a:lnTo>
                  <a:lnTo>
                    <a:pt x="1119" y="313"/>
                  </a:lnTo>
                  <a:lnTo>
                    <a:pt x="1119" y="315"/>
                  </a:lnTo>
                  <a:lnTo>
                    <a:pt x="1117" y="315"/>
                  </a:lnTo>
                  <a:lnTo>
                    <a:pt x="1116" y="315"/>
                  </a:lnTo>
                  <a:lnTo>
                    <a:pt x="1117" y="315"/>
                  </a:lnTo>
                  <a:lnTo>
                    <a:pt x="1116" y="317"/>
                  </a:lnTo>
                  <a:lnTo>
                    <a:pt x="1114" y="315"/>
                  </a:lnTo>
                  <a:lnTo>
                    <a:pt x="1112" y="315"/>
                  </a:lnTo>
                  <a:lnTo>
                    <a:pt x="1112" y="317"/>
                  </a:lnTo>
                  <a:lnTo>
                    <a:pt x="1110" y="317"/>
                  </a:lnTo>
                  <a:lnTo>
                    <a:pt x="1106" y="317"/>
                  </a:lnTo>
                  <a:lnTo>
                    <a:pt x="1104" y="317"/>
                  </a:lnTo>
                  <a:lnTo>
                    <a:pt x="1104" y="315"/>
                  </a:lnTo>
                  <a:lnTo>
                    <a:pt x="1104" y="317"/>
                  </a:lnTo>
                  <a:lnTo>
                    <a:pt x="1102" y="317"/>
                  </a:lnTo>
                  <a:lnTo>
                    <a:pt x="1104" y="317"/>
                  </a:lnTo>
                  <a:lnTo>
                    <a:pt x="1106" y="317"/>
                  </a:lnTo>
                  <a:lnTo>
                    <a:pt x="1104" y="319"/>
                  </a:lnTo>
                  <a:lnTo>
                    <a:pt x="1106" y="319"/>
                  </a:lnTo>
                  <a:lnTo>
                    <a:pt x="1108" y="319"/>
                  </a:lnTo>
                  <a:lnTo>
                    <a:pt x="1108" y="317"/>
                  </a:lnTo>
                  <a:lnTo>
                    <a:pt x="1110" y="317"/>
                  </a:lnTo>
                  <a:lnTo>
                    <a:pt x="1108" y="317"/>
                  </a:lnTo>
                  <a:lnTo>
                    <a:pt x="1108" y="319"/>
                  </a:lnTo>
                  <a:lnTo>
                    <a:pt x="1110" y="319"/>
                  </a:lnTo>
                  <a:lnTo>
                    <a:pt x="1112" y="319"/>
                  </a:lnTo>
                  <a:lnTo>
                    <a:pt x="1112" y="317"/>
                  </a:lnTo>
                  <a:lnTo>
                    <a:pt x="1112" y="319"/>
                  </a:lnTo>
                  <a:lnTo>
                    <a:pt x="1114" y="319"/>
                  </a:lnTo>
                  <a:lnTo>
                    <a:pt x="1114" y="317"/>
                  </a:lnTo>
                  <a:lnTo>
                    <a:pt x="1112" y="317"/>
                  </a:lnTo>
                  <a:lnTo>
                    <a:pt x="1114" y="317"/>
                  </a:lnTo>
                  <a:lnTo>
                    <a:pt x="1116" y="317"/>
                  </a:lnTo>
                  <a:lnTo>
                    <a:pt x="1116" y="319"/>
                  </a:lnTo>
                  <a:lnTo>
                    <a:pt x="1116" y="317"/>
                  </a:lnTo>
                  <a:lnTo>
                    <a:pt x="1117" y="317"/>
                  </a:lnTo>
                  <a:lnTo>
                    <a:pt x="1119" y="315"/>
                  </a:lnTo>
                  <a:lnTo>
                    <a:pt x="1121" y="315"/>
                  </a:lnTo>
                  <a:lnTo>
                    <a:pt x="1121" y="313"/>
                  </a:lnTo>
                  <a:lnTo>
                    <a:pt x="1121" y="311"/>
                  </a:lnTo>
                  <a:lnTo>
                    <a:pt x="1123" y="313"/>
                  </a:lnTo>
                  <a:lnTo>
                    <a:pt x="1123" y="311"/>
                  </a:lnTo>
                  <a:lnTo>
                    <a:pt x="1121" y="311"/>
                  </a:lnTo>
                  <a:lnTo>
                    <a:pt x="1119" y="310"/>
                  </a:lnTo>
                  <a:lnTo>
                    <a:pt x="1119" y="308"/>
                  </a:lnTo>
                  <a:lnTo>
                    <a:pt x="1119" y="306"/>
                  </a:lnTo>
                  <a:lnTo>
                    <a:pt x="1119" y="304"/>
                  </a:lnTo>
                  <a:lnTo>
                    <a:pt x="1119" y="302"/>
                  </a:lnTo>
                  <a:lnTo>
                    <a:pt x="1117" y="302"/>
                  </a:lnTo>
                  <a:lnTo>
                    <a:pt x="1119" y="302"/>
                  </a:lnTo>
                  <a:lnTo>
                    <a:pt x="1117" y="302"/>
                  </a:lnTo>
                  <a:lnTo>
                    <a:pt x="1117" y="300"/>
                  </a:lnTo>
                  <a:lnTo>
                    <a:pt x="1117" y="298"/>
                  </a:lnTo>
                  <a:lnTo>
                    <a:pt x="1117" y="296"/>
                  </a:lnTo>
                  <a:lnTo>
                    <a:pt x="1119" y="296"/>
                  </a:lnTo>
                  <a:lnTo>
                    <a:pt x="1119" y="294"/>
                  </a:lnTo>
                  <a:lnTo>
                    <a:pt x="1121" y="292"/>
                  </a:lnTo>
                  <a:lnTo>
                    <a:pt x="1123" y="290"/>
                  </a:lnTo>
                  <a:lnTo>
                    <a:pt x="1125" y="292"/>
                  </a:lnTo>
                  <a:lnTo>
                    <a:pt x="1125" y="294"/>
                  </a:lnTo>
                  <a:lnTo>
                    <a:pt x="1125" y="298"/>
                  </a:lnTo>
                  <a:lnTo>
                    <a:pt x="1127" y="298"/>
                  </a:lnTo>
                  <a:lnTo>
                    <a:pt x="1125" y="294"/>
                  </a:lnTo>
                  <a:lnTo>
                    <a:pt x="1125" y="292"/>
                  </a:lnTo>
                  <a:lnTo>
                    <a:pt x="1125" y="290"/>
                  </a:lnTo>
                  <a:lnTo>
                    <a:pt x="1123" y="290"/>
                  </a:lnTo>
                  <a:lnTo>
                    <a:pt x="1125" y="290"/>
                  </a:lnTo>
                  <a:lnTo>
                    <a:pt x="1125" y="292"/>
                  </a:lnTo>
                  <a:lnTo>
                    <a:pt x="1127" y="294"/>
                  </a:lnTo>
                  <a:lnTo>
                    <a:pt x="1129" y="294"/>
                  </a:lnTo>
                  <a:lnTo>
                    <a:pt x="1131" y="296"/>
                  </a:lnTo>
                  <a:lnTo>
                    <a:pt x="1129" y="298"/>
                  </a:lnTo>
                  <a:lnTo>
                    <a:pt x="1127" y="298"/>
                  </a:lnTo>
                  <a:lnTo>
                    <a:pt x="1127" y="300"/>
                  </a:lnTo>
                  <a:lnTo>
                    <a:pt x="1129" y="300"/>
                  </a:lnTo>
                  <a:lnTo>
                    <a:pt x="1127" y="302"/>
                  </a:lnTo>
                  <a:lnTo>
                    <a:pt x="1129" y="300"/>
                  </a:lnTo>
                  <a:lnTo>
                    <a:pt x="1127" y="298"/>
                  </a:lnTo>
                  <a:lnTo>
                    <a:pt x="1129" y="298"/>
                  </a:lnTo>
                  <a:lnTo>
                    <a:pt x="1131" y="298"/>
                  </a:lnTo>
                  <a:lnTo>
                    <a:pt x="1131" y="296"/>
                  </a:lnTo>
                  <a:lnTo>
                    <a:pt x="1131" y="298"/>
                  </a:lnTo>
                  <a:lnTo>
                    <a:pt x="1133" y="298"/>
                  </a:lnTo>
                  <a:lnTo>
                    <a:pt x="1135" y="298"/>
                  </a:lnTo>
                  <a:lnTo>
                    <a:pt x="1137" y="298"/>
                  </a:lnTo>
                  <a:lnTo>
                    <a:pt x="1139" y="298"/>
                  </a:lnTo>
                  <a:lnTo>
                    <a:pt x="1139" y="300"/>
                  </a:lnTo>
                  <a:lnTo>
                    <a:pt x="1139" y="298"/>
                  </a:lnTo>
                  <a:lnTo>
                    <a:pt x="1137" y="298"/>
                  </a:lnTo>
                  <a:lnTo>
                    <a:pt x="1135" y="298"/>
                  </a:lnTo>
                  <a:lnTo>
                    <a:pt x="1133" y="298"/>
                  </a:lnTo>
                  <a:lnTo>
                    <a:pt x="1133" y="296"/>
                  </a:lnTo>
                  <a:lnTo>
                    <a:pt x="1131" y="296"/>
                  </a:lnTo>
                  <a:lnTo>
                    <a:pt x="1131" y="294"/>
                  </a:lnTo>
                  <a:lnTo>
                    <a:pt x="1133" y="294"/>
                  </a:lnTo>
                  <a:lnTo>
                    <a:pt x="1135" y="294"/>
                  </a:lnTo>
                  <a:lnTo>
                    <a:pt x="1133" y="294"/>
                  </a:lnTo>
                  <a:lnTo>
                    <a:pt x="1131" y="292"/>
                  </a:lnTo>
                  <a:lnTo>
                    <a:pt x="1129" y="290"/>
                  </a:lnTo>
                  <a:lnTo>
                    <a:pt x="1129" y="288"/>
                  </a:lnTo>
                  <a:lnTo>
                    <a:pt x="1127" y="286"/>
                  </a:lnTo>
                  <a:lnTo>
                    <a:pt x="1127" y="285"/>
                  </a:lnTo>
                  <a:lnTo>
                    <a:pt x="1125" y="285"/>
                  </a:lnTo>
                  <a:lnTo>
                    <a:pt x="1125" y="283"/>
                  </a:lnTo>
                  <a:lnTo>
                    <a:pt x="1123" y="281"/>
                  </a:lnTo>
                  <a:lnTo>
                    <a:pt x="1125" y="281"/>
                  </a:lnTo>
                  <a:lnTo>
                    <a:pt x="1123" y="281"/>
                  </a:lnTo>
                  <a:lnTo>
                    <a:pt x="1123" y="279"/>
                  </a:lnTo>
                  <a:lnTo>
                    <a:pt x="1121" y="279"/>
                  </a:lnTo>
                  <a:lnTo>
                    <a:pt x="1121" y="277"/>
                  </a:lnTo>
                  <a:lnTo>
                    <a:pt x="1121" y="275"/>
                  </a:lnTo>
                  <a:lnTo>
                    <a:pt x="1119" y="275"/>
                  </a:lnTo>
                  <a:lnTo>
                    <a:pt x="1119" y="273"/>
                  </a:lnTo>
                  <a:lnTo>
                    <a:pt x="1119" y="271"/>
                  </a:lnTo>
                  <a:lnTo>
                    <a:pt x="1119" y="269"/>
                  </a:lnTo>
                  <a:lnTo>
                    <a:pt x="1119" y="267"/>
                  </a:lnTo>
                  <a:lnTo>
                    <a:pt x="1121" y="265"/>
                  </a:lnTo>
                  <a:lnTo>
                    <a:pt x="1123" y="265"/>
                  </a:lnTo>
                  <a:lnTo>
                    <a:pt x="1123" y="263"/>
                  </a:lnTo>
                  <a:lnTo>
                    <a:pt x="1125" y="263"/>
                  </a:lnTo>
                  <a:lnTo>
                    <a:pt x="1127" y="265"/>
                  </a:lnTo>
                  <a:lnTo>
                    <a:pt x="1129" y="265"/>
                  </a:lnTo>
                  <a:lnTo>
                    <a:pt x="1131" y="267"/>
                  </a:lnTo>
                  <a:lnTo>
                    <a:pt x="1133" y="267"/>
                  </a:lnTo>
                  <a:lnTo>
                    <a:pt x="1133" y="269"/>
                  </a:lnTo>
                  <a:lnTo>
                    <a:pt x="1135" y="269"/>
                  </a:lnTo>
                  <a:lnTo>
                    <a:pt x="1137" y="269"/>
                  </a:lnTo>
                  <a:lnTo>
                    <a:pt x="1137" y="271"/>
                  </a:lnTo>
                  <a:lnTo>
                    <a:pt x="1137" y="273"/>
                  </a:lnTo>
                  <a:lnTo>
                    <a:pt x="1139" y="273"/>
                  </a:lnTo>
                  <a:lnTo>
                    <a:pt x="1139" y="275"/>
                  </a:lnTo>
                  <a:lnTo>
                    <a:pt x="1139" y="277"/>
                  </a:lnTo>
                  <a:lnTo>
                    <a:pt x="1137" y="277"/>
                  </a:lnTo>
                  <a:lnTo>
                    <a:pt x="1137" y="279"/>
                  </a:lnTo>
                  <a:lnTo>
                    <a:pt x="1137" y="281"/>
                  </a:lnTo>
                  <a:lnTo>
                    <a:pt x="1137" y="283"/>
                  </a:lnTo>
                  <a:lnTo>
                    <a:pt x="1137" y="285"/>
                  </a:lnTo>
                  <a:lnTo>
                    <a:pt x="1137" y="286"/>
                  </a:lnTo>
                  <a:lnTo>
                    <a:pt x="1137" y="288"/>
                  </a:lnTo>
                  <a:lnTo>
                    <a:pt x="1137" y="290"/>
                  </a:lnTo>
                  <a:lnTo>
                    <a:pt x="1139" y="290"/>
                  </a:lnTo>
                  <a:lnTo>
                    <a:pt x="1139" y="288"/>
                  </a:lnTo>
                  <a:lnTo>
                    <a:pt x="1137" y="288"/>
                  </a:lnTo>
                  <a:lnTo>
                    <a:pt x="1137" y="286"/>
                  </a:lnTo>
                  <a:lnTo>
                    <a:pt x="1139" y="286"/>
                  </a:lnTo>
                  <a:lnTo>
                    <a:pt x="1137" y="285"/>
                  </a:lnTo>
                  <a:lnTo>
                    <a:pt x="1137" y="283"/>
                  </a:lnTo>
                  <a:lnTo>
                    <a:pt x="1139" y="283"/>
                  </a:lnTo>
                  <a:lnTo>
                    <a:pt x="1139" y="285"/>
                  </a:lnTo>
                  <a:lnTo>
                    <a:pt x="1140" y="285"/>
                  </a:lnTo>
                  <a:lnTo>
                    <a:pt x="1140" y="286"/>
                  </a:lnTo>
                  <a:lnTo>
                    <a:pt x="1142" y="286"/>
                  </a:lnTo>
                  <a:lnTo>
                    <a:pt x="1140" y="286"/>
                  </a:lnTo>
                  <a:lnTo>
                    <a:pt x="1140" y="285"/>
                  </a:lnTo>
                  <a:lnTo>
                    <a:pt x="1140" y="283"/>
                  </a:lnTo>
                  <a:lnTo>
                    <a:pt x="1140" y="281"/>
                  </a:lnTo>
                  <a:lnTo>
                    <a:pt x="1140" y="279"/>
                  </a:lnTo>
                  <a:lnTo>
                    <a:pt x="1140" y="277"/>
                  </a:lnTo>
                  <a:lnTo>
                    <a:pt x="1142" y="277"/>
                  </a:lnTo>
                  <a:lnTo>
                    <a:pt x="1140" y="277"/>
                  </a:lnTo>
                  <a:lnTo>
                    <a:pt x="1142" y="277"/>
                  </a:lnTo>
                  <a:lnTo>
                    <a:pt x="1142" y="275"/>
                  </a:lnTo>
                  <a:lnTo>
                    <a:pt x="1142" y="273"/>
                  </a:lnTo>
                  <a:lnTo>
                    <a:pt x="1142" y="271"/>
                  </a:lnTo>
                  <a:lnTo>
                    <a:pt x="1144" y="269"/>
                  </a:lnTo>
                  <a:lnTo>
                    <a:pt x="1146" y="269"/>
                  </a:lnTo>
                  <a:lnTo>
                    <a:pt x="1148" y="269"/>
                  </a:lnTo>
                  <a:lnTo>
                    <a:pt x="1150" y="269"/>
                  </a:lnTo>
                  <a:lnTo>
                    <a:pt x="1152" y="269"/>
                  </a:lnTo>
                  <a:lnTo>
                    <a:pt x="1154" y="271"/>
                  </a:lnTo>
                  <a:lnTo>
                    <a:pt x="1154" y="269"/>
                  </a:lnTo>
                  <a:lnTo>
                    <a:pt x="1154" y="271"/>
                  </a:lnTo>
                  <a:lnTo>
                    <a:pt x="1156" y="271"/>
                  </a:lnTo>
                  <a:lnTo>
                    <a:pt x="1156" y="273"/>
                  </a:lnTo>
                  <a:lnTo>
                    <a:pt x="1156" y="275"/>
                  </a:lnTo>
                  <a:lnTo>
                    <a:pt x="1156" y="277"/>
                  </a:lnTo>
                  <a:lnTo>
                    <a:pt x="1154" y="277"/>
                  </a:lnTo>
                  <a:lnTo>
                    <a:pt x="1154" y="279"/>
                  </a:lnTo>
                  <a:lnTo>
                    <a:pt x="1154" y="281"/>
                  </a:lnTo>
                  <a:lnTo>
                    <a:pt x="1156" y="281"/>
                  </a:lnTo>
                  <a:lnTo>
                    <a:pt x="1154" y="283"/>
                  </a:lnTo>
                  <a:lnTo>
                    <a:pt x="1156" y="283"/>
                  </a:lnTo>
                  <a:lnTo>
                    <a:pt x="1156" y="285"/>
                  </a:lnTo>
                  <a:lnTo>
                    <a:pt x="1156" y="286"/>
                  </a:lnTo>
                  <a:lnTo>
                    <a:pt x="1158" y="286"/>
                  </a:lnTo>
                  <a:lnTo>
                    <a:pt x="1158" y="288"/>
                  </a:lnTo>
                  <a:lnTo>
                    <a:pt x="1160" y="288"/>
                  </a:lnTo>
                  <a:lnTo>
                    <a:pt x="1160" y="290"/>
                  </a:lnTo>
                  <a:lnTo>
                    <a:pt x="1162" y="290"/>
                  </a:lnTo>
                  <a:lnTo>
                    <a:pt x="1164" y="290"/>
                  </a:lnTo>
                  <a:lnTo>
                    <a:pt x="1164" y="292"/>
                  </a:lnTo>
                  <a:lnTo>
                    <a:pt x="1164" y="294"/>
                  </a:lnTo>
                  <a:lnTo>
                    <a:pt x="1164" y="296"/>
                  </a:lnTo>
                  <a:lnTo>
                    <a:pt x="1164" y="298"/>
                  </a:lnTo>
                  <a:lnTo>
                    <a:pt x="1164" y="300"/>
                  </a:lnTo>
                  <a:lnTo>
                    <a:pt x="1164" y="302"/>
                  </a:lnTo>
                  <a:lnTo>
                    <a:pt x="1164" y="304"/>
                  </a:lnTo>
                  <a:lnTo>
                    <a:pt x="1164" y="306"/>
                  </a:lnTo>
                  <a:lnTo>
                    <a:pt x="1165" y="306"/>
                  </a:lnTo>
                  <a:lnTo>
                    <a:pt x="1165" y="308"/>
                  </a:lnTo>
                  <a:lnTo>
                    <a:pt x="1165" y="306"/>
                  </a:lnTo>
                  <a:lnTo>
                    <a:pt x="1164" y="306"/>
                  </a:lnTo>
                  <a:lnTo>
                    <a:pt x="1164" y="304"/>
                  </a:lnTo>
                  <a:lnTo>
                    <a:pt x="1164" y="302"/>
                  </a:lnTo>
                  <a:lnTo>
                    <a:pt x="1164" y="300"/>
                  </a:lnTo>
                  <a:lnTo>
                    <a:pt x="1164" y="298"/>
                  </a:lnTo>
                  <a:lnTo>
                    <a:pt x="1164" y="296"/>
                  </a:lnTo>
                  <a:lnTo>
                    <a:pt x="1165" y="296"/>
                  </a:lnTo>
                  <a:lnTo>
                    <a:pt x="1165" y="294"/>
                  </a:lnTo>
                  <a:lnTo>
                    <a:pt x="1167" y="294"/>
                  </a:lnTo>
                  <a:lnTo>
                    <a:pt x="1167" y="296"/>
                  </a:lnTo>
                  <a:lnTo>
                    <a:pt x="1169" y="296"/>
                  </a:lnTo>
                  <a:lnTo>
                    <a:pt x="1171" y="298"/>
                  </a:lnTo>
                  <a:lnTo>
                    <a:pt x="1173" y="298"/>
                  </a:lnTo>
                  <a:lnTo>
                    <a:pt x="1175" y="298"/>
                  </a:lnTo>
                  <a:lnTo>
                    <a:pt x="1175" y="300"/>
                  </a:lnTo>
                  <a:lnTo>
                    <a:pt x="1179" y="300"/>
                  </a:lnTo>
                  <a:lnTo>
                    <a:pt x="1181" y="300"/>
                  </a:lnTo>
                  <a:lnTo>
                    <a:pt x="1181" y="302"/>
                  </a:lnTo>
                  <a:lnTo>
                    <a:pt x="1183" y="302"/>
                  </a:lnTo>
                  <a:lnTo>
                    <a:pt x="1185" y="302"/>
                  </a:lnTo>
                  <a:lnTo>
                    <a:pt x="1187" y="302"/>
                  </a:lnTo>
                  <a:lnTo>
                    <a:pt x="1185" y="302"/>
                  </a:lnTo>
                  <a:lnTo>
                    <a:pt x="1183" y="302"/>
                  </a:lnTo>
                  <a:lnTo>
                    <a:pt x="1183" y="300"/>
                  </a:lnTo>
                  <a:lnTo>
                    <a:pt x="1181" y="300"/>
                  </a:lnTo>
                  <a:lnTo>
                    <a:pt x="1179" y="300"/>
                  </a:lnTo>
                  <a:lnTo>
                    <a:pt x="1177" y="300"/>
                  </a:lnTo>
                  <a:lnTo>
                    <a:pt x="1177" y="298"/>
                  </a:lnTo>
                  <a:lnTo>
                    <a:pt x="1175" y="298"/>
                  </a:lnTo>
                  <a:lnTo>
                    <a:pt x="1171" y="296"/>
                  </a:lnTo>
                  <a:lnTo>
                    <a:pt x="1169" y="294"/>
                  </a:lnTo>
                  <a:lnTo>
                    <a:pt x="1167" y="292"/>
                  </a:lnTo>
                  <a:lnTo>
                    <a:pt x="1165" y="292"/>
                  </a:lnTo>
                  <a:lnTo>
                    <a:pt x="1165" y="290"/>
                  </a:lnTo>
                  <a:lnTo>
                    <a:pt x="1165" y="288"/>
                  </a:lnTo>
                  <a:lnTo>
                    <a:pt x="1164" y="288"/>
                  </a:lnTo>
                  <a:lnTo>
                    <a:pt x="1164" y="286"/>
                  </a:lnTo>
                  <a:lnTo>
                    <a:pt x="1162" y="286"/>
                  </a:lnTo>
                  <a:lnTo>
                    <a:pt x="1162" y="285"/>
                  </a:lnTo>
                  <a:lnTo>
                    <a:pt x="1160" y="285"/>
                  </a:lnTo>
                  <a:lnTo>
                    <a:pt x="1160" y="283"/>
                  </a:lnTo>
                  <a:lnTo>
                    <a:pt x="1158" y="281"/>
                  </a:lnTo>
                  <a:lnTo>
                    <a:pt x="1158" y="279"/>
                  </a:lnTo>
                  <a:lnTo>
                    <a:pt x="1158" y="277"/>
                  </a:lnTo>
                  <a:lnTo>
                    <a:pt x="1158" y="275"/>
                  </a:lnTo>
                  <a:lnTo>
                    <a:pt x="1160" y="275"/>
                  </a:lnTo>
                  <a:lnTo>
                    <a:pt x="1158" y="273"/>
                  </a:lnTo>
                  <a:lnTo>
                    <a:pt x="1160" y="273"/>
                  </a:lnTo>
                  <a:lnTo>
                    <a:pt x="1160" y="275"/>
                  </a:lnTo>
                  <a:lnTo>
                    <a:pt x="1162" y="277"/>
                  </a:lnTo>
                  <a:lnTo>
                    <a:pt x="1162" y="279"/>
                  </a:lnTo>
                  <a:lnTo>
                    <a:pt x="1162" y="281"/>
                  </a:lnTo>
                  <a:lnTo>
                    <a:pt x="1162" y="283"/>
                  </a:lnTo>
                  <a:lnTo>
                    <a:pt x="1164" y="283"/>
                  </a:lnTo>
                  <a:lnTo>
                    <a:pt x="1164" y="285"/>
                  </a:lnTo>
                  <a:lnTo>
                    <a:pt x="1165" y="286"/>
                  </a:lnTo>
                  <a:lnTo>
                    <a:pt x="1167" y="286"/>
                  </a:lnTo>
                  <a:lnTo>
                    <a:pt x="1167" y="288"/>
                  </a:lnTo>
                  <a:lnTo>
                    <a:pt x="1167" y="286"/>
                  </a:lnTo>
                  <a:lnTo>
                    <a:pt x="1167" y="288"/>
                  </a:lnTo>
                  <a:lnTo>
                    <a:pt x="1169" y="288"/>
                  </a:lnTo>
                  <a:lnTo>
                    <a:pt x="1171" y="288"/>
                  </a:lnTo>
                  <a:lnTo>
                    <a:pt x="1173" y="286"/>
                  </a:lnTo>
                  <a:lnTo>
                    <a:pt x="1175" y="286"/>
                  </a:lnTo>
                  <a:lnTo>
                    <a:pt x="1175" y="285"/>
                  </a:lnTo>
                  <a:lnTo>
                    <a:pt x="1177" y="285"/>
                  </a:lnTo>
                  <a:lnTo>
                    <a:pt x="1177" y="283"/>
                  </a:lnTo>
                  <a:lnTo>
                    <a:pt x="1179" y="283"/>
                  </a:lnTo>
                  <a:lnTo>
                    <a:pt x="1179" y="281"/>
                  </a:lnTo>
                  <a:lnTo>
                    <a:pt x="1181" y="281"/>
                  </a:lnTo>
                  <a:lnTo>
                    <a:pt x="1183" y="281"/>
                  </a:lnTo>
                  <a:lnTo>
                    <a:pt x="1185" y="281"/>
                  </a:lnTo>
                  <a:lnTo>
                    <a:pt x="1187" y="281"/>
                  </a:lnTo>
                  <a:lnTo>
                    <a:pt x="1188" y="281"/>
                  </a:lnTo>
                  <a:lnTo>
                    <a:pt x="1190" y="283"/>
                  </a:lnTo>
                  <a:lnTo>
                    <a:pt x="1192" y="283"/>
                  </a:lnTo>
                  <a:lnTo>
                    <a:pt x="1192" y="285"/>
                  </a:lnTo>
                  <a:lnTo>
                    <a:pt x="1192" y="283"/>
                  </a:lnTo>
                  <a:lnTo>
                    <a:pt x="1194" y="283"/>
                  </a:lnTo>
                  <a:lnTo>
                    <a:pt x="1194" y="285"/>
                  </a:lnTo>
                  <a:lnTo>
                    <a:pt x="1196" y="285"/>
                  </a:lnTo>
                  <a:lnTo>
                    <a:pt x="1198" y="285"/>
                  </a:lnTo>
                  <a:lnTo>
                    <a:pt x="1200" y="285"/>
                  </a:lnTo>
                  <a:lnTo>
                    <a:pt x="1202" y="285"/>
                  </a:lnTo>
                  <a:lnTo>
                    <a:pt x="1202" y="286"/>
                  </a:lnTo>
                  <a:lnTo>
                    <a:pt x="1204" y="286"/>
                  </a:lnTo>
                  <a:lnTo>
                    <a:pt x="1204" y="288"/>
                  </a:lnTo>
                  <a:lnTo>
                    <a:pt x="1206" y="288"/>
                  </a:lnTo>
                  <a:lnTo>
                    <a:pt x="1208" y="290"/>
                  </a:lnTo>
                  <a:lnTo>
                    <a:pt x="1210" y="290"/>
                  </a:lnTo>
                  <a:lnTo>
                    <a:pt x="1212" y="290"/>
                  </a:lnTo>
                  <a:lnTo>
                    <a:pt x="1212" y="292"/>
                  </a:lnTo>
                  <a:lnTo>
                    <a:pt x="1213" y="292"/>
                  </a:lnTo>
                  <a:lnTo>
                    <a:pt x="1215" y="292"/>
                  </a:lnTo>
                  <a:lnTo>
                    <a:pt x="1215" y="294"/>
                  </a:lnTo>
                  <a:lnTo>
                    <a:pt x="1215" y="296"/>
                  </a:lnTo>
                  <a:lnTo>
                    <a:pt x="1215" y="298"/>
                  </a:lnTo>
                  <a:lnTo>
                    <a:pt x="1215" y="300"/>
                  </a:lnTo>
                  <a:lnTo>
                    <a:pt x="1217" y="300"/>
                  </a:lnTo>
                  <a:lnTo>
                    <a:pt x="1217" y="298"/>
                  </a:lnTo>
                  <a:lnTo>
                    <a:pt x="1215" y="298"/>
                  </a:lnTo>
                  <a:lnTo>
                    <a:pt x="1215" y="296"/>
                  </a:lnTo>
                  <a:lnTo>
                    <a:pt x="1215" y="294"/>
                  </a:lnTo>
                  <a:lnTo>
                    <a:pt x="1217" y="296"/>
                  </a:lnTo>
                  <a:lnTo>
                    <a:pt x="1219" y="296"/>
                  </a:lnTo>
                  <a:lnTo>
                    <a:pt x="1219" y="294"/>
                  </a:lnTo>
                  <a:lnTo>
                    <a:pt x="1221" y="294"/>
                  </a:lnTo>
                  <a:lnTo>
                    <a:pt x="1223" y="294"/>
                  </a:lnTo>
                  <a:lnTo>
                    <a:pt x="1221" y="294"/>
                  </a:lnTo>
                  <a:lnTo>
                    <a:pt x="1221" y="292"/>
                  </a:lnTo>
                  <a:lnTo>
                    <a:pt x="1217" y="294"/>
                  </a:lnTo>
                  <a:lnTo>
                    <a:pt x="1217" y="292"/>
                  </a:lnTo>
                  <a:lnTo>
                    <a:pt x="1217" y="294"/>
                  </a:lnTo>
                  <a:lnTo>
                    <a:pt x="1221" y="292"/>
                  </a:lnTo>
                  <a:lnTo>
                    <a:pt x="1219" y="290"/>
                  </a:lnTo>
                  <a:lnTo>
                    <a:pt x="1217" y="292"/>
                  </a:lnTo>
                  <a:lnTo>
                    <a:pt x="1215" y="292"/>
                  </a:lnTo>
                  <a:lnTo>
                    <a:pt x="1213" y="290"/>
                  </a:lnTo>
                  <a:lnTo>
                    <a:pt x="1212" y="290"/>
                  </a:lnTo>
                  <a:lnTo>
                    <a:pt x="1212" y="288"/>
                  </a:lnTo>
                  <a:lnTo>
                    <a:pt x="1212" y="290"/>
                  </a:lnTo>
                  <a:lnTo>
                    <a:pt x="1210" y="288"/>
                  </a:lnTo>
                  <a:lnTo>
                    <a:pt x="1208" y="288"/>
                  </a:lnTo>
                  <a:lnTo>
                    <a:pt x="1206" y="288"/>
                  </a:lnTo>
                  <a:lnTo>
                    <a:pt x="1204" y="286"/>
                  </a:lnTo>
                  <a:lnTo>
                    <a:pt x="1204" y="285"/>
                  </a:lnTo>
                  <a:lnTo>
                    <a:pt x="1202" y="285"/>
                  </a:lnTo>
                  <a:lnTo>
                    <a:pt x="1200" y="283"/>
                  </a:lnTo>
                  <a:lnTo>
                    <a:pt x="1198" y="283"/>
                  </a:lnTo>
                  <a:lnTo>
                    <a:pt x="1196" y="283"/>
                  </a:lnTo>
                  <a:lnTo>
                    <a:pt x="1194" y="283"/>
                  </a:lnTo>
                  <a:lnTo>
                    <a:pt x="1194" y="281"/>
                  </a:lnTo>
                  <a:lnTo>
                    <a:pt x="1192" y="281"/>
                  </a:lnTo>
                  <a:lnTo>
                    <a:pt x="1190" y="281"/>
                  </a:lnTo>
                  <a:lnTo>
                    <a:pt x="1190" y="279"/>
                  </a:lnTo>
                  <a:lnTo>
                    <a:pt x="1188" y="279"/>
                  </a:lnTo>
                  <a:lnTo>
                    <a:pt x="1187" y="279"/>
                  </a:lnTo>
                  <a:lnTo>
                    <a:pt x="1185" y="279"/>
                  </a:lnTo>
                  <a:lnTo>
                    <a:pt x="1185" y="277"/>
                  </a:lnTo>
                  <a:lnTo>
                    <a:pt x="1185" y="279"/>
                  </a:lnTo>
                  <a:lnTo>
                    <a:pt x="1185" y="277"/>
                  </a:lnTo>
                  <a:lnTo>
                    <a:pt x="1183" y="277"/>
                  </a:lnTo>
                  <a:lnTo>
                    <a:pt x="1183" y="279"/>
                  </a:lnTo>
                  <a:lnTo>
                    <a:pt x="1183" y="277"/>
                  </a:lnTo>
                  <a:lnTo>
                    <a:pt x="1183" y="279"/>
                  </a:lnTo>
                  <a:lnTo>
                    <a:pt x="1183" y="277"/>
                  </a:lnTo>
                  <a:lnTo>
                    <a:pt x="1183" y="279"/>
                  </a:lnTo>
                  <a:lnTo>
                    <a:pt x="1181" y="277"/>
                  </a:lnTo>
                  <a:lnTo>
                    <a:pt x="1181" y="279"/>
                  </a:lnTo>
                  <a:lnTo>
                    <a:pt x="1179" y="279"/>
                  </a:lnTo>
                  <a:lnTo>
                    <a:pt x="1177" y="281"/>
                  </a:lnTo>
                  <a:lnTo>
                    <a:pt x="1177" y="283"/>
                  </a:lnTo>
                  <a:lnTo>
                    <a:pt x="1175" y="283"/>
                  </a:lnTo>
                  <a:lnTo>
                    <a:pt x="1173" y="285"/>
                  </a:lnTo>
                  <a:lnTo>
                    <a:pt x="1171" y="285"/>
                  </a:lnTo>
                  <a:lnTo>
                    <a:pt x="1169" y="285"/>
                  </a:lnTo>
                  <a:lnTo>
                    <a:pt x="1167" y="285"/>
                  </a:lnTo>
                  <a:lnTo>
                    <a:pt x="1167" y="283"/>
                  </a:lnTo>
                  <a:lnTo>
                    <a:pt x="1165" y="283"/>
                  </a:lnTo>
                  <a:lnTo>
                    <a:pt x="1167" y="283"/>
                  </a:lnTo>
                  <a:lnTo>
                    <a:pt x="1167" y="281"/>
                  </a:lnTo>
                  <a:lnTo>
                    <a:pt x="1167" y="279"/>
                  </a:lnTo>
                  <a:lnTo>
                    <a:pt x="1167" y="277"/>
                  </a:lnTo>
                  <a:lnTo>
                    <a:pt x="1167" y="275"/>
                  </a:lnTo>
                  <a:lnTo>
                    <a:pt x="1167" y="273"/>
                  </a:lnTo>
                  <a:lnTo>
                    <a:pt x="1167" y="275"/>
                  </a:lnTo>
                  <a:lnTo>
                    <a:pt x="1167" y="273"/>
                  </a:lnTo>
                  <a:lnTo>
                    <a:pt x="1169" y="273"/>
                  </a:lnTo>
                  <a:lnTo>
                    <a:pt x="1171" y="273"/>
                  </a:lnTo>
                  <a:lnTo>
                    <a:pt x="1173" y="273"/>
                  </a:lnTo>
                  <a:lnTo>
                    <a:pt x="1173" y="271"/>
                  </a:lnTo>
                  <a:lnTo>
                    <a:pt x="1175" y="271"/>
                  </a:lnTo>
                  <a:lnTo>
                    <a:pt x="1177" y="271"/>
                  </a:lnTo>
                  <a:lnTo>
                    <a:pt x="1179" y="271"/>
                  </a:lnTo>
                  <a:lnTo>
                    <a:pt x="1179" y="269"/>
                  </a:lnTo>
                  <a:lnTo>
                    <a:pt x="1181" y="269"/>
                  </a:lnTo>
                  <a:lnTo>
                    <a:pt x="1181" y="267"/>
                  </a:lnTo>
                  <a:lnTo>
                    <a:pt x="1183" y="267"/>
                  </a:lnTo>
                  <a:lnTo>
                    <a:pt x="1183" y="265"/>
                  </a:lnTo>
                  <a:lnTo>
                    <a:pt x="1185" y="265"/>
                  </a:lnTo>
                  <a:lnTo>
                    <a:pt x="1187" y="265"/>
                  </a:lnTo>
                  <a:lnTo>
                    <a:pt x="1188" y="267"/>
                  </a:lnTo>
                  <a:lnTo>
                    <a:pt x="1187" y="267"/>
                  </a:lnTo>
                  <a:lnTo>
                    <a:pt x="1187" y="265"/>
                  </a:lnTo>
                  <a:lnTo>
                    <a:pt x="1188" y="265"/>
                  </a:lnTo>
                  <a:lnTo>
                    <a:pt x="1187" y="265"/>
                  </a:lnTo>
                  <a:lnTo>
                    <a:pt x="1187" y="263"/>
                  </a:lnTo>
                  <a:lnTo>
                    <a:pt x="1187" y="262"/>
                  </a:lnTo>
                  <a:lnTo>
                    <a:pt x="1187" y="263"/>
                  </a:lnTo>
                  <a:lnTo>
                    <a:pt x="1185" y="263"/>
                  </a:lnTo>
                  <a:lnTo>
                    <a:pt x="1185" y="262"/>
                  </a:lnTo>
                  <a:lnTo>
                    <a:pt x="1183" y="262"/>
                  </a:lnTo>
                  <a:lnTo>
                    <a:pt x="1181" y="262"/>
                  </a:lnTo>
                  <a:lnTo>
                    <a:pt x="1181" y="260"/>
                  </a:lnTo>
                  <a:lnTo>
                    <a:pt x="1181" y="262"/>
                  </a:lnTo>
                  <a:lnTo>
                    <a:pt x="1179" y="262"/>
                  </a:lnTo>
                  <a:lnTo>
                    <a:pt x="1179" y="263"/>
                  </a:lnTo>
                  <a:lnTo>
                    <a:pt x="1177" y="263"/>
                  </a:lnTo>
                  <a:lnTo>
                    <a:pt x="1175" y="263"/>
                  </a:lnTo>
                  <a:lnTo>
                    <a:pt x="1175" y="265"/>
                  </a:lnTo>
                  <a:lnTo>
                    <a:pt x="1173" y="265"/>
                  </a:lnTo>
                  <a:lnTo>
                    <a:pt x="1173" y="263"/>
                  </a:lnTo>
                  <a:lnTo>
                    <a:pt x="1171" y="263"/>
                  </a:lnTo>
                  <a:lnTo>
                    <a:pt x="1169" y="262"/>
                  </a:lnTo>
                  <a:lnTo>
                    <a:pt x="1167" y="262"/>
                  </a:lnTo>
                  <a:lnTo>
                    <a:pt x="1169" y="262"/>
                  </a:lnTo>
                  <a:lnTo>
                    <a:pt x="1169" y="260"/>
                  </a:lnTo>
                  <a:lnTo>
                    <a:pt x="1171" y="260"/>
                  </a:lnTo>
                  <a:lnTo>
                    <a:pt x="1171" y="258"/>
                  </a:lnTo>
                  <a:lnTo>
                    <a:pt x="1173" y="258"/>
                  </a:lnTo>
                  <a:lnTo>
                    <a:pt x="1171" y="258"/>
                  </a:lnTo>
                  <a:lnTo>
                    <a:pt x="1175" y="256"/>
                  </a:lnTo>
                  <a:lnTo>
                    <a:pt x="1177" y="256"/>
                  </a:lnTo>
                  <a:lnTo>
                    <a:pt x="1179" y="258"/>
                  </a:lnTo>
                  <a:lnTo>
                    <a:pt x="1181" y="258"/>
                  </a:lnTo>
                  <a:lnTo>
                    <a:pt x="1181" y="256"/>
                  </a:lnTo>
                  <a:lnTo>
                    <a:pt x="1179" y="258"/>
                  </a:lnTo>
                  <a:lnTo>
                    <a:pt x="1179" y="256"/>
                  </a:lnTo>
                  <a:lnTo>
                    <a:pt x="1177" y="256"/>
                  </a:lnTo>
                  <a:lnTo>
                    <a:pt x="1175" y="256"/>
                  </a:lnTo>
                  <a:lnTo>
                    <a:pt x="1175" y="254"/>
                  </a:lnTo>
                  <a:lnTo>
                    <a:pt x="1173" y="254"/>
                  </a:lnTo>
                  <a:lnTo>
                    <a:pt x="1173" y="252"/>
                  </a:lnTo>
                  <a:lnTo>
                    <a:pt x="1173" y="250"/>
                  </a:lnTo>
                  <a:lnTo>
                    <a:pt x="1171" y="250"/>
                  </a:lnTo>
                  <a:lnTo>
                    <a:pt x="1171" y="252"/>
                  </a:lnTo>
                  <a:lnTo>
                    <a:pt x="1169" y="252"/>
                  </a:lnTo>
                  <a:lnTo>
                    <a:pt x="1167" y="252"/>
                  </a:lnTo>
                  <a:lnTo>
                    <a:pt x="1165" y="252"/>
                  </a:lnTo>
                  <a:lnTo>
                    <a:pt x="1165" y="254"/>
                  </a:lnTo>
                  <a:lnTo>
                    <a:pt x="1164" y="254"/>
                  </a:lnTo>
                  <a:lnTo>
                    <a:pt x="1162" y="254"/>
                  </a:lnTo>
                  <a:lnTo>
                    <a:pt x="1160" y="254"/>
                  </a:lnTo>
                  <a:lnTo>
                    <a:pt x="1158" y="254"/>
                  </a:lnTo>
                  <a:lnTo>
                    <a:pt x="1158" y="256"/>
                  </a:lnTo>
                  <a:lnTo>
                    <a:pt x="1156" y="256"/>
                  </a:lnTo>
                  <a:lnTo>
                    <a:pt x="1154" y="256"/>
                  </a:lnTo>
                  <a:lnTo>
                    <a:pt x="1156" y="256"/>
                  </a:lnTo>
                  <a:lnTo>
                    <a:pt x="1154" y="256"/>
                  </a:lnTo>
                  <a:lnTo>
                    <a:pt x="1154" y="254"/>
                  </a:lnTo>
                  <a:lnTo>
                    <a:pt x="1154" y="252"/>
                  </a:lnTo>
                  <a:lnTo>
                    <a:pt x="1152" y="252"/>
                  </a:lnTo>
                  <a:lnTo>
                    <a:pt x="1150" y="252"/>
                  </a:lnTo>
                  <a:lnTo>
                    <a:pt x="1148" y="250"/>
                  </a:lnTo>
                  <a:lnTo>
                    <a:pt x="1150" y="248"/>
                  </a:lnTo>
                  <a:lnTo>
                    <a:pt x="1152" y="248"/>
                  </a:lnTo>
                  <a:lnTo>
                    <a:pt x="1152" y="246"/>
                  </a:lnTo>
                  <a:lnTo>
                    <a:pt x="1152" y="244"/>
                  </a:lnTo>
                  <a:lnTo>
                    <a:pt x="1154" y="244"/>
                  </a:lnTo>
                  <a:lnTo>
                    <a:pt x="1156" y="244"/>
                  </a:lnTo>
                  <a:lnTo>
                    <a:pt x="1158" y="244"/>
                  </a:lnTo>
                  <a:lnTo>
                    <a:pt x="1158" y="246"/>
                  </a:lnTo>
                  <a:lnTo>
                    <a:pt x="1160" y="246"/>
                  </a:lnTo>
                  <a:lnTo>
                    <a:pt x="1160" y="244"/>
                  </a:lnTo>
                  <a:lnTo>
                    <a:pt x="1160" y="246"/>
                  </a:lnTo>
                  <a:lnTo>
                    <a:pt x="1162" y="244"/>
                  </a:lnTo>
                  <a:lnTo>
                    <a:pt x="1165" y="244"/>
                  </a:lnTo>
                  <a:lnTo>
                    <a:pt x="1167" y="244"/>
                  </a:lnTo>
                  <a:lnTo>
                    <a:pt x="1169" y="244"/>
                  </a:lnTo>
                  <a:lnTo>
                    <a:pt x="1167" y="244"/>
                  </a:lnTo>
                  <a:lnTo>
                    <a:pt x="1165" y="242"/>
                  </a:lnTo>
                  <a:lnTo>
                    <a:pt x="1164" y="242"/>
                  </a:lnTo>
                  <a:lnTo>
                    <a:pt x="1162" y="242"/>
                  </a:lnTo>
                  <a:lnTo>
                    <a:pt x="1160" y="242"/>
                  </a:lnTo>
                  <a:lnTo>
                    <a:pt x="1158" y="242"/>
                  </a:lnTo>
                  <a:lnTo>
                    <a:pt x="1158" y="240"/>
                  </a:lnTo>
                  <a:lnTo>
                    <a:pt x="1158" y="238"/>
                  </a:lnTo>
                  <a:lnTo>
                    <a:pt x="1158" y="240"/>
                  </a:lnTo>
                  <a:lnTo>
                    <a:pt x="1156" y="240"/>
                  </a:lnTo>
                  <a:lnTo>
                    <a:pt x="1154" y="240"/>
                  </a:lnTo>
                  <a:lnTo>
                    <a:pt x="1152" y="238"/>
                  </a:lnTo>
                  <a:lnTo>
                    <a:pt x="1152" y="240"/>
                  </a:lnTo>
                  <a:lnTo>
                    <a:pt x="1150" y="238"/>
                  </a:lnTo>
                  <a:lnTo>
                    <a:pt x="1148" y="238"/>
                  </a:lnTo>
                  <a:lnTo>
                    <a:pt x="1148" y="237"/>
                  </a:lnTo>
                  <a:lnTo>
                    <a:pt x="1148" y="238"/>
                  </a:lnTo>
                  <a:lnTo>
                    <a:pt x="1146" y="238"/>
                  </a:lnTo>
                  <a:lnTo>
                    <a:pt x="1144" y="238"/>
                  </a:lnTo>
                  <a:lnTo>
                    <a:pt x="1142" y="238"/>
                  </a:lnTo>
                  <a:lnTo>
                    <a:pt x="1140" y="238"/>
                  </a:lnTo>
                  <a:lnTo>
                    <a:pt x="1139" y="237"/>
                  </a:lnTo>
                  <a:lnTo>
                    <a:pt x="1137" y="237"/>
                  </a:lnTo>
                  <a:lnTo>
                    <a:pt x="1137" y="235"/>
                  </a:lnTo>
                  <a:lnTo>
                    <a:pt x="1135" y="235"/>
                  </a:lnTo>
                  <a:lnTo>
                    <a:pt x="1137" y="235"/>
                  </a:lnTo>
                  <a:lnTo>
                    <a:pt x="1137" y="237"/>
                  </a:lnTo>
                  <a:lnTo>
                    <a:pt x="1135" y="235"/>
                  </a:lnTo>
                  <a:lnTo>
                    <a:pt x="1133" y="235"/>
                  </a:lnTo>
                  <a:lnTo>
                    <a:pt x="1131" y="235"/>
                  </a:lnTo>
                  <a:lnTo>
                    <a:pt x="1129" y="235"/>
                  </a:lnTo>
                  <a:lnTo>
                    <a:pt x="1129" y="233"/>
                  </a:lnTo>
                  <a:lnTo>
                    <a:pt x="1129" y="231"/>
                  </a:lnTo>
                  <a:lnTo>
                    <a:pt x="1129" y="229"/>
                  </a:lnTo>
                  <a:lnTo>
                    <a:pt x="1131" y="229"/>
                  </a:lnTo>
                  <a:lnTo>
                    <a:pt x="1131" y="227"/>
                  </a:lnTo>
                  <a:lnTo>
                    <a:pt x="1131" y="229"/>
                  </a:lnTo>
                  <a:lnTo>
                    <a:pt x="1133" y="229"/>
                  </a:lnTo>
                  <a:lnTo>
                    <a:pt x="1135" y="229"/>
                  </a:lnTo>
                  <a:lnTo>
                    <a:pt x="1137" y="229"/>
                  </a:lnTo>
                  <a:lnTo>
                    <a:pt x="1139" y="229"/>
                  </a:lnTo>
                  <a:lnTo>
                    <a:pt x="1140" y="229"/>
                  </a:lnTo>
                  <a:lnTo>
                    <a:pt x="1142" y="229"/>
                  </a:lnTo>
                  <a:lnTo>
                    <a:pt x="1142" y="231"/>
                  </a:lnTo>
                  <a:lnTo>
                    <a:pt x="1142" y="229"/>
                  </a:lnTo>
                  <a:lnTo>
                    <a:pt x="1144" y="231"/>
                  </a:lnTo>
                  <a:lnTo>
                    <a:pt x="1142" y="231"/>
                  </a:lnTo>
                  <a:lnTo>
                    <a:pt x="1142" y="233"/>
                  </a:lnTo>
                  <a:lnTo>
                    <a:pt x="1144" y="233"/>
                  </a:lnTo>
                  <a:lnTo>
                    <a:pt x="1142" y="231"/>
                  </a:lnTo>
                  <a:lnTo>
                    <a:pt x="1144" y="231"/>
                  </a:lnTo>
                  <a:lnTo>
                    <a:pt x="1142" y="229"/>
                  </a:lnTo>
                  <a:lnTo>
                    <a:pt x="1144" y="229"/>
                  </a:lnTo>
                  <a:lnTo>
                    <a:pt x="1142" y="227"/>
                  </a:lnTo>
                  <a:lnTo>
                    <a:pt x="1144" y="227"/>
                  </a:lnTo>
                  <a:lnTo>
                    <a:pt x="1142" y="227"/>
                  </a:lnTo>
                  <a:lnTo>
                    <a:pt x="1144" y="227"/>
                  </a:lnTo>
                  <a:lnTo>
                    <a:pt x="1144" y="225"/>
                  </a:lnTo>
                  <a:lnTo>
                    <a:pt x="1142" y="225"/>
                  </a:lnTo>
                  <a:lnTo>
                    <a:pt x="1142" y="223"/>
                  </a:lnTo>
                  <a:lnTo>
                    <a:pt x="1140" y="223"/>
                  </a:lnTo>
                  <a:lnTo>
                    <a:pt x="1140" y="221"/>
                  </a:lnTo>
                  <a:lnTo>
                    <a:pt x="1140" y="219"/>
                  </a:lnTo>
                  <a:lnTo>
                    <a:pt x="1140" y="217"/>
                  </a:lnTo>
                  <a:lnTo>
                    <a:pt x="1139" y="217"/>
                  </a:lnTo>
                  <a:lnTo>
                    <a:pt x="1137" y="217"/>
                  </a:lnTo>
                  <a:lnTo>
                    <a:pt x="1137" y="215"/>
                  </a:lnTo>
                  <a:lnTo>
                    <a:pt x="1135" y="215"/>
                  </a:lnTo>
                  <a:lnTo>
                    <a:pt x="1135" y="214"/>
                  </a:lnTo>
                  <a:lnTo>
                    <a:pt x="1133" y="214"/>
                  </a:lnTo>
                  <a:lnTo>
                    <a:pt x="1131" y="214"/>
                  </a:lnTo>
                  <a:lnTo>
                    <a:pt x="1129" y="214"/>
                  </a:lnTo>
                  <a:lnTo>
                    <a:pt x="1129" y="212"/>
                  </a:lnTo>
                  <a:lnTo>
                    <a:pt x="1127" y="212"/>
                  </a:lnTo>
                  <a:lnTo>
                    <a:pt x="1125" y="212"/>
                  </a:lnTo>
                  <a:lnTo>
                    <a:pt x="1127" y="212"/>
                  </a:lnTo>
                  <a:lnTo>
                    <a:pt x="1127" y="210"/>
                  </a:lnTo>
                  <a:lnTo>
                    <a:pt x="1125" y="210"/>
                  </a:lnTo>
                  <a:lnTo>
                    <a:pt x="1127" y="210"/>
                  </a:lnTo>
                  <a:lnTo>
                    <a:pt x="1127" y="208"/>
                  </a:lnTo>
                  <a:lnTo>
                    <a:pt x="1129" y="208"/>
                  </a:lnTo>
                  <a:lnTo>
                    <a:pt x="1129" y="206"/>
                  </a:lnTo>
                  <a:lnTo>
                    <a:pt x="1129" y="204"/>
                  </a:lnTo>
                  <a:lnTo>
                    <a:pt x="1127" y="204"/>
                  </a:lnTo>
                  <a:lnTo>
                    <a:pt x="1129" y="202"/>
                  </a:lnTo>
                  <a:lnTo>
                    <a:pt x="1129" y="204"/>
                  </a:lnTo>
                  <a:lnTo>
                    <a:pt x="1129" y="202"/>
                  </a:lnTo>
                  <a:lnTo>
                    <a:pt x="1129" y="200"/>
                  </a:lnTo>
                  <a:lnTo>
                    <a:pt x="1131" y="200"/>
                  </a:lnTo>
                  <a:lnTo>
                    <a:pt x="1133" y="200"/>
                  </a:lnTo>
                  <a:lnTo>
                    <a:pt x="1135" y="200"/>
                  </a:lnTo>
                  <a:lnTo>
                    <a:pt x="1137" y="200"/>
                  </a:lnTo>
                  <a:lnTo>
                    <a:pt x="1139" y="200"/>
                  </a:lnTo>
                  <a:lnTo>
                    <a:pt x="1140" y="200"/>
                  </a:lnTo>
                  <a:lnTo>
                    <a:pt x="1142" y="200"/>
                  </a:lnTo>
                  <a:lnTo>
                    <a:pt x="1140" y="200"/>
                  </a:lnTo>
                  <a:lnTo>
                    <a:pt x="1142" y="200"/>
                  </a:lnTo>
                  <a:lnTo>
                    <a:pt x="1142" y="202"/>
                  </a:lnTo>
                  <a:lnTo>
                    <a:pt x="1144" y="202"/>
                  </a:lnTo>
                  <a:lnTo>
                    <a:pt x="1144" y="204"/>
                  </a:lnTo>
                  <a:lnTo>
                    <a:pt x="1144" y="206"/>
                  </a:lnTo>
                  <a:lnTo>
                    <a:pt x="1146" y="206"/>
                  </a:lnTo>
                  <a:lnTo>
                    <a:pt x="1146" y="208"/>
                  </a:lnTo>
                  <a:lnTo>
                    <a:pt x="1148" y="208"/>
                  </a:lnTo>
                  <a:lnTo>
                    <a:pt x="1148" y="210"/>
                  </a:lnTo>
                  <a:lnTo>
                    <a:pt x="1148" y="208"/>
                  </a:lnTo>
                  <a:lnTo>
                    <a:pt x="1150" y="210"/>
                  </a:lnTo>
                  <a:lnTo>
                    <a:pt x="1150" y="212"/>
                  </a:lnTo>
                  <a:lnTo>
                    <a:pt x="1152" y="212"/>
                  </a:lnTo>
                  <a:lnTo>
                    <a:pt x="1154" y="214"/>
                  </a:lnTo>
                  <a:lnTo>
                    <a:pt x="1154" y="215"/>
                  </a:lnTo>
                  <a:lnTo>
                    <a:pt x="1156" y="217"/>
                  </a:lnTo>
                  <a:lnTo>
                    <a:pt x="1156" y="219"/>
                  </a:lnTo>
                  <a:lnTo>
                    <a:pt x="1158" y="219"/>
                  </a:lnTo>
                  <a:lnTo>
                    <a:pt x="1158" y="221"/>
                  </a:lnTo>
                  <a:lnTo>
                    <a:pt x="1160" y="221"/>
                  </a:lnTo>
                  <a:lnTo>
                    <a:pt x="1160" y="223"/>
                  </a:lnTo>
                  <a:lnTo>
                    <a:pt x="1162" y="225"/>
                  </a:lnTo>
                  <a:lnTo>
                    <a:pt x="1165" y="227"/>
                  </a:lnTo>
                  <a:lnTo>
                    <a:pt x="1167" y="227"/>
                  </a:lnTo>
                  <a:lnTo>
                    <a:pt x="1165" y="227"/>
                  </a:lnTo>
                  <a:lnTo>
                    <a:pt x="1162" y="225"/>
                  </a:lnTo>
                  <a:lnTo>
                    <a:pt x="1160" y="223"/>
                  </a:lnTo>
                  <a:lnTo>
                    <a:pt x="1160" y="221"/>
                  </a:lnTo>
                  <a:lnTo>
                    <a:pt x="1162" y="223"/>
                  </a:lnTo>
                  <a:lnTo>
                    <a:pt x="1164" y="223"/>
                  </a:lnTo>
                  <a:lnTo>
                    <a:pt x="1164" y="221"/>
                  </a:lnTo>
                  <a:lnTo>
                    <a:pt x="1165" y="221"/>
                  </a:lnTo>
                  <a:lnTo>
                    <a:pt x="1167" y="221"/>
                  </a:lnTo>
                  <a:lnTo>
                    <a:pt x="1169" y="221"/>
                  </a:lnTo>
                  <a:lnTo>
                    <a:pt x="1171" y="221"/>
                  </a:lnTo>
                  <a:lnTo>
                    <a:pt x="1171" y="219"/>
                  </a:lnTo>
                  <a:lnTo>
                    <a:pt x="1173" y="219"/>
                  </a:lnTo>
                  <a:lnTo>
                    <a:pt x="1173" y="217"/>
                  </a:lnTo>
                  <a:lnTo>
                    <a:pt x="1171" y="217"/>
                  </a:lnTo>
                  <a:lnTo>
                    <a:pt x="1173" y="217"/>
                  </a:lnTo>
                  <a:lnTo>
                    <a:pt x="1173" y="215"/>
                  </a:lnTo>
                  <a:lnTo>
                    <a:pt x="1173" y="217"/>
                  </a:lnTo>
                  <a:lnTo>
                    <a:pt x="1171" y="217"/>
                  </a:lnTo>
                  <a:lnTo>
                    <a:pt x="1171" y="215"/>
                  </a:lnTo>
                  <a:lnTo>
                    <a:pt x="1171" y="217"/>
                  </a:lnTo>
                  <a:lnTo>
                    <a:pt x="1171" y="215"/>
                  </a:lnTo>
                  <a:lnTo>
                    <a:pt x="1171" y="214"/>
                  </a:lnTo>
                  <a:lnTo>
                    <a:pt x="1171" y="212"/>
                  </a:lnTo>
                  <a:lnTo>
                    <a:pt x="1169" y="212"/>
                  </a:lnTo>
                  <a:lnTo>
                    <a:pt x="1167" y="212"/>
                  </a:lnTo>
                  <a:lnTo>
                    <a:pt x="1165" y="212"/>
                  </a:lnTo>
                  <a:lnTo>
                    <a:pt x="1164" y="212"/>
                  </a:lnTo>
                  <a:lnTo>
                    <a:pt x="1164" y="210"/>
                  </a:lnTo>
                  <a:lnTo>
                    <a:pt x="1162" y="210"/>
                  </a:lnTo>
                  <a:lnTo>
                    <a:pt x="1162" y="212"/>
                  </a:lnTo>
                  <a:lnTo>
                    <a:pt x="1162" y="210"/>
                  </a:lnTo>
                  <a:lnTo>
                    <a:pt x="1160" y="210"/>
                  </a:lnTo>
                  <a:lnTo>
                    <a:pt x="1160" y="208"/>
                  </a:lnTo>
                  <a:lnTo>
                    <a:pt x="1158" y="208"/>
                  </a:lnTo>
                  <a:lnTo>
                    <a:pt x="1160" y="208"/>
                  </a:lnTo>
                  <a:lnTo>
                    <a:pt x="1160" y="206"/>
                  </a:lnTo>
                  <a:lnTo>
                    <a:pt x="1160" y="204"/>
                  </a:lnTo>
                  <a:lnTo>
                    <a:pt x="1158" y="206"/>
                  </a:lnTo>
                  <a:lnTo>
                    <a:pt x="1160" y="206"/>
                  </a:lnTo>
                  <a:lnTo>
                    <a:pt x="1160" y="208"/>
                  </a:lnTo>
                  <a:lnTo>
                    <a:pt x="1158" y="208"/>
                  </a:lnTo>
                  <a:lnTo>
                    <a:pt x="1156" y="206"/>
                  </a:lnTo>
                  <a:lnTo>
                    <a:pt x="1154" y="206"/>
                  </a:lnTo>
                  <a:lnTo>
                    <a:pt x="1156" y="206"/>
                  </a:lnTo>
                  <a:lnTo>
                    <a:pt x="1154" y="204"/>
                  </a:lnTo>
                  <a:lnTo>
                    <a:pt x="1152" y="204"/>
                  </a:lnTo>
                  <a:lnTo>
                    <a:pt x="1152" y="202"/>
                  </a:lnTo>
                  <a:lnTo>
                    <a:pt x="1152" y="204"/>
                  </a:lnTo>
                  <a:lnTo>
                    <a:pt x="1152" y="202"/>
                  </a:lnTo>
                  <a:lnTo>
                    <a:pt x="1152" y="200"/>
                  </a:lnTo>
                  <a:lnTo>
                    <a:pt x="1152" y="198"/>
                  </a:lnTo>
                  <a:lnTo>
                    <a:pt x="1150" y="198"/>
                  </a:lnTo>
                  <a:lnTo>
                    <a:pt x="1148" y="198"/>
                  </a:lnTo>
                  <a:lnTo>
                    <a:pt x="1146" y="200"/>
                  </a:lnTo>
                  <a:lnTo>
                    <a:pt x="1146" y="198"/>
                  </a:lnTo>
                  <a:lnTo>
                    <a:pt x="1150" y="198"/>
                  </a:lnTo>
                  <a:lnTo>
                    <a:pt x="1150" y="196"/>
                  </a:lnTo>
                  <a:lnTo>
                    <a:pt x="1146" y="196"/>
                  </a:lnTo>
                  <a:lnTo>
                    <a:pt x="1144" y="196"/>
                  </a:lnTo>
                  <a:lnTo>
                    <a:pt x="1144" y="198"/>
                  </a:lnTo>
                  <a:lnTo>
                    <a:pt x="1144" y="196"/>
                  </a:lnTo>
                  <a:lnTo>
                    <a:pt x="1142" y="196"/>
                  </a:lnTo>
                  <a:lnTo>
                    <a:pt x="1140" y="194"/>
                  </a:lnTo>
                  <a:lnTo>
                    <a:pt x="1142" y="192"/>
                  </a:lnTo>
                  <a:lnTo>
                    <a:pt x="1144" y="192"/>
                  </a:lnTo>
                  <a:lnTo>
                    <a:pt x="1142" y="192"/>
                  </a:lnTo>
                  <a:lnTo>
                    <a:pt x="1142" y="194"/>
                  </a:lnTo>
                  <a:lnTo>
                    <a:pt x="1146" y="194"/>
                  </a:lnTo>
                  <a:lnTo>
                    <a:pt x="1150" y="192"/>
                  </a:lnTo>
                  <a:lnTo>
                    <a:pt x="1154" y="192"/>
                  </a:lnTo>
                  <a:lnTo>
                    <a:pt x="1154" y="190"/>
                  </a:lnTo>
                  <a:lnTo>
                    <a:pt x="1146" y="192"/>
                  </a:lnTo>
                  <a:lnTo>
                    <a:pt x="1144" y="192"/>
                  </a:lnTo>
                  <a:lnTo>
                    <a:pt x="1144" y="190"/>
                  </a:lnTo>
                  <a:lnTo>
                    <a:pt x="1146" y="190"/>
                  </a:lnTo>
                  <a:lnTo>
                    <a:pt x="1144" y="189"/>
                  </a:lnTo>
                  <a:lnTo>
                    <a:pt x="1146" y="189"/>
                  </a:lnTo>
                  <a:lnTo>
                    <a:pt x="1146" y="190"/>
                  </a:lnTo>
                  <a:lnTo>
                    <a:pt x="1148" y="190"/>
                  </a:lnTo>
                  <a:lnTo>
                    <a:pt x="1154" y="189"/>
                  </a:lnTo>
                  <a:lnTo>
                    <a:pt x="1156" y="189"/>
                  </a:lnTo>
                  <a:lnTo>
                    <a:pt x="1156" y="192"/>
                  </a:lnTo>
                  <a:lnTo>
                    <a:pt x="1158" y="192"/>
                  </a:lnTo>
                  <a:lnTo>
                    <a:pt x="1181" y="187"/>
                  </a:lnTo>
                  <a:lnTo>
                    <a:pt x="1183" y="185"/>
                  </a:lnTo>
                  <a:lnTo>
                    <a:pt x="1185" y="185"/>
                  </a:lnTo>
                  <a:lnTo>
                    <a:pt x="1187" y="185"/>
                  </a:lnTo>
                  <a:lnTo>
                    <a:pt x="1188" y="185"/>
                  </a:lnTo>
                  <a:lnTo>
                    <a:pt x="1190" y="187"/>
                  </a:lnTo>
                  <a:lnTo>
                    <a:pt x="1192" y="187"/>
                  </a:lnTo>
                  <a:lnTo>
                    <a:pt x="1194" y="189"/>
                  </a:lnTo>
                  <a:lnTo>
                    <a:pt x="1202" y="192"/>
                  </a:lnTo>
                  <a:lnTo>
                    <a:pt x="1219" y="204"/>
                  </a:lnTo>
                  <a:lnTo>
                    <a:pt x="1221" y="206"/>
                  </a:lnTo>
                  <a:lnTo>
                    <a:pt x="1223" y="206"/>
                  </a:lnTo>
                  <a:lnTo>
                    <a:pt x="1225" y="208"/>
                  </a:lnTo>
                  <a:lnTo>
                    <a:pt x="1225" y="210"/>
                  </a:lnTo>
                  <a:lnTo>
                    <a:pt x="1227" y="212"/>
                  </a:lnTo>
                  <a:lnTo>
                    <a:pt x="1229" y="212"/>
                  </a:lnTo>
                  <a:lnTo>
                    <a:pt x="1229" y="214"/>
                  </a:lnTo>
                  <a:lnTo>
                    <a:pt x="1231" y="214"/>
                  </a:lnTo>
                  <a:lnTo>
                    <a:pt x="1231" y="215"/>
                  </a:lnTo>
                  <a:lnTo>
                    <a:pt x="1231" y="214"/>
                  </a:lnTo>
                  <a:lnTo>
                    <a:pt x="1231" y="212"/>
                  </a:lnTo>
                  <a:lnTo>
                    <a:pt x="1229" y="210"/>
                  </a:lnTo>
                  <a:lnTo>
                    <a:pt x="1231" y="210"/>
                  </a:lnTo>
                  <a:lnTo>
                    <a:pt x="1233" y="214"/>
                  </a:lnTo>
                  <a:lnTo>
                    <a:pt x="1235" y="215"/>
                  </a:lnTo>
                  <a:lnTo>
                    <a:pt x="1235" y="217"/>
                  </a:lnTo>
                  <a:lnTo>
                    <a:pt x="1235" y="215"/>
                  </a:lnTo>
                  <a:lnTo>
                    <a:pt x="1235" y="214"/>
                  </a:lnTo>
                  <a:lnTo>
                    <a:pt x="1236" y="214"/>
                  </a:lnTo>
                  <a:lnTo>
                    <a:pt x="1238" y="214"/>
                  </a:lnTo>
                  <a:lnTo>
                    <a:pt x="1238" y="212"/>
                  </a:lnTo>
                  <a:lnTo>
                    <a:pt x="1238" y="214"/>
                  </a:lnTo>
                  <a:lnTo>
                    <a:pt x="1240" y="212"/>
                  </a:lnTo>
                  <a:lnTo>
                    <a:pt x="1242" y="212"/>
                  </a:lnTo>
                  <a:lnTo>
                    <a:pt x="1242" y="210"/>
                  </a:lnTo>
                  <a:lnTo>
                    <a:pt x="1244" y="212"/>
                  </a:lnTo>
                  <a:lnTo>
                    <a:pt x="1244" y="210"/>
                  </a:lnTo>
                  <a:lnTo>
                    <a:pt x="1246" y="208"/>
                  </a:lnTo>
                  <a:lnTo>
                    <a:pt x="1248" y="208"/>
                  </a:lnTo>
                  <a:lnTo>
                    <a:pt x="1250" y="208"/>
                  </a:lnTo>
                  <a:lnTo>
                    <a:pt x="1250" y="206"/>
                  </a:lnTo>
                  <a:lnTo>
                    <a:pt x="1250" y="204"/>
                  </a:lnTo>
                  <a:lnTo>
                    <a:pt x="1252" y="204"/>
                  </a:lnTo>
                  <a:lnTo>
                    <a:pt x="1254" y="204"/>
                  </a:lnTo>
                  <a:lnTo>
                    <a:pt x="1254" y="202"/>
                  </a:lnTo>
                  <a:lnTo>
                    <a:pt x="1256" y="202"/>
                  </a:lnTo>
                  <a:lnTo>
                    <a:pt x="1256" y="204"/>
                  </a:lnTo>
                  <a:lnTo>
                    <a:pt x="1258" y="206"/>
                  </a:lnTo>
                  <a:lnTo>
                    <a:pt x="1256" y="206"/>
                  </a:lnTo>
                  <a:lnTo>
                    <a:pt x="1258" y="206"/>
                  </a:lnTo>
                  <a:lnTo>
                    <a:pt x="1256" y="204"/>
                  </a:lnTo>
                  <a:lnTo>
                    <a:pt x="1256" y="202"/>
                  </a:lnTo>
                  <a:lnTo>
                    <a:pt x="1258" y="200"/>
                  </a:lnTo>
                  <a:lnTo>
                    <a:pt x="1258" y="202"/>
                  </a:lnTo>
                  <a:lnTo>
                    <a:pt x="1259" y="204"/>
                  </a:lnTo>
                  <a:lnTo>
                    <a:pt x="1261" y="204"/>
                  </a:lnTo>
                  <a:lnTo>
                    <a:pt x="1259" y="204"/>
                  </a:lnTo>
                  <a:lnTo>
                    <a:pt x="1259" y="202"/>
                  </a:lnTo>
                  <a:lnTo>
                    <a:pt x="1258" y="200"/>
                  </a:lnTo>
                  <a:lnTo>
                    <a:pt x="1259" y="200"/>
                  </a:lnTo>
                  <a:lnTo>
                    <a:pt x="1261" y="200"/>
                  </a:lnTo>
                  <a:lnTo>
                    <a:pt x="1261" y="202"/>
                  </a:lnTo>
                  <a:lnTo>
                    <a:pt x="1261" y="204"/>
                  </a:lnTo>
                  <a:lnTo>
                    <a:pt x="1263" y="204"/>
                  </a:lnTo>
                  <a:lnTo>
                    <a:pt x="1261" y="204"/>
                  </a:lnTo>
                  <a:lnTo>
                    <a:pt x="1261" y="200"/>
                  </a:lnTo>
                  <a:lnTo>
                    <a:pt x="1261" y="198"/>
                  </a:lnTo>
                  <a:lnTo>
                    <a:pt x="1261" y="200"/>
                  </a:lnTo>
                  <a:lnTo>
                    <a:pt x="1263" y="198"/>
                  </a:lnTo>
                  <a:lnTo>
                    <a:pt x="1265" y="202"/>
                  </a:lnTo>
                  <a:lnTo>
                    <a:pt x="1263" y="198"/>
                  </a:lnTo>
                  <a:lnTo>
                    <a:pt x="1265" y="198"/>
                  </a:lnTo>
                  <a:lnTo>
                    <a:pt x="1267" y="202"/>
                  </a:lnTo>
                  <a:lnTo>
                    <a:pt x="1267" y="204"/>
                  </a:lnTo>
                  <a:lnTo>
                    <a:pt x="1269" y="206"/>
                  </a:lnTo>
                  <a:lnTo>
                    <a:pt x="1267" y="204"/>
                  </a:lnTo>
                  <a:lnTo>
                    <a:pt x="1267" y="202"/>
                  </a:lnTo>
                  <a:lnTo>
                    <a:pt x="1267" y="200"/>
                  </a:lnTo>
                  <a:lnTo>
                    <a:pt x="1265" y="198"/>
                  </a:lnTo>
                  <a:lnTo>
                    <a:pt x="1267" y="198"/>
                  </a:lnTo>
                  <a:lnTo>
                    <a:pt x="1267" y="196"/>
                  </a:lnTo>
                  <a:lnTo>
                    <a:pt x="1267" y="198"/>
                  </a:lnTo>
                  <a:lnTo>
                    <a:pt x="1269" y="196"/>
                  </a:lnTo>
                  <a:lnTo>
                    <a:pt x="1269" y="202"/>
                  </a:lnTo>
                  <a:lnTo>
                    <a:pt x="1271" y="202"/>
                  </a:lnTo>
                  <a:lnTo>
                    <a:pt x="1269" y="202"/>
                  </a:lnTo>
                  <a:lnTo>
                    <a:pt x="1269" y="198"/>
                  </a:lnTo>
                  <a:lnTo>
                    <a:pt x="1269" y="196"/>
                  </a:lnTo>
                  <a:lnTo>
                    <a:pt x="1269" y="194"/>
                  </a:lnTo>
                  <a:lnTo>
                    <a:pt x="1271" y="194"/>
                  </a:lnTo>
                  <a:lnTo>
                    <a:pt x="1271" y="196"/>
                  </a:lnTo>
                  <a:lnTo>
                    <a:pt x="1273" y="200"/>
                  </a:lnTo>
                  <a:lnTo>
                    <a:pt x="1271" y="198"/>
                  </a:lnTo>
                  <a:lnTo>
                    <a:pt x="1271" y="194"/>
                  </a:lnTo>
                  <a:lnTo>
                    <a:pt x="1273" y="194"/>
                  </a:lnTo>
                  <a:lnTo>
                    <a:pt x="1273" y="196"/>
                  </a:lnTo>
                  <a:lnTo>
                    <a:pt x="1273" y="194"/>
                  </a:lnTo>
                  <a:lnTo>
                    <a:pt x="1273" y="196"/>
                  </a:lnTo>
                  <a:lnTo>
                    <a:pt x="1275" y="200"/>
                  </a:lnTo>
                  <a:lnTo>
                    <a:pt x="1273" y="194"/>
                  </a:lnTo>
                  <a:lnTo>
                    <a:pt x="1275" y="194"/>
                  </a:lnTo>
                  <a:lnTo>
                    <a:pt x="1277" y="194"/>
                  </a:lnTo>
                  <a:lnTo>
                    <a:pt x="1277" y="196"/>
                  </a:lnTo>
                  <a:lnTo>
                    <a:pt x="1277" y="198"/>
                  </a:lnTo>
                  <a:lnTo>
                    <a:pt x="1277" y="194"/>
                  </a:lnTo>
                  <a:lnTo>
                    <a:pt x="1279" y="192"/>
                  </a:lnTo>
                  <a:lnTo>
                    <a:pt x="1279" y="194"/>
                  </a:lnTo>
                  <a:lnTo>
                    <a:pt x="1281" y="200"/>
                  </a:lnTo>
                  <a:lnTo>
                    <a:pt x="1279" y="192"/>
                  </a:lnTo>
                  <a:lnTo>
                    <a:pt x="1281" y="192"/>
                  </a:lnTo>
                  <a:lnTo>
                    <a:pt x="1281" y="190"/>
                  </a:lnTo>
                  <a:lnTo>
                    <a:pt x="1281" y="192"/>
                  </a:lnTo>
                  <a:lnTo>
                    <a:pt x="1283" y="194"/>
                  </a:lnTo>
                  <a:lnTo>
                    <a:pt x="1281" y="190"/>
                  </a:lnTo>
                  <a:lnTo>
                    <a:pt x="1283" y="190"/>
                  </a:lnTo>
                  <a:lnTo>
                    <a:pt x="1284" y="190"/>
                  </a:lnTo>
                  <a:lnTo>
                    <a:pt x="1283" y="190"/>
                  </a:lnTo>
                  <a:lnTo>
                    <a:pt x="1284" y="189"/>
                  </a:lnTo>
                  <a:lnTo>
                    <a:pt x="1286" y="190"/>
                  </a:lnTo>
                  <a:lnTo>
                    <a:pt x="1286" y="189"/>
                  </a:lnTo>
                  <a:lnTo>
                    <a:pt x="1288" y="189"/>
                  </a:lnTo>
                  <a:lnTo>
                    <a:pt x="1290" y="189"/>
                  </a:lnTo>
                  <a:lnTo>
                    <a:pt x="1292" y="189"/>
                  </a:lnTo>
                  <a:lnTo>
                    <a:pt x="1294" y="189"/>
                  </a:lnTo>
                  <a:lnTo>
                    <a:pt x="1294" y="187"/>
                  </a:lnTo>
                  <a:lnTo>
                    <a:pt x="1296" y="187"/>
                  </a:lnTo>
                  <a:lnTo>
                    <a:pt x="1298" y="187"/>
                  </a:lnTo>
                  <a:lnTo>
                    <a:pt x="1300" y="187"/>
                  </a:lnTo>
                  <a:lnTo>
                    <a:pt x="1300" y="185"/>
                  </a:lnTo>
                  <a:lnTo>
                    <a:pt x="1300" y="187"/>
                  </a:lnTo>
                  <a:lnTo>
                    <a:pt x="1300" y="185"/>
                  </a:lnTo>
                  <a:lnTo>
                    <a:pt x="1302" y="185"/>
                  </a:lnTo>
                  <a:lnTo>
                    <a:pt x="1304" y="185"/>
                  </a:lnTo>
                  <a:lnTo>
                    <a:pt x="1306" y="187"/>
                  </a:lnTo>
                  <a:lnTo>
                    <a:pt x="1306" y="185"/>
                  </a:lnTo>
                  <a:lnTo>
                    <a:pt x="1307" y="185"/>
                  </a:lnTo>
                  <a:lnTo>
                    <a:pt x="1309" y="185"/>
                  </a:lnTo>
                  <a:lnTo>
                    <a:pt x="1311" y="185"/>
                  </a:lnTo>
                  <a:lnTo>
                    <a:pt x="1313" y="185"/>
                  </a:lnTo>
                  <a:lnTo>
                    <a:pt x="1315" y="185"/>
                  </a:lnTo>
                  <a:lnTo>
                    <a:pt x="1317" y="185"/>
                  </a:lnTo>
                  <a:lnTo>
                    <a:pt x="1319" y="185"/>
                  </a:lnTo>
                  <a:lnTo>
                    <a:pt x="1321" y="185"/>
                  </a:lnTo>
                  <a:lnTo>
                    <a:pt x="1323" y="185"/>
                  </a:lnTo>
                  <a:lnTo>
                    <a:pt x="1323" y="183"/>
                  </a:lnTo>
                  <a:lnTo>
                    <a:pt x="1325" y="183"/>
                  </a:lnTo>
                  <a:lnTo>
                    <a:pt x="1327" y="183"/>
                  </a:lnTo>
                  <a:lnTo>
                    <a:pt x="1327" y="185"/>
                  </a:lnTo>
                  <a:lnTo>
                    <a:pt x="1329" y="185"/>
                  </a:lnTo>
                  <a:lnTo>
                    <a:pt x="1329" y="183"/>
                  </a:lnTo>
                  <a:lnTo>
                    <a:pt x="1331" y="183"/>
                  </a:lnTo>
                  <a:lnTo>
                    <a:pt x="1332" y="183"/>
                  </a:lnTo>
                  <a:lnTo>
                    <a:pt x="1334" y="183"/>
                  </a:lnTo>
                  <a:lnTo>
                    <a:pt x="1336" y="183"/>
                  </a:lnTo>
                  <a:lnTo>
                    <a:pt x="1338" y="183"/>
                  </a:lnTo>
                  <a:lnTo>
                    <a:pt x="1340" y="183"/>
                  </a:lnTo>
                  <a:lnTo>
                    <a:pt x="1342" y="183"/>
                  </a:lnTo>
                  <a:lnTo>
                    <a:pt x="1344" y="183"/>
                  </a:lnTo>
                  <a:lnTo>
                    <a:pt x="1346" y="183"/>
                  </a:lnTo>
                  <a:lnTo>
                    <a:pt x="1348" y="183"/>
                  </a:lnTo>
                  <a:lnTo>
                    <a:pt x="1350" y="183"/>
                  </a:lnTo>
                  <a:lnTo>
                    <a:pt x="1352" y="183"/>
                  </a:lnTo>
                  <a:lnTo>
                    <a:pt x="1352" y="181"/>
                  </a:lnTo>
                  <a:lnTo>
                    <a:pt x="1354" y="181"/>
                  </a:lnTo>
                  <a:lnTo>
                    <a:pt x="1354" y="183"/>
                  </a:lnTo>
                  <a:lnTo>
                    <a:pt x="1354" y="181"/>
                  </a:lnTo>
                  <a:lnTo>
                    <a:pt x="1355" y="181"/>
                  </a:lnTo>
                  <a:lnTo>
                    <a:pt x="1357" y="183"/>
                  </a:lnTo>
                  <a:lnTo>
                    <a:pt x="1357" y="181"/>
                  </a:lnTo>
                  <a:lnTo>
                    <a:pt x="1359" y="181"/>
                  </a:lnTo>
                  <a:lnTo>
                    <a:pt x="1361" y="181"/>
                  </a:lnTo>
                  <a:lnTo>
                    <a:pt x="1363" y="181"/>
                  </a:lnTo>
                  <a:lnTo>
                    <a:pt x="1365" y="181"/>
                  </a:lnTo>
                  <a:lnTo>
                    <a:pt x="1367" y="181"/>
                  </a:lnTo>
                  <a:lnTo>
                    <a:pt x="1367" y="179"/>
                  </a:lnTo>
                  <a:lnTo>
                    <a:pt x="1369" y="179"/>
                  </a:lnTo>
                  <a:lnTo>
                    <a:pt x="1369" y="181"/>
                  </a:lnTo>
                  <a:lnTo>
                    <a:pt x="1371" y="181"/>
                  </a:lnTo>
                  <a:lnTo>
                    <a:pt x="1371" y="179"/>
                  </a:lnTo>
                  <a:lnTo>
                    <a:pt x="1373" y="181"/>
                  </a:lnTo>
                  <a:lnTo>
                    <a:pt x="1373" y="179"/>
                  </a:lnTo>
                  <a:lnTo>
                    <a:pt x="1375" y="179"/>
                  </a:lnTo>
                  <a:lnTo>
                    <a:pt x="1377" y="179"/>
                  </a:lnTo>
                  <a:lnTo>
                    <a:pt x="1378" y="179"/>
                  </a:lnTo>
                  <a:lnTo>
                    <a:pt x="1380" y="179"/>
                  </a:lnTo>
                  <a:lnTo>
                    <a:pt x="1384" y="179"/>
                  </a:lnTo>
                  <a:lnTo>
                    <a:pt x="1388" y="179"/>
                  </a:lnTo>
                  <a:lnTo>
                    <a:pt x="1390" y="175"/>
                  </a:lnTo>
                  <a:lnTo>
                    <a:pt x="1392" y="175"/>
                  </a:lnTo>
                  <a:lnTo>
                    <a:pt x="1392" y="177"/>
                  </a:lnTo>
                  <a:lnTo>
                    <a:pt x="1392" y="175"/>
                  </a:lnTo>
                  <a:lnTo>
                    <a:pt x="1392" y="177"/>
                  </a:lnTo>
                  <a:lnTo>
                    <a:pt x="1394" y="177"/>
                  </a:lnTo>
                  <a:lnTo>
                    <a:pt x="1394" y="175"/>
                  </a:lnTo>
                  <a:lnTo>
                    <a:pt x="1396" y="175"/>
                  </a:lnTo>
                  <a:lnTo>
                    <a:pt x="1398" y="175"/>
                  </a:lnTo>
                  <a:lnTo>
                    <a:pt x="1400" y="175"/>
                  </a:lnTo>
                  <a:lnTo>
                    <a:pt x="1402" y="175"/>
                  </a:lnTo>
                  <a:lnTo>
                    <a:pt x="1403" y="175"/>
                  </a:lnTo>
                  <a:lnTo>
                    <a:pt x="1405" y="175"/>
                  </a:lnTo>
                  <a:lnTo>
                    <a:pt x="1407" y="175"/>
                  </a:lnTo>
                  <a:lnTo>
                    <a:pt x="1409" y="175"/>
                  </a:lnTo>
                  <a:lnTo>
                    <a:pt x="1411" y="175"/>
                  </a:lnTo>
                  <a:lnTo>
                    <a:pt x="1411" y="177"/>
                  </a:lnTo>
                  <a:lnTo>
                    <a:pt x="1413" y="175"/>
                  </a:lnTo>
                  <a:lnTo>
                    <a:pt x="1415" y="175"/>
                  </a:lnTo>
                  <a:lnTo>
                    <a:pt x="1417" y="175"/>
                  </a:lnTo>
                  <a:lnTo>
                    <a:pt x="1421" y="175"/>
                  </a:lnTo>
                  <a:lnTo>
                    <a:pt x="1423" y="175"/>
                  </a:lnTo>
                  <a:lnTo>
                    <a:pt x="1423" y="173"/>
                  </a:lnTo>
                  <a:lnTo>
                    <a:pt x="1423" y="175"/>
                  </a:lnTo>
                  <a:lnTo>
                    <a:pt x="1425" y="175"/>
                  </a:lnTo>
                  <a:lnTo>
                    <a:pt x="1426" y="175"/>
                  </a:lnTo>
                  <a:lnTo>
                    <a:pt x="1426" y="177"/>
                  </a:lnTo>
                  <a:lnTo>
                    <a:pt x="1426" y="179"/>
                  </a:lnTo>
                  <a:lnTo>
                    <a:pt x="1426" y="177"/>
                  </a:lnTo>
                  <a:lnTo>
                    <a:pt x="1426" y="175"/>
                  </a:lnTo>
                  <a:lnTo>
                    <a:pt x="1428" y="175"/>
                  </a:lnTo>
                  <a:lnTo>
                    <a:pt x="1426" y="175"/>
                  </a:lnTo>
                  <a:lnTo>
                    <a:pt x="1432" y="173"/>
                  </a:lnTo>
                  <a:lnTo>
                    <a:pt x="1432" y="175"/>
                  </a:lnTo>
                  <a:lnTo>
                    <a:pt x="1432" y="173"/>
                  </a:lnTo>
                  <a:lnTo>
                    <a:pt x="1434" y="173"/>
                  </a:lnTo>
                  <a:lnTo>
                    <a:pt x="1432" y="173"/>
                  </a:lnTo>
                  <a:lnTo>
                    <a:pt x="1434" y="173"/>
                  </a:lnTo>
                  <a:lnTo>
                    <a:pt x="1432" y="173"/>
                  </a:lnTo>
                  <a:lnTo>
                    <a:pt x="1432" y="175"/>
                  </a:lnTo>
                  <a:lnTo>
                    <a:pt x="1434" y="175"/>
                  </a:lnTo>
                  <a:lnTo>
                    <a:pt x="1434" y="177"/>
                  </a:lnTo>
                  <a:lnTo>
                    <a:pt x="1434" y="175"/>
                  </a:lnTo>
                  <a:lnTo>
                    <a:pt x="1434" y="173"/>
                  </a:lnTo>
                  <a:lnTo>
                    <a:pt x="1436" y="173"/>
                  </a:lnTo>
                  <a:lnTo>
                    <a:pt x="1438" y="171"/>
                  </a:lnTo>
                  <a:lnTo>
                    <a:pt x="1438" y="173"/>
                  </a:lnTo>
                  <a:lnTo>
                    <a:pt x="1438" y="171"/>
                  </a:lnTo>
                  <a:lnTo>
                    <a:pt x="1440" y="171"/>
                  </a:lnTo>
                  <a:lnTo>
                    <a:pt x="1442" y="171"/>
                  </a:lnTo>
                  <a:lnTo>
                    <a:pt x="1442" y="173"/>
                  </a:lnTo>
                  <a:lnTo>
                    <a:pt x="1442" y="175"/>
                  </a:lnTo>
                  <a:lnTo>
                    <a:pt x="1442" y="173"/>
                  </a:lnTo>
                  <a:lnTo>
                    <a:pt x="1444" y="171"/>
                  </a:lnTo>
                  <a:lnTo>
                    <a:pt x="1444" y="175"/>
                  </a:lnTo>
                  <a:lnTo>
                    <a:pt x="1444" y="171"/>
                  </a:lnTo>
                  <a:lnTo>
                    <a:pt x="1446" y="171"/>
                  </a:lnTo>
                  <a:lnTo>
                    <a:pt x="1448" y="173"/>
                  </a:lnTo>
                  <a:lnTo>
                    <a:pt x="1448" y="171"/>
                  </a:lnTo>
                  <a:lnTo>
                    <a:pt x="1450" y="171"/>
                  </a:lnTo>
                  <a:lnTo>
                    <a:pt x="1450" y="173"/>
                  </a:lnTo>
                  <a:lnTo>
                    <a:pt x="1450" y="171"/>
                  </a:lnTo>
                  <a:lnTo>
                    <a:pt x="1451" y="169"/>
                  </a:lnTo>
                  <a:lnTo>
                    <a:pt x="1451" y="171"/>
                  </a:lnTo>
                  <a:lnTo>
                    <a:pt x="1453" y="171"/>
                  </a:lnTo>
                  <a:lnTo>
                    <a:pt x="1453" y="169"/>
                  </a:lnTo>
                  <a:lnTo>
                    <a:pt x="1455" y="169"/>
                  </a:lnTo>
                  <a:lnTo>
                    <a:pt x="1457" y="169"/>
                  </a:lnTo>
                  <a:lnTo>
                    <a:pt x="1457" y="173"/>
                  </a:lnTo>
                  <a:lnTo>
                    <a:pt x="1457" y="169"/>
                  </a:lnTo>
                  <a:lnTo>
                    <a:pt x="1459" y="169"/>
                  </a:lnTo>
                  <a:lnTo>
                    <a:pt x="1461" y="169"/>
                  </a:lnTo>
                  <a:lnTo>
                    <a:pt x="1461" y="167"/>
                  </a:lnTo>
                  <a:lnTo>
                    <a:pt x="1461" y="169"/>
                  </a:lnTo>
                  <a:lnTo>
                    <a:pt x="1461" y="167"/>
                  </a:lnTo>
                  <a:lnTo>
                    <a:pt x="1463" y="167"/>
                  </a:lnTo>
                  <a:lnTo>
                    <a:pt x="1463" y="169"/>
                  </a:lnTo>
                  <a:lnTo>
                    <a:pt x="1465" y="173"/>
                  </a:lnTo>
                  <a:lnTo>
                    <a:pt x="1463" y="173"/>
                  </a:lnTo>
                  <a:lnTo>
                    <a:pt x="1463" y="175"/>
                  </a:lnTo>
                  <a:lnTo>
                    <a:pt x="1463" y="173"/>
                  </a:lnTo>
                  <a:lnTo>
                    <a:pt x="1465" y="173"/>
                  </a:lnTo>
                  <a:lnTo>
                    <a:pt x="1465" y="171"/>
                  </a:lnTo>
                  <a:lnTo>
                    <a:pt x="1463" y="171"/>
                  </a:lnTo>
                  <a:lnTo>
                    <a:pt x="1463" y="167"/>
                  </a:lnTo>
                  <a:lnTo>
                    <a:pt x="1465" y="167"/>
                  </a:lnTo>
                  <a:lnTo>
                    <a:pt x="1467" y="167"/>
                  </a:lnTo>
                  <a:lnTo>
                    <a:pt x="1467" y="169"/>
                  </a:lnTo>
                  <a:lnTo>
                    <a:pt x="1467" y="167"/>
                  </a:lnTo>
                  <a:lnTo>
                    <a:pt x="1469" y="167"/>
                  </a:lnTo>
                  <a:lnTo>
                    <a:pt x="1469" y="165"/>
                  </a:lnTo>
                  <a:lnTo>
                    <a:pt x="1471" y="165"/>
                  </a:lnTo>
                  <a:lnTo>
                    <a:pt x="1473" y="165"/>
                  </a:lnTo>
                  <a:lnTo>
                    <a:pt x="1473" y="164"/>
                  </a:lnTo>
                  <a:lnTo>
                    <a:pt x="1474" y="164"/>
                  </a:lnTo>
                  <a:lnTo>
                    <a:pt x="1474" y="165"/>
                  </a:lnTo>
                  <a:lnTo>
                    <a:pt x="1476" y="165"/>
                  </a:lnTo>
                  <a:lnTo>
                    <a:pt x="1476" y="164"/>
                  </a:lnTo>
                  <a:lnTo>
                    <a:pt x="1478" y="164"/>
                  </a:lnTo>
                  <a:lnTo>
                    <a:pt x="1476" y="165"/>
                  </a:lnTo>
                  <a:lnTo>
                    <a:pt x="1478" y="165"/>
                  </a:lnTo>
                  <a:lnTo>
                    <a:pt x="1480" y="164"/>
                  </a:lnTo>
                  <a:lnTo>
                    <a:pt x="1482" y="162"/>
                  </a:lnTo>
                  <a:lnTo>
                    <a:pt x="1484" y="162"/>
                  </a:lnTo>
                  <a:lnTo>
                    <a:pt x="1488" y="160"/>
                  </a:lnTo>
                  <a:lnTo>
                    <a:pt x="1490" y="160"/>
                  </a:lnTo>
                  <a:lnTo>
                    <a:pt x="1492" y="158"/>
                  </a:lnTo>
                  <a:lnTo>
                    <a:pt x="1492" y="160"/>
                  </a:lnTo>
                  <a:lnTo>
                    <a:pt x="1494" y="158"/>
                  </a:lnTo>
                  <a:lnTo>
                    <a:pt x="1496" y="158"/>
                  </a:lnTo>
                  <a:lnTo>
                    <a:pt x="1497" y="158"/>
                  </a:lnTo>
                  <a:lnTo>
                    <a:pt x="1499" y="158"/>
                  </a:lnTo>
                  <a:lnTo>
                    <a:pt x="1501" y="158"/>
                  </a:lnTo>
                  <a:lnTo>
                    <a:pt x="1501" y="156"/>
                  </a:lnTo>
                  <a:lnTo>
                    <a:pt x="1503" y="154"/>
                  </a:lnTo>
                  <a:lnTo>
                    <a:pt x="1503" y="152"/>
                  </a:lnTo>
                  <a:lnTo>
                    <a:pt x="1507" y="152"/>
                  </a:lnTo>
                  <a:lnTo>
                    <a:pt x="1509" y="152"/>
                  </a:lnTo>
                  <a:lnTo>
                    <a:pt x="1509" y="150"/>
                  </a:lnTo>
                  <a:lnTo>
                    <a:pt x="1511" y="150"/>
                  </a:lnTo>
                  <a:lnTo>
                    <a:pt x="1513" y="150"/>
                  </a:lnTo>
                  <a:lnTo>
                    <a:pt x="1515" y="150"/>
                  </a:lnTo>
                  <a:lnTo>
                    <a:pt x="1515" y="148"/>
                  </a:lnTo>
                  <a:lnTo>
                    <a:pt x="1517" y="148"/>
                  </a:lnTo>
                  <a:lnTo>
                    <a:pt x="1519" y="148"/>
                  </a:lnTo>
                  <a:lnTo>
                    <a:pt x="1521" y="148"/>
                  </a:lnTo>
                  <a:lnTo>
                    <a:pt x="1521" y="146"/>
                  </a:lnTo>
                  <a:lnTo>
                    <a:pt x="1522" y="146"/>
                  </a:lnTo>
                  <a:lnTo>
                    <a:pt x="1524" y="146"/>
                  </a:lnTo>
                  <a:lnTo>
                    <a:pt x="1524" y="144"/>
                  </a:lnTo>
                  <a:lnTo>
                    <a:pt x="1526" y="144"/>
                  </a:lnTo>
                  <a:lnTo>
                    <a:pt x="1526" y="146"/>
                  </a:lnTo>
                  <a:lnTo>
                    <a:pt x="1526" y="144"/>
                  </a:lnTo>
                  <a:lnTo>
                    <a:pt x="1528" y="144"/>
                  </a:lnTo>
                  <a:lnTo>
                    <a:pt x="1530" y="144"/>
                  </a:lnTo>
                  <a:lnTo>
                    <a:pt x="1532" y="144"/>
                  </a:lnTo>
                  <a:lnTo>
                    <a:pt x="1534" y="144"/>
                  </a:lnTo>
                  <a:lnTo>
                    <a:pt x="1534" y="142"/>
                  </a:lnTo>
                  <a:lnTo>
                    <a:pt x="1536" y="144"/>
                  </a:lnTo>
                  <a:lnTo>
                    <a:pt x="1536" y="142"/>
                  </a:lnTo>
                  <a:lnTo>
                    <a:pt x="1540" y="141"/>
                  </a:lnTo>
                  <a:lnTo>
                    <a:pt x="1542" y="141"/>
                  </a:lnTo>
                  <a:lnTo>
                    <a:pt x="1544" y="141"/>
                  </a:lnTo>
                  <a:lnTo>
                    <a:pt x="1544" y="139"/>
                  </a:lnTo>
                  <a:lnTo>
                    <a:pt x="1545" y="141"/>
                  </a:lnTo>
                  <a:lnTo>
                    <a:pt x="1547" y="139"/>
                  </a:lnTo>
                  <a:lnTo>
                    <a:pt x="1549" y="139"/>
                  </a:lnTo>
                  <a:lnTo>
                    <a:pt x="1551" y="139"/>
                  </a:lnTo>
                  <a:lnTo>
                    <a:pt x="1553" y="139"/>
                  </a:lnTo>
                  <a:lnTo>
                    <a:pt x="1555" y="141"/>
                  </a:lnTo>
                  <a:lnTo>
                    <a:pt x="1557" y="139"/>
                  </a:lnTo>
                  <a:lnTo>
                    <a:pt x="1561" y="139"/>
                  </a:lnTo>
                  <a:lnTo>
                    <a:pt x="1580" y="137"/>
                  </a:lnTo>
                  <a:lnTo>
                    <a:pt x="1588" y="137"/>
                  </a:lnTo>
                  <a:lnTo>
                    <a:pt x="1597" y="135"/>
                  </a:lnTo>
                  <a:lnTo>
                    <a:pt x="1601" y="135"/>
                  </a:lnTo>
                  <a:lnTo>
                    <a:pt x="1603" y="135"/>
                  </a:lnTo>
                  <a:lnTo>
                    <a:pt x="1607" y="135"/>
                  </a:lnTo>
                  <a:lnTo>
                    <a:pt x="1611" y="135"/>
                  </a:lnTo>
                  <a:lnTo>
                    <a:pt x="1613" y="137"/>
                  </a:lnTo>
                  <a:lnTo>
                    <a:pt x="1615" y="137"/>
                  </a:lnTo>
                  <a:lnTo>
                    <a:pt x="1626" y="142"/>
                  </a:lnTo>
                  <a:lnTo>
                    <a:pt x="1630" y="142"/>
                  </a:lnTo>
                  <a:lnTo>
                    <a:pt x="1632" y="144"/>
                  </a:lnTo>
                  <a:lnTo>
                    <a:pt x="1643" y="152"/>
                  </a:lnTo>
                  <a:lnTo>
                    <a:pt x="1645" y="152"/>
                  </a:lnTo>
                  <a:lnTo>
                    <a:pt x="1647" y="150"/>
                  </a:lnTo>
                  <a:lnTo>
                    <a:pt x="1651" y="148"/>
                  </a:lnTo>
                  <a:lnTo>
                    <a:pt x="1659" y="141"/>
                  </a:lnTo>
                  <a:lnTo>
                    <a:pt x="1666" y="144"/>
                  </a:lnTo>
                  <a:lnTo>
                    <a:pt x="1672" y="146"/>
                  </a:lnTo>
                  <a:lnTo>
                    <a:pt x="1674" y="144"/>
                  </a:lnTo>
                  <a:lnTo>
                    <a:pt x="1674" y="142"/>
                  </a:lnTo>
                  <a:lnTo>
                    <a:pt x="1676" y="142"/>
                  </a:lnTo>
                  <a:lnTo>
                    <a:pt x="1674" y="144"/>
                  </a:lnTo>
                  <a:lnTo>
                    <a:pt x="1672" y="146"/>
                  </a:lnTo>
                  <a:lnTo>
                    <a:pt x="1674" y="148"/>
                  </a:lnTo>
                  <a:lnTo>
                    <a:pt x="1676" y="148"/>
                  </a:lnTo>
                  <a:lnTo>
                    <a:pt x="1676" y="150"/>
                  </a:lnTo>
                  <a:lnTo>
                    <a:pt x="1676" y="152"/>
                  </a:lnTo>
                  <a:lnTo>
                    <a:pt x="1674" y="152"/>
                  </a:lnTo>
                  <a:lnTo>
                    <a:pt x="1670" y="150"/>
                  </a:lnTo>
                  <a:lnTo>
                    <a:pt x="1668" y="148"/>
                  </a:lnTo>
                  <a:lnTo>
                    <a:pt x="1666" y="150"/>
                  </a:lnTo>
                  <a:lnTo>
                    <a:pt x="1666" y="152"/>
                  </a:lnTo>
                  <a:lnTo>
                    <a:pt x="1672" y="152"/>
                  </a:lnTo>
                  <a:lnTo>
                    <a:pt x="1676" y="154"/>
                  </a:lnTo>
                  <a:lnTo>
                    <a:pt x="1676" y="156"/>
                  </a:lnTo>
                  <a:lnTo>
                    <a:pt x="1674" y="158"/>
                  </a:lnTo>
                  <a:lnTo>
                    <a:pt x="1674" y="160"/>
                  </a:lnTo>
                  <a:lnTo>
                    <a:pt x="1664" y="156"/>
                  </a:lnTo>
                  <a:lnTo>
                    <a:pt x="1663" y="156"/>
                  </a:lnTo>
                  <a:lnTo>
                    <a:pt x="1659" y="154"/>
                  </a:lnTo>
                  <a:lnTo>
                    <a:pt x="1659" y="156"/>
                  </a:lnTo>
                  <a:lnTo>
                    <a:pt x="1657" y="158"/>
                  </a:lnTo>
                  <a:lnTo>
                    <a:pt x="1659" y="158"/>
                  </a:lnTo>
                  <a:lnTo>
                    <a:pt x="1657" y="158"/>
                  </a:lnTo>
                  <a:lnTo>
                    <a:pt x="1659" y="158"/>
                  </a:lnTo>
                  <a:lnTo>
                    <a:pt x="1661" y="160"/>
                  </a:lnTo>
                  <a:lnTo>
                    <a:pt x="1670" y="164"/>
                  </a:lnTo>
                  <a:lnTo>
                    <a:pt x="1670" y="165"/>
                  </a:lnTo>
                  <a:lnTo>
                    <a:pt x="1664" y="164"/>
                  </a:lnTo>
                  <a:lnTo>
                    <a:pt x="1663" y="164"/>
                  </a:lnTo>
                  <a:lnTo>
                    <a:pt x="1663" y="165"/>
                  </a:lnTo>
                  <a:lnTo>
                    <a:pt x="1663" y="167"/>
                  </a:lnTo>
                  <a:lnTo>
                    <a:pt x="1666" y="167"/>
                  </a:lnTo>
                  <a:lnTo>
                    <a:pt x="1672" y="169"/>
                  </a:lnTo>
                  <a:lnTo>
                    <a:pt x="1674" y="169"/>
                  </a:lnTo>
                  <a:lnTo>
                    <a:pt x="1676" y="169"/>
                  </a:lnTo>
                  <a:lnTo>
                    <a:pt x="1678" y="169"/>
                  </a:lnTo>
                  <a:lnTo>
                    <a:pt x="1680" y="171"/>
                  </a:lnTo>
                  <a:lnTo>
                    <a:pt x="1682" y="169"/>
                  </a:lnTo>
                  <a:lnTo>
                    <a:pt x="1682" y="171"/>
                  </a:lnTo>
                  <a:lnTo>
                    <a:pt x="1686" y="171"/>
                  </a:lnTo>
                  <a:lnTo>
                    <a:pt x="1687" y="171"/>
                  </a:lnTo>
                  <a:lnTo>
                    <a:pt x="1691" y="173"/>
                  </a:lnTo>
                  <a:lnTo>
                    <a:pt x="1693" y="173"/>
                  </a:lnTo>
                  <a:lnTo>
                    <a:pt x="1693" y="171"/>
                  </a:lnTo>
                  <a:lnTo>
                    <a:pt x="1693" y="169"/>
                  </a:lnTo>
                  <a:lnTo>
                    <a:pt x="1687" y="167"/>
                  </a:lnTo>
                  <a:lnTo>
                    <a:pt x="1686" y="167"/>
                  </a:lnTo>
                  <a:lnTo>
                    <a:pt x="1680" y="165"/>
                  </a:lnTo>
                  <a:lnTo>
                    <a:pt x="1678" y="165"/>
                  </a:lnTo>
                  <a:lnTo>
                    <a:pt x="1678" y="164"/>
                  </a:lnTo>
                  <a:lnTo>
                    <a:pt x="1682" y="150"/>
                  </a:lnTo>
                  <a:lnTo>
                    <a:pt x="1684" y="150"/>
                  </a:lnTo>
                  <a:lnTo>
                    <a:pt x="1682" y="148"/>
                  </a:lnTo>
                  <a:lnTo>
                    <a:pt x="1682" y="146"/>
                  </a:lnTo>
                  <a:lnTo>
                    <a:pt x="1684" y="148"/>
                  </a:lnTo>
                  <a:lnTo>
                    <a:pt x="1684" y="150"/>
                  </a:lnTo>
                  <a:lnTo>
                    <a:pt x="1684" y="152"/>
                  </a:lnTo>
                  <a:lnTo>
                    <a:pt x="1687" y="154"/>
                  </a:lnTo>
                  <a:lnTo>
                    <a:pt x="1695" y="158"/>
                  </a:lnTo>
                  <a:lnTo>
                    <a:pt x="1697" y="160"/>
                  </a:lnTo>
                  <a:lnTo>
                    <a:pt x="1699" y="160"/>
                  </a:lnTo>
                  <a:lnTo>
                    <a:pt x="1703" y="164"/>
                  </a:lnTo>
                  <a:lnTo>
                    <a:pt x="1707" y="167"/>
                  </a:lnTo>
                  <a:lnTo>
                    <a:pt x="1711" y="171"/>
                  </a:lnTo>
                  <a:lnTo>
                    <a:pt x="1712" y="171"/>
                  </a:lnTo>
                  <a:lnTo>
                    <a:pt x="1712" y="169"/>
                  </a:lnTo>
                  <a:lnTo>
                    <a:pt x="1714" y="169"/>
                  </a:lnTo>
                  <a:lnTo>
                    <a:pt x="1712" y="169"/>
                  </a:lnTo>
                  <a:lnTo>
                    <a:pt x="1712" y="171"/>
                  </a:lnTo>
                  <a:lnTo>
                    <a:pt x="1711" y="171"/>
                  </a:lnTo>
                  <a:lnTo>
                    <a:pt x="1712" y="173"/>
                  </a:lnTo>
                  <a:lnTo>
                    <a:pt x="1714" y="173"/>
                  </a:lnTo>
                  <a:lnTo>
                    <a:pt x="1716" y="171"/>
                  </a:lnTo>
                  <a:lnTo>
                    <a:pt x="1714" y="173"/>
                  </a:lnTo>
                  <a:lnTo>
                    <a:pt x="1712" y="175"/>
                  </a:lnTo>
                  <a:lnTo>
                    <a:pt x="1714" y="175"/>
                  </a:lnTo>
                  <a:lnTo>
                    <a:pt x="1716" y="175"/>
                  </a:lnTo>
                  <a:lnTo>
                    <a:pt x="1716" y="173"/>
                  </a:lnTo>
                  <a:lnTo>
                    <a:pt x="1716" y="175"/>
                  </a:lnTo>
                  <a:lnTo>
                    <a:pt x="1714" y="175"/>
                  </a:lnTo>
                  <a:lnTo>
                    <a:pt x="1714" y="177"/>
                  </a:lnTo>
                  <a:lnTo>
                    <a:pt x="1716" y="179"/>
                  </a:lnTo>
                  <a:lnTo>
                    <a:pt x="1716" y="181"/>
                  </a:lnTo>
                  <a:lnTo>
                    <a:pt x="1714" y="183"/>
                  </a:lnTo>
                  <a:lnTo>
                    <a:pt x="1716" y="183"/>
                  </a:lnTo>
                  <a:lnTo>
                    <a:pt x="1714" y="183"/>
                  </a:lnTo>
                  <a:lnTo>
                    <a:pt x="1716" y="183"/>
                  </a:lnTo>
                  <a:lnTo>
                    <a:pt x="1714" y="183"/>
                  </a:lnTo>
                  <a:lnTo>
                    <a:pt x="1714" y="185"/>
                  </a:lnTo>
                  <a:lnTo>
                    <a:pt x="1716" y="185"/>
                  </a:lnTo>
                  <a:lnTo>
                    <a:pt x="1714" y="185"/>
                  </a:lnTo>
                  <a:lnTo>
                    <a:pt x="1714" y="187"/>
                  </a:lnTo>
                  <a:lnTo>
                    <a:pt x="1716" y="187"/>
                  </a:lnTo>
                  <a:lnTo>
                    <a:pt x="1714" y="185"/>
                  </a:lnTo>
                  <a:lnTo>
                    <a:pt x="1709" y="202"/>
                  </a:lnTo>
                  <a:lnTo>
                    <a:pt x="1707" y="202"/>
                  </a:lnTo>
                  <a:lnTo>
                    <a:pt x="1707" y="204"/>
                  </a:lnTo>
                  <a:lnTo>
                    <a:pt x="1707" y="208"/>
                  </a:lnTo>
                  <a:lnTo>
                    <a:pt x="1707" y="221"/>
                  </a:lnTo>
                  <a:lnTo>
                    <a:pt x="1709" y="223"/>
                  </a:lnTo>
                  <a:lnTo>
                    <a:pt x="1711" y="225"/>
                  </a:lnTo>
                  <a:lnTo>
                    <a:pt x="1712" y="229"/>
                  </a:lnTo>
                  <a:lnTo>
                    <a:pt x="1714" y="227"/>
                  </a:lnTo>
                  <a:lnTo>
                    <a:pt x="1712" y="229"/>
                  </a:lnTo>
                  <a:lnTo>
                    <a:pt x="1714" y="235"/>
                  </a:lnTo>
                  <a:lnTo>
                    <a:pt x="1716" y="237"/>
                  </a:lnTo>
                  <a:lnTo>
                    <a:pt x="1716" y="238"/>
                  </a:lnTo>
                  <a:lnTo>
                    <a:pt x="1714" y="240"/>
                  </a:lnTo>
                  <a:lnTo>
                    <a:pt x="1714" y="242"/>
                  </a:lnTo>
                  <a:lnTo>
                    <a:pt x="1716" y="244"/>
                  </a:lnTo>
                  <a:lnTo>
                    <a:pt x="1718" y="244"/>
                  </a:lnTo>
                  <a:lnTo>
                    <a:pt x="1718" y="248"/>
                  </a:lnTo>
                  <a:lnTo>
                    <a:pt x="1720" y="248"/>
                  </a:lnTo>
                  <a:lnTo>
                    <a:pt x="1718" y="248"/>
                  </a:lnTo>
                  <a:lnTo>
                    <a:pt x="1716" y="252"/>
                  </a:lnTo>
                  <a:lnTo>
                    <a:pt x="1716" y="254"/>
                  </a:lnTo>
                  <a:lnTo>
                    <a:pt x="1716" y="256"/>
                  </a:lnTo>
                  <a:lnTo>
                    <a:pt x="1716" y="260"/>
                  </a:lnTo>
                  <a:lnTo>
                    <a:pt x="1716" y="262"/>
                  </a:lnTo>
                  <a:lnTo>
                    <a:pt x="1718" y="265"/>
                  </a:lnTo>
                  <a:lnTo>
                    <a:pt x="1718" y="267"/>
                  </a:lnTo>
                  <a:lnTo>
                    <a:pt x="1720" y="267"/>
                  </a:lnTo>
                  <a:lnTo>
                    <a:pt x="1718" y="267"/>
                  </a:lnTo>
                  <a:lnTo>
                    <a:pt x="1718" y="269"/>
                  </a:lnTo>
                  <a:lnTo>
                    <a:pt x="1720" y="273"/>
                  </a:lnTo>
                  <a:lnTo>
                    <a:pt x="1720" y="275"/>
                  </a:lnTo>
                  <a:lnTo>
                    <a:pt x="1722" y="275"/>
                  </a:lnTo>
                  <a:lnTo>
                    <a:pt x="1722" y="277"/>
                  </a:lnTo>
                  <a:lnTo>
                    <a:pt x="1720" y="279"/>
                  </a:lnTo>
                  <a:lnTo>
                    <a:pt x="1720" y="281"/>
                  </a:lnTo>
                  <a:lnTo>
                    <a:pt x="1720" y="283"/>
                  </a:lnTo>
                  <a:lnTo>
                    <a:pt x="1720" y="285"/>
                  </a:lnTo>
                  <a:lnTo>
                    <a:pt x="1722" y="286"/>
                  </a:lnTo>
                  <a:lnTo>
                    <a:pt x="1722" y="288"/>
                  </a:lnTo>
                  <a:lnTo>
                    <a:pt x="1722" y="290"/>
                  </a:lnTo>
                  <a:lnTo>
                    <a:pt x="1722" y="292"/>
                  </a:lnTo>
                  <a:lnTo>
                    <a:pt x="1722" y="294"/>
                  </a:lnTo>
                  <a:lnTo>
                    <a:pt x="1722" y="296"/>
                  </a:lnTo>
                  <a:lnTo>
                    <a:pt x="1722" y="298"/>
                  </a:lnTo>
                  <a:lnTo>
                    <a:pt x="1724" y="300"/>
                  </a:lnTo>
                  <a:lnTo>
                    <a:pt x="1724" y="302"/>
                  </a:lnTo>
                  <a:lnTo>
                    <a:pt x="1726" y="306"/>
                  </a:lnTo>
                  <a:lnTo>
                    <a:pt x="1728" y="306"/>
                  </a:lnTo>
                  <a:lnTo>
                    <a:pt x="1730" y="308"/>
                  </a:lnTo>
                  <a:lnTo>
                    <a:pt x="1732" y="306"/>
                  </a:lnTo>
                  <a:lnTo>
                    <a:pt x="1730" y="308"/>
                  </a:lnTo>
                  <a:lnTo>
                    <a:pt x="1732" y="308"/>
                  </a:lnTo>
                  <a:lnTo>
                    <a:pt x="1734" y="310"/>
                  </a:lnTo>
                  <a:lnTo>
                    <a:pt x="1735" y="311"/>
                  </a:lnTo>
                  <a:lnTo>
                    <a:pt x="1737" y="313"/>
                  </a:lnTo>
                  <a:lnTo>
                    <a:pt x="1739" y="313"/>
                  </a:lnTo>
                  <a:lnTo>
                    <a:pt x="1737" y="313"/>
                  </a:lnTo>
                  <a:lnTo>
                    <a:pt x="1739" y="313"/>
                  </a:lnTo>
                  <a:lnTo>
                    <a:pt x="1739" y="315"/>
                  </a:lnTo>
                  <a:lnTo>
                    <a:pt x="1741" y="315"/>
                  </a:lnTo>
                  <a:lnTo>
                    <a:pt x="1743" y="317"/>
                  </a:lnTo>
                  <a:lnTo>
                    <a:pt x="1743" y="319"/>
                  </a:lnTo>
                  <a:lnTo>
                    <a:pt x="1745" y="319"/>
                  </a:lnTo>
                  <a:lnTo>
                    <a:pt x="1745" y="321"/>
                  </a:lnTo>
                  <a:lnTo>
                    <a:pt x="1747" y="323"/>
                  </a:lnTo>
                  <a:lnTo>
                    <a:pt x="1749" y="323"/>
                  </a:lnTo>
                  <a:lnTo>
                    <a:pt x="1747" y="323"/>
                  </a:lnTo>
                  <a:lnTo>
                    <a:pt x="1749" y="325"/>
                  </a:lnTo>
                  <a:lnTo>
                    <a:pt x="1751" y="325"/>
                  </a:lnTo>
                  <a:lnTo>
                    <a:pt x="1753" y="325"/>
                  </a:lnTo>
                  <a:lnTo>
                    <a:pt x="1753" y="327"/>
                  </a:lnTo>
                  <a:lnTo>
                    <a:pt x="1755" y="325"/>
                  </a:lnTo>
                  <a:lnTo>
                    <a:pt x="1753" y="327"/>
                  </a:lnTo>
                  <a:lnTo>
                    <a:pt x="1755" y="327"/>
                  </a:lnTo>
                  <a:lnTo>
                    <a:pt x="1755" y="329"/>
                  </a:lnTo>
                  <a:lnTo>
                    <a:pt x="1759" y="331"/>
                  </a:lnTo>
                  <a:lnTo>
                    <a:pt x="1760" y="333"/>
                  </a:lnTo>
                  <a:lnTo>
                    <a:pt x="1759" y="336"/>
                  </a:lnTo>
                  <a:lnTo>
                    <a:pt x="1762" y="338"/>
                  </a:lnTo>
                  <a:lnTo>
                    <a:pt x="1766" y="340"/>
                  </a:lnTo>
                  <a:lnTo>
                    <a:pt x="1768" y="340"/>
                  </a:lnTo>
                  <a:lnTo>
                    <a:pt x="1766" y="340"/>
                  </a:lnTo>
                  <a:lnTo>
                    <a:pt x="1768" y="340"/>
                  </a:lnTo>
                  <a:lnTo>
                    <a:pt x="1770" y="342"/>
                  </a:lnTo>
                  <a:lnTo>
                    <a:pt x="1772" y="342"/>
                  </a:lnTo>
                  <a:lnTo>
                    <a:pt x="1782" y="344"/>
                  </a:lnTo>
                  <a:lnTo>
                    <a:pt x="1789" y="350"/>
                  </a:lnTo>
                  <a:lnTo>
                    <a:pt x="1791" y="350"/>
                  </a:lnTo>
                  <a:lnTo>
                    <a:pt x="1793" y="350"/>
                  </a:lnTo>
                  <a:lnTo>
                    <a:pt x="1795" y="352"/>
                  </a:lnTo>
                  <a:lnTo>
                    <a:pt x="1799" y="352"/>
                  </a:lnTo>
                  <a:lnTo>
                    <a:pt x="1801" y="352"/>
                  </a:lnTo>
                  <a:lnTo>
                    <a:pt x="1803" y="352"/>
                  </a:lnTo>
                  <a:lnTo>
                    <a:pt x="1805" y="352"/>
                  </a:lnTo>
                  <a:lnTo>
                    <a:pt x="1808" y="352"/>
                  </a:lnTo>
                  <a:lnTo>
                    <a:pt x="1810" y="352"/>
                  </a:lnTo>
                  <a:lnTo>
                    <a:pt x="1810" y="354"/>
                  </a:lnTo>
                  <a:lnTo>
                    <a:pt x="1808" y="354"/>
                  </a:lnTo>
                  <a:lnTo>
                    <a:pt x="1806" y="354"/>
                  </a:lnTo>
                  <a:lnTo>
                    <a:pt x="1805" y="354"/>
                  </a:lnTo>
                  <a:lnTo>
                    <a:pt x="1803" y="354"/>
                  </a:lnTo>
                  <a:lnTo>
                    <a:pt x="1801" y="354"/>
                  </a:lnTo>
                  <a:lnTo>
                    <a:pt x="1797" y="352"/>
                  </a:lnTo>
                  <a:lnTo>
                    <a:pt x="1793" y="352"/>
                  </a:lnTo>
                  <a:lnTo>
                    <a:pt x="1791" y="350"/>
                  </a:lnTo>
                  <a:lnTo>
                    <a:pt x="1789" y="350"/>
                  </a:lnTo>
                  <a:lnTo>
                    <a:pt x="1780" y="346"/>
                  </a:lnTo>
                  <a:lnTo>
                    <a:pt x="1768" y="342"/>
                  </a:lnTo>
                  <a:lnTo>
                    <a:pt x="1762" y="338"/>
                  </a:lnTo>
                  <a:lnTo>
                    <a:pt x="1760" y="338"/>
                  </a:lnTo>
                  <a:lnTo>
                    <a:pt x="1760" y="336"/>
                  </a:lnTo>
                  <a:lnTo>
                    <a:pt x="1760" y="338"/>
                  </a:lnTo>
                  <a:lnTo>
                    <a:pt x="1759" y="336"/>
                  </a:lnTo>
                  <a:lnTo>
                    <a:pt x="1757" y="335"/>
                  </a:lnTo>
                  <a:lnTo>
                    <a:pt x="1751" y="327"/>
                  </a:lnTo>
                  <a:lnTo>
                    <a:pt x="1749" y="329"/>
                  </a:lnTo>
                  <a:lnTo>
                    <a:pt x="1751" y="331"/>
                  </a:lnTo>
                  <a:lnTo>
                    <a:pt x="1749" y="333"/>
                  </a:lnTo>
                  <a:lnTo>
                    <a:pt x="1751" y="331"/>
                  </a:lnTo>
                  <a:lnTo>
                    <a:pt x="1749" y="329"/>
                  </a:lnTo>
                  <a:lnTo>
                    <a:pt x="1747" y="333"/>
                  </a:lnTo>
                  <a:lnTo>
                    <a:pt x="1745" y="333"/>
                  </a:lnTo>
                  <a:lnTo>
                    <a:pt x="1743" y="333"/>
                  </a:lnTo>
                  <a:lnTo>
                    <a:pt x="1745" y="333"/>
                  </a:lnTo>
                  <a:lnTo>
                    <a:pt x="1745" y="335"/>
                  </a:lnTo>
                  <a:lnTo>
                    <a:pt x="1745" y="336"/>
                  </a:lnTo>
                  <a:lnTo>
                    <a:pt x="1745" y="335"/>
                  </a:lnTo>
                  <a:lnTo>
                    <a:pt x="1747" y="333"/>
                  </a:lnTo>
                  <a:lnTo>
                    <a:pt x="1747" y="335"/>
                  </a:lnTo>
                  <a:lnTo>
                    <a:pt x="1747" y="336"/>
                  </a:lnTo>
                  <a:lnTo>
                    <a:pt x="1749" y="336"/>
                  </a:lnTo>
                  <a:lnTo>
                    <a:pt x="1751" y="336"/>
                  </a:lnTo>
                  <a:lnTo>
                    <a:pt x="1753" y="336"/>
                  </a:lnTo>
                  <a:lnTo>
                    <a:pt x="1753" y="338"/>
                  </a:lnTo>
                  <a:lnTo>
                    <a:pt x="1755" y="338"/>
                  </a:lnTo>
                  <a:lnTo>
                    <a:pt x="1757" y="340"/>
                  </a:lnTo>
                  <a:lnTo>
                    <a:pt x="1759" y="340"/>
                  </a:lnTo>
                  <a:lnTo>
                    <a:pt x="1759" y="342"/>
                  </a:lnTo>
                  <a:lnTo>
                    <a:pt x="1757" y="342"/>
                  </a:lnTo>
                  <a:lnTo>
                    <a:pt x="1757" y="344"/>
                  </a:lnTo>
                  <a:lnTo>
                    <a:pt x="1757" y="346"/>
                  </a:lnTo>
                  <a:lnTo>
                    <a:pt x="1757" y="344"/>
                  </a:lnTo>
                  <a:lnTo>
                    <a:pt x="1757" y="346"/>
                  </a:lnTo>
                  <a:lnTo>
                    <a:pt x="1757" y="344"/>
                  </a:lnTo>
                  <a:lnTo>
                    <a:pt x="1759" y="342"/>
                  </a:lnTo>
                  <a:lnTo>
                    <a:pt x="1760" y="342"/>
                  </a:lnTo>
                  <a:lnTo>
                    <a:pt x="1762" y="342"/>
                  </a:lnTo>
                  <a:lnTo>
                    <a:pt x="1764" y="344"/>
                  </a:lnTo>
                  <a:lnTo>
                    <a:pt x="1766" y="344"/>
                  </a:lnTo>
                  <a:lnTo>
                    <a:pt x="1764" y="344"/>
                  </a:lnTo>
                  <a:lnTo>
                    <a:pt x="1762" y="342"/>
                  </a:lnTo>
                  <a:lnTo>
                    <a:pt x="1760" y="342"/>
                  </a:lnTo>
                  <a:lnTo>
                    <a:pt x="1762" y="342"/>
                  </a:lnTo>
                  <a:lnTo>
                    <a:pt x="1764" y="344"/>
                  </a:lnTo>
                  <a:lnTo>
                    <a:pt x="1766" y="344"/>
                  </a:lnTo>
                  <a:lnTo>
                    <a:pt x="1768" y="344"/>
                  </a:lnTo>
                  <a:lnTo>
                    <a:pt x="1770" y="346"/>
                  </a:lnTo>
                  <a:lnTo>
                    <a:pt x="1774" y="348"/>
                  </a:lnTo>
                  <a:lnTo>
                    <a:pt x="1776" y="348"/>
                  </a:lnTo>
                  <a:lnTo>
                    <a:pt x="1778" y="348"/>
                  </a:lnTo>
                  <a:lnTo>
                    <a:pt x="1780" y="348"/>
                  </a:lnTo>
                  <a:lnTo>
                    <a:pt x="1782" y="350"/>
                  </a:lnTo>
                  <a:lnTo>
                    <a:pt x="1783" y="350"/>
                  </a:lnTo>
                  <a:lnTo>
                    <a:pt x="1783" y="352"/>
                  </a:lnTo>
                  <a:lnTo>
                    <a:pt x="1785" y="352"/>
                  </a:lnTo>
                  <a:lnTo>
                    <a:pt x="1789" y="352"/>
                  </a:lnTo>
                  <a:lnTo>
                    <a:pt x="1795" y="356"/>
                  </a:lnTo>
                  <a:lnTo>
                    <a:pt x="1797" y="356"/>
                  </a:lnTo>
                  <a:lnTo>
                    <a:pt x="1797" y="358"/>
                  </a:lnTo>
                  <a:lnTo>
                    <a:pt x="1799" y="358"/>
                  </a:lnTo>
                  <a:lnTo>
                    <a:pt x="1799" y="359"/>
                  </a:lnTo>
                  <a:lnTo>
                    <a:pt x="1801" y="359"/>
                  </a:lnTo>
                  <a:lnTo>
                    <a:pt x="1803" y="359"/>
                  </a:lnTo>
                  <a:lnTo>
                    <a:pt x="1801" y="358"/>
                  </a:lnTo>
                  <a:lnTo>
                    <a:pt x="1799" y="358"/>
                  </a:lnTo>
                  <a:lnTo>
                    <a:pt x="1797" y="358"/>
                  </a:lnTo>
                  <a:lnTo>
                    <a:pt x="1793" y="356"/>
                  </a:lnTo>
                  <a:lnTo>
                    <a:pt x="1791" y="354"/>
                  </a:lnTo>
                  <a:lnTo>
                    <a:pt x="1787" y="352"/>
                  </a:lnTo>
                  <a:lnTo>
                    <a:pt x="1785" y="350"/>
                  </a:lnTo>
                  <a:lnTo>
                    <a:pt x="1780" y="348"/>
                  </a:lnTo>
                  <a:lnTo>
                    <a:pt x="1776" y="348"/>
                  </a:lnTo>
                  <a:lnTo>
                    <a:pt x="1776" y="346"/>
                  </a:lnTo>
                  <a:lnTo>
                    <a:pt x="1774" y="346"/>
                  </a:lnTo>
                  <a:lnTo>
                    <a:pt x="1770" y="346"/>
                  </a:lnTo>
                  <a:lnTo>
                    <a:pt x="1766" y="344"/>
                  </a:lnTo>
                  <a:lnTo>
                    <a:pt x="1770" y="346"/>
                  </a:lnTo>
                  <a:lnTo>
                    <a:pt x="1774" y="346"/>
                  </a:lnTo>
                  <a:lnTo>
                    <a:pt x="1776" y="346"/>
                  </a:lnTo>
                  <a:lnTo>
                    <a:pt x="1776" y="348"/>
                  </a:lnTo>
                  <a:lnTo>
                    <a:pt x="1778" y="348"/>
                  </a:lnTo>
                  <a:lnTo>
                    <a:pt x="1780" y="348"/>
                  </a:lnTo>
                  <a:lnTo>
                    <a:pt x="1785" y="350"/>
                  </a:lnTo>
                  <a:lnTo>
                    <a:pt x="1787" y="352"/>
                  </a:lnTo>
                  <a:lnTo>
                    <a:pt x="1789" y="354"/>
                  </a:lnTo>
                  <a:lnTo>
                    <a:pt x="1789" y="352"/>
                  </a:lnTo>
                  <a:lnTo>
                    <a:pt x="1791" y="354"/>
                  </a:lnTo>
                  <a:lnTo>
                    <a:pt x="1789" y="354"/>
                  </a:lnTo>
                  <a:lnTo>
                    <a:pt x="1791" y="354"/>
                  </a:lnTo>
                  <a:lnTo>
                    <a:pt x="1793" y="354"/>
                  </a:lnTo>
                  <a:lnTo>
                    <a:pt x="1797" y="356"/>
                  </a:lnTo>
                  <a:lnTo>
                    <a:pt x="1799" y="358"/>
                  </a:lnTo>
                  <a:lnTo>
                    <a:pt x="1801" y="358"/>
                  </a:lnTo>
                  <a:lnTo>
                    <a:pt x="1806" y="359"/>
                  </a:lnTo>
                  <a:lnTo>
                    <a:pt x="1806" y="361"/>
                  </a:lnTo>
                  <a:lnTo>
                    <a:pt x="1803" y="359"/>
                  </a:lnTo>
                  <a:lnTo>
                    <a:pt x="1801" y="359"/>
                  </a:lnTo>
                  <a:lnTo>
                    <a:pt x="1803" y="359"/>
                  </a:lnTo>
                  <a:lnTo>
                    <a:pt x="1805" y="361"/>
                  </a:lnTo>
                  <a:lnTo>
                    <a:pt x="1806" y="363"/>
                  </a:lnTo>
                  <a:lnTo>
                    <a:pt x="1808" y="361"/>
                  </a:lnTo>
                  <a:lnTo>
                    <a:pt x="1812" y="359"/>
                  </a:lnTo>
                  <a:lnTo>
                    <a:pt x="1814" y="358"/>
                  </a:lnTo>
                  <a:lnTo>
                    <a:pt x="1814" y="356"/>
                  </a:lnTo>
                  <a:lnTo>
                    <a:pt x="1812" y="356"/>
                  </a:lnTo>
                  <a:lnTo>
                    <a:pt x="1814" y="354"/>
                  </a:lnTo>
                  <a:lnTo>
                    <a:pt x="1814" y="356"/>
                  </a:lnTo>
                  <a:lnTo>
                    <a:pt x="1816" y="359"/>
                  </a:lnTo>
                  <a:lnTo>
                    <a:pt x="1816" y="361"/>
                  </a:lnTo>
                  <a:lnTo>
                    <a:pt x="1816" y="363"/>
                  </a:lnTo>
                  <a:lnTo>
                    <a:pt x="1812" y="367"/>
                  </a:lnTo>
                  <a:lnTo>
                    <a:pt x="1814" y="367"/>
                  </a:lnTo>
                  <a:lnTo>
                    <a:pt x="1812" y="367"/>
                  </a:lnTo>
                  <a:lnTo>
                    <a:pt x="1814" y="367"/>
                  </a:lnTo>
                  <a:lnTo>
                    <a:pt x="1820" y="371"/>
                  </a:lnTo>
                  <a:lnTo>
                    <a:pt x="1822" y="371"/>
                  </a:lnTo>
                  <a:lnTo>
                    <a:pt x="1826" y="373"/>
                  </a:lnTo>
                  <a:lnTo>
                    <a:pt x="1828" y="373"/>
                  </a:lnTo>
                  <a:lnTo>
                    <a:pt x="1830" y="373"/>
                  </a:lnTo>
                  <a:lnTo>
                    <a:pt x="1831" y="373"/>
                  </a:lnTo>
                  <a:lnTo>
                    <a:pt x="1833" y="371"/>
                  </a:lnTo>
                  <a:lnTo>
                    <a:pt x="1835" y="371"/>
                  </a:lnTo>
                  <a:lnTo>
                    <a:pt x="1837" y="371"/>
                  </a:lnTo>
                  <a:lnTo>
                    <a:pt x="1837" y="369"/>
                  </a:lnTo>
                  <a:lnTo>
                    <a:pt x="1837" y="367"/>
                  </a:lnTo>
                  <a:lnTo>
                    <a:pt x="1837" y="365"/>
                  </a:lnTo>
                  <a:lnTo>
                    <a:pt x="1837" y="367"/>
                  </a:lnTo>
                  <a:lnTo>
                    <a:pt x="1837" y="369"/>
                  </a:lnTo>
                  <a:lnTo>
                    <a:pt x="1837" y="371"/>
                  </a:lnTo>
                  <a:lnTo>
                    <a:pt x="1835" y="373"/>
                  </a:lnTo>
                  <a:lnTo>
                    <a:pt x="1837" y="373"/>
                  </a:lnTo>
                  <a:lnTo>
                    <a:pt x="1837" y="375"/>
                  </a:lnTo>
                  <a:lnTo>
                    <a:pt x="1837" y="373"/>
                  </a:lnTo>
                  <a:lnTo>
                    <a:pt x="1837" y="371"/>
                  </a:lnTo>
                  <a:lnTo>
                    <a:pt x="1837" y="369"/>
                  </a:lnTo>
                  <a:lnTo>
                    <a:pt x="1837" y="367"/>
                  </a:lnTo>
                  <a:lnTo>
                    <a:pt x="1839" y="367"/>
                  </a:lnTo>
                  <a:lnTo>
                    <a:pt x="1837" y="365"/>
                  </a:lnTo>
                  <a:lnTo>
                    <a:pt x="1839" y="365"/>
                  </a:lnTo>
                  <a:lnTo>
                    <a:pt x="1839" y="367"/>
                  </a:lnTo>
                  <a:lnTo>
                    <a:pt x="1837" y="369"/>
                  </a:lnTo>
                  <a:lnTo>
                    <a:pt x="1837" y="371"/>
                  </a:lnTo>
                  <a:lnTo>
                    <a:pt x="1837" y="373"/>
                  </a:lnTo>
                  <a:lnTo>
                    <a:pt x="1837" y="375"/>
                  </a:lnTo>
                  <a:lnTo>
                    <a:pt x="1841" y="375"/>
                  </a:lnTo>
                  <a:lnTo>
                    <a:pt x="1843" y="377"/>
                  </a:lnTo>
                  <a:lnTo>
                    <a:pt x="1843" y="379"/>
                  </a:lnTo>
                  <a:lnTo>
                    <a:pt x="1845" y="379"/>
                  </a:lnTo>
                  <a:lnTo>
                    <a:pt x="1849" y="379"/>
                  </a:lnTo>
                  <a:lnTo>
                    <a:pt x="1854" y="379"/>
                  </a:lnTo>
                  <a:lnTo>
                    <a:pt x="1860" y="379"/>
                  </a:lnTo>
                  <a:lnTo>
                    <a:pt x="1862" y="379"/>
                  </a:lnTo>
                  <a:lnTo>
                    <a:pt x="1862" y="377"/>
                  </a:lnTo>
                  <a:lnTo>
                    <a:pt x="1862" y="379"/>
                  </a:lnTo>
                  <a:lnTo>
                    <a:pt x="1864" y="379"/>
                  </a:lnTo>
                  <a:lnTo>
                    <a:pt x="1868" y="379"/>
                  </a:lnTo>
                  <a:lnTo>
                    <a:pt x="1868" y="377"/>
                  </a:lnTo>
                  <a:lnTo>
                    <a:pt x="1868" y="379"/>
                  </a:lnTo>
                  <a:lnTo>
                    <a:pt x="1870" y="377"/>
                  </a:lnTo>
                  <a:lnTo>
                    <a:pt x="1870" y="375"/>
                  </a:lnTo>
                  <a:lnTo>
                    <a:pt x="1872" y="375"/>
                  </a:lnTo>
                  <a:lnTo>
                    <a:pt x="1872" y="373"/>
                  </a:lnTo>
                  <a:lnTo>
                    <a:pt x="1870" y="373"/>
                  </a:lnTo>
                  <a:lnTo>
                    <a:pt x="1870" y="375"/>
                  </a:lnTo>
                  <a:lnTo>
                    <a:pt x="1868" y="377"/>
                  </a:lnTo>
                  <a:lnTo>
                    <a:pt x="1870" y="375"/>
                  </a:lnTo>
                  <a:lnTo>
                    <a:pt x="1870" y="373"/>
                  </a:lnTo>
                  <a:lnTo>
                    <a:pt x="1872" y="373"/>
                  </a:lnTo>
                  <a:lnTo>
                    <a:pt x="1874" y="373"/>
                  </a:lnTo>
                  <a:lnTo>
                    <a:pt x="1874" y="371"/>
                  </a:lnTo>
                  <a:lnTo>
                    <a:pt x="1874" y="373"/>
                  </a:lnTo>
                  <a:lnTo>
                    <a:pt x="1874" y="375"/>
                  </a:lnTo>
                  <a:lnTo>
                    <a:pt x="1872" y="375"/>
                  </a:lnTo>
                  <a:lnTo>
                    <a:pt x="1872" y="377"/>
                  </a:lnTo>
                  <a:lnTo>
                    <a:pt x="1874" y="377"/>
                  </a:lnTo>
                  <a:lnTo>
                    <a:pt x="1874" y="375"/>
                  </a:lnTo>
                  <a:lnTo>
                    <a:pt x="1874" y="373"/>
                  </a:lnTo>
                  <a:lnTo>
                    <a:pt x="1876" y="373"/>
                  </a:lnTo>
                  <a:lnTo>
                    <a:pt x="1878" y="369"/>
                  </a:lnTo>
                  <a:lnTo>
                    <a:pt x="1876" y="373"/>
                  </a:lnTo>
                  <a:lnTo>
                    <a:pt x="1878" y="373"/>
                  </a:lnTo>
                  <a:lnTo>
                    <a:pt x="1879" y="373"/>
                  </a:lnTo>
                  <a:lnTo>
                    <a:pt x="1881" y="373"/>
                  </a:lnTo>
                  <a:lnTo>
                    <a:pt x="1881" y="371"/>
                  </a:lnTo>
                  <a:lnTo>
                    <a:pt x="1883" y="369"/>
                  </a:lnTo>
                  <a:lnTo>
                    <a:pt x="1885" y="369"/>
                  </a:lnTo>
                  <a:lnTo>
                    <a:pt x="1887" y="369"/>
                  </a:lnTo>
                  <a:lnTo>
                    <a:pt x="1887" y="367"/>
                  </a:lnTo>
                  <a:lnTo>
                    <a:pt x="1885" y="367"/>
                  </a:lnTo>
                  <a:lnTo>
                    <a:pt x="1885" y="369"/>
                  </a:lnTo>
                  <a:lnTo>
                    <a:pt x="1883" y="369"/>
                  </a:lnTo>
                  <a:lnTo>
                    <a:pt x="1885" y="367"/>
                  </a:lnTo>
                  <a:lnTo>
                    <a:pt x="1887" y="367"/>
                  </a:lnTo>
                  <a:lnTo>
                    <a:pt x="1889" y="369"/>
                  </a:lnTo>
                  <a:lnTo>
                    <a:pt x="1887" y="369"/>
                  </a:lnTo>
                  <a:lnTo>
                    <a:pt x="1887" y="371"/>
                  </a:lnTo>
                  <a:lnTo>
                    <a:pt x="1887" y="373"/>
                  </a:lnTo>
                  <a:lnTo>
                    <a:pt x="1889" y="373"/>
                  </a:lnTo>
                  <a:lnTo>
                    <a:pt x="1887" y="373"/>
                  </a:lnTo>
                  <a:lnTo>
                    <a:pt x="1887" y="375"/>
                  </a:lnTo>
                  <a:lnTo>
                    <a:pt x="1887" y="373"/>
                  </a:lnTo>
                  <a:lnTo>
                    <a:pt x="1885" y="373"/>
                  </a:lnTo>
                  <a:lnTo>
                    <a:pt x="1883" y="375"/>
                  </a:lnTo>
                  <a:lnTo>
                    <a:pt x="1881" y="377"/>
                  </a:lnTo>
                  <a:lnTo>
                    <a:pt x="1879" y="379"/>
                  </a:lnTo>
                  <a:lnTo>
                    <a:pt x="1878" y="381"/>
                  </a:lnTo>
                  <a:lnTo>
                    <a:pt x="1876" y="383"/>
                  </a:lnTo>
                  <a:lnTo>
                    <a:pt x="1874" y="383"/>
                  </a:lnTo>
                  <a:lnTo>
                    <a:pt x="1876" y="383"/>
                  </a:lnTo>
                  <a:lnTo>
                    <a:pt x="1874" y="383"/>
                  </a:lnTo>
                  <a:lnTo>
                    <a:pt x="1876" y="383"/>
                  </a:lnTo>
                  <a:lnTo>
                    <a:pt x="1876" y="384"/>
                  </a:lnTo>
                  <a:lnTo>
                    <a:pt x="1874" y="384"/>
                  </a:lnTo>
                  <a:lnTo>
                    <a:pt x="1876" y="384"/>
                  </a:lnTo>
                  <a:lnTo>
                    <a:pt x="1874" y="384"/>
                  </a:lnTo>
                  <a:lnTo>
                    <a:pt x="1874" y="386"/>
                  </a:lnTo>
                  <a:lnTo>
                    <a:pt x="1874" y="388"/>
                  </a:lnTo>
                  <a:lnTo>
                    <a:pt x="1874" y="390"/>
                  </a:lnTo>
                  <a:lnTo>
                    <a:pt x="1874" y="392"/>
                  </a:lnTo>
                  <a:lnTo>
                    <a:pt x="1874" y="394"/>
                  </a:lnTo>
                  <a:lnTo>
                    <a:pt x="1874" y="396"/>
                  </a:lnTo>
                  <a:lnTo>
                    <a:pt x="1874" y="398"/>
                  </a:lnTo>
                  <a:lnTo>
                    <a:pt x="1874" y="400"/>
                  </a:lnTo>
                  <a:lnTo>
                    <a:pt x="1874" y="402"/>
                  </a:lnTo>
                  <a:lnTo>
                    <a:pt x="1876" y="402"/>
                  </a:lnTo>
                  <a:lnTo>
                    <a:pt x="1876" y="404"/>
                  </a:lnTo>
                  <a:lnTo>
                    <a:pt x="1874" y="404"/>
                  </a:lnTo>
                  <a:lnTo>
                    <a:pt x="1874" y="406"/>
                  </a:lnTo>
                  <a:lnTo>
                    <a:pt x="1872" y="408"/>
                  </a:lnTo>
                  <a:lnTo>
                    <a:pt x="1872" y="409"/>
                  </a:lnTo>
                  <a:lnTo>
                    <a:pt x="1872" y="411"/>
                  </a:lnTo>
                  <a:lnTo>
                    <a:pt x="1870" y="411"/>
                  </a:lnTo>
                  <a:lnTo>
                    <a:pt x="1870" y="413"/>
                  </a:lnTo>
                  <a:lnTo>
                    <a:pt x="1870" y="415"/>
                  </a:lnTo>
                  <a:lnTo>
                    <a:pt x="1870" y="417"/>
                  </a:lnTo>
                  <a:lnTo>
                    <a:pt x="1868" y="419"/>
                  </a:lnTo>
                  <a:lnTo>
                    <a:pt x="1868" y="421"/>
                  </a:lnTo>
                  <a:lnTo>
                    <a:pt x="1868" y="423"/>
                  </a:lnTo>
                  <a:lnTo>
                    <a:pt x="1868" y="425"/>
                  </a:lnTo>
                  <a:lnTo>
                    <a:pt x="1868" y="427"/>
                  </a:lnTo>
                  <a:lnTo>
                    <a:pt x="1868" y="429"/>
                  </a:lnTo>
                  <a:lnTo>
                    <a:pt x="1870" y="429"/>
                  </a:lnTo>
                  <a:lnTo>
                    <a:pt x="1870" y="431"/>
                  </a:lnTo>
                  <a:lnTo>
                    <a:pt x="1872" y="431"/>
                  </a:lnTo>
                  <a:lnTo>
                    <a:pt x="1872" y="432"/>
                  </a:lnTo>
                  <a:lnTo>
                    <a:pt x="1874" y="432"/>
                  </a:lnTo>
                  <a:lnTo>
                    <a:pt x="1872" y="434"/>
                  </a:lnTo>
                  <a:lnTo>
                    <a:pt x="1870" y="436"/>
                  </a:lnTo>
                  <a:lnTo>
                    <a:pt x="1870" y="438"/>
                  </a:lnTo>
                  <a:lnTo>
                    <a:pt x="1872" y="434"/>
                  </a:lnTo>
                  <a:lnTo>
                    <a:pt x="1874" y="432"/>
                  </a:lnTo>
                  <a:lnTo>
                    <a:pt x="1874" y="434"/>
                  </a:lnTo>
                  <a:lnTo>
                    <a:pt x="1876" y="434"/>
                  </a:lnTo>
                  <a:lnTo>
                    <a:pt x="1876" y="436"/>
                  </a:lnTo>
                  <a:lnTo>
                    <a:pt x="1878" y="436"/>
                  </a:lnTo>
                  <a:lnTo>
                    <a:pt x="1878" y="438"/>
                  </a:lnTo>
                  <a:lnTo>
                    <a:pt x="1878" y="440"/>
                  </a:lnTo>
                  <a:lnTo>
                    <a:pt x="1878" y="438"/>
                  </a:lnTo>
                  <a:lnTo>
                    <a:pt x="1878" y="440"/>
                  </a:lnTo>
                  <a:lnTo>
                    <a:pt x="1879" y="440"/>
                  </a:lnTo>
                  <a:lnTo>
                    <a:pt x="1879" y="442"/>
                  </a:lnTo>
                  <a:lnTo>
                    <a:pt x="1879" y="440"/>
                  </a:lnTo>
                  <a:lnTo>
                    <a:pt x="1881" y="442"/>
                  </a:lnTo>
                  <a:lnTo>
                    <a:pt x="1881" y="440"/>
                  </a:lnTo>
                  <a:lnTo>
                    <a:pt x="1881" y="442"/>
                  </a:lnTo>
                  <a:lnTo>
                    <a:pt x="1883" y="442"/>
                  </a:lnTo>
                  <a:lnTo>
                    <a:pt x="1883" y="440"/>
                  </a:lnTo>
                  <a:lnTo>
                    <a:pt x="1883" y="442"/>
                  </a:lnTo>
                  <a:lnTo>
                    <a:pt x="1885" y="442"/>
                  </a:lnTo>
                  <a:lnTo>
                    <a:pt x="1885" y="444"/>
                  </a:lnTo>
                  <a:lnTo>
                    <a:pt x="1887" y="444"/>
                  </a:lnTo>
                  <a:lnTo>
                    <a:pt x="1887" y="446"/>
                  </a:lnTo>
                  <a:lnTo>
                    <a:pt x="1889" y="446"/>
                  </a:lnTo>
                  <a:lnTo>
                    <a:pt x="1887" y="446"/>
                  </a:lnTo>
                  <a:lnTo>
                    <a:pt x="1889" y="446"/>
                  </a:lnTo>
                  <a:lnTo>
                    <a:pt x="1887" y="450"/>
                  </a:lnTo>
                  <a:lnTo>
                    <a:pt x="1885" y="450"/>
                  </a:lnTo>
                  <a:lnTo>
                    <a:pt x="1889" y="446"/>
                  </a:lnTo>
                  <a:lnTo>
                    <a:pt x="1891" y="446"/>
                  </a:lnTo>
                  <a:lnTo>
                    <a:pt x="1891" y="448"/>
                  </a:lnTo>
                  <a:lnTo>
                    <a:pt x="1891" y="446"/>
                  </a:lnTo>
                  <a:lnTo>
                    <a:pt x="1893" y="446"/>
                  </a:lnTo>
                  <a:lnTo>
                    <a:pt x="1893" y="448"/>
                  </a:lnTo>
                  <a:lnTo>
                    <a:pt x="1893" y="446"/>
                  </a:lnTo>
                  <a:lnTo>
                    <a:pt x="1893" y="448"/>
                  </a:lnTo>
                  <a:lnTo>
                    <a:pt x="1895" y="448"/>
                  </a:lnTo>
                  <a:lnTo>
                    <a:pt x="1895" y="450"/>
                  </a:lnTo>
                  <a:lnTo>
                    <a:pt x="1897" y="450"/>
                  </a:lnTo>
                  <a:lnTo>
                    <a:pt x="1899" y="448"/>
                  </a:lnTo>
                  <a:lnTo>
                    <a:pt x="1899" y="446"/>
                  </a:lnTo>
                  <a:lnTo>
                    <a:pt x="1899" y="448"/>
                  </a:lnTo>
                  <a:lnTo>
                    <a:pt x="1899" y="450"/>
                  </a:lnTo>
                  <a:lnTo>
                    <a:pt x="1901" y="450"/>
                  </a:lnTo>
                  <a:lnTo>
                    <a:pt x="1901" y="448"/>
                  </a:lnTo>
                  <a:lnTo>
                    <a:pt x="1902" y="450"/>
                  </a:lnTo>
                  <a:lnTo>
                    <a:pt x="1904" y="450"/>
                  </a:lnTo>
                  <a:lnTo>
                    <a:pt x="1906" y="450"/>
                  </a:lnTo>
                  <a:lnTo>
                    <a:pt x="1908" y="452"/>
                  </a:lnTo>
                  <a:lnTo>
                    <a:pt x="1908" y="454"/>
                  </a:lnTo>
                  <a:lnTo>
                    <a:pt x="1908" y="456"/>
                  </a:lnTo>
                  <a:lnTo>
                    <a:pt x="1906" y="457"/>
                  </a:lnTo>
                  <a:lnTo>
                    <a:pt x="1908" y="456"/>
                  </a:lnTo>
                  <a:lnTo>
                    <a:pt x="1908" y="454"/>
                  </a:lnTo>
                  <a:lnTo>
                    <a:pt x="1908" y="456"/>
                  </a:lnTo>
                  <a:lnTo>
                    <a:pt x="1908" y="454"/>
                  </a:lnTo>
                  <a:lnTo>
                    <a:pt x="1908" y="450"/>
                  </a:lnTo>
                  <a:lnTo>
                    <a:pt x="1910" y="452"/>
                  </a:lnTo>
                  <a:lnTo>
                    <a:pt x="1912" y="461"/>
                  </a:lnTo>
                  <a:lnTo>
                    <a:pt x="1910" y="452"/>
                  </a:lnTo>
                  <a:lnTo>
                    <a:pt x="1910" y="450"/>
                  </a:lnTo>
                  <a:lnTo>
                    <a:pt x="1912" y="450"/>
                  </a:lnTo>
                  <a:lnTo>
                    <a:pt x="1912" y="452"/>
                  </a:lnTo>
                  <a:lnTo>
                    <a:pt x="1914" y="452"/>
                  </a:lnTo>
                  <a:lnTo>
                    <a:pt x="1914" y="450"/>
                  </a:lnTo>
                  <a:lnTo>
                    <a:pt x="1914" y="452"/>
                  </a:lnTo>
                  <a:lnTo>
                    <a:pt x="1914" y="454"/>
                  </a:lnTo>
                  <a:lnTo>
                    <a:pt x="1916" y="454"/>
                  </a:lnTo>
                  <a:lnTo>
                    <a:pt x="1916" y="456"/>
                  </a:lnTo>
                  <a:lnTo>
                    <a:pt x="1916" y="459"/>
                  </a:lnTo>
                  <a:lnTo>
                    <a:pt x="1916" y="463"/>
                  </a:lnTo>
                  <a:lnTo>
                    <a:pt x="1916" y="461"/>
                  </a:lnTo>
                  <a:lnTo>
                    <a:pt x="1916" y="459"/>
                  </a:lnTo>
                  <a:lnTo>
                    <a:pt x="1916" y="457"/>
                  </a:lnTo>
                  <a:lnTo>
                    <a:pt x="1916" y="456"/>
                  </a:lnTo>
                  <a:lnTo>
                    <a:pt x="1916" y="454"/>
                  </a:lnTo>
                  <a:lnTo>
                    <a:pt x="1918" y="454"/>
                  </a:lnTo>
                  <a:lnTo>
                    <a:pt x="1920" y="454"/>
                  </a:lnTo>
                  <a:lnTo>
                    <a:pt x="1920" y="456"/>
                  </a:lnTo>
                  <a:lnTo>
                    <a:pt x="1920" y="457"/>
                  </a:lnTo>
                  <a:lnTo>
                    <a:pt x="1922" y="457"/>
                  </a:lnTo>
                  <a:lnTo>
                    <a:pt x="1922" y="465"/>
                  </a:lnTo>
                  <a:lnTo>
                    <a:pt x="1922" y="459"/>
                  </a:lnTo>
                  <a:lnTo>
                    <a:pt x="1922" y="457"/>
                  </a:lnTo>
                  <a:lnTo>
                    <a:pt x="1924" y="457"/>
                  </a:lnTo>
                  <a:lnTo>
                    <a:pt x="1924" y="456"/>
                  </a:lnTo>
                  <a:lnTo>
                    <a:pt x="1925" y="456"/>
                  </a:lnTo>
                  <a:lnTo>
                    <a:pt x="1925" y="457"/>
                  </a:lnTo>
                  <a:lnTo>
                    <a:pt x="1925" y="459"/>
                  </a:lnTo>
                  <a:lnTo>
                    <a:pt x="1927" y="459"/>
                  </a:lnTo>
                  <a:lnTo>
                    <a:pt x="1927" y="465"/>
                  </a:lnTo>
                  <a:lnTo>
                    <a:pt x="1927" y="461"/>
                  </a:lnTo>
                  <a:lnTo>
                    <a:pt x="1927" y="459"/>
                  </a:lnTo>
                  <a:lnTo>
                    <a:pt x="1927" y="457"/>
                  </a:lnTo>
                  <a:lnTo>
                    <a:pt x="1927" y="459"/>
                  </a:lnTo>
                  <a:lnTo>
                    <a:pt x="1929" y="459"/>
                  </a:lnTo>
                  <a:lnTo>
                    <a:pt x="1931" y="459"/>
                  </a:lnTo>
                  <a:lnTo>
                    <a:pt x="1931" y="461"/>
                  </a:lnTo>
                  <a:lnTo>
                    <a:pt x="1931" y="459"/>
                  </a:lnTo>
                  <a:lnTo>
                    <a:pt x="1933" y="459"/>
                  </a:lnTo>
                  <a:lnTo>
                    <a:pt x="1933" y="457"/>
                  </a:lnTo>
                  <a:lnTo>
                    <a:pt x="1933" y="459"/>
                  </a:lnTo>
                  <a:lnTo>
                    <a:pt x="1935" y="457"/>
                  </a:lnTo>
                  <a:lnTo>
                    <a:pt x="1937" y="457"/>
                  </a:lnTo>
                  <a:lnTo>
                    <a:pt x="1939" y="459"/>
                  </a:lnTo>
                  <a:lnTo>
                    <a:pt x="1941" y="459"/>
                  </a:lnTo>
                  <a:lnTo>
                    <a:pt x="1941" y="461"/>
                  </a:lnTo>
                  <a:lnTo>
                    <a:pt x="1941" y="463"/>
                  </a:lnTo>
                  <a:lnTo>
                    <a:pt x="1943" y="463"/>
                  </a:lnTo>
                  <a:lnTo>
                    <a:pt x="1943" y="461"/>
                  </a:lnTo>
                  <a:lnTo>
                    <a:pt x="1943" y="463"/>
                  </a:lnTo>
                  <a:lnTo>
                    <a:pt x="1943" y="461"/>
                  </a:lnTo>
                  <a:lnTo>
                    <a:pt x="1945" y="461"/>
                  </a:lnTo>
                  <a:lnTo>
                    <a:pt x="1945" y="463"/>
                  </a:lnTo>
                  <a:lnTo>
                    <a:pt x="1943" y="463"/>
                  </a:lnTo>
                  <a:lnTo>
                    <a:pt x="1945" y="463"/>
                  </a:lnTo>
                  <a:lnTo>
                    <a:pt x="1945" y="465"/>
                  </a:lnTo>
                  <a:lnTo>
                    <a:pt x="1945" y="463"/>
                  </a:lnTo>
                  <a:lnTo>
                    <a:pt x="1945" y="465"/>
                  </a:lnTo>
                  <a:lnTo>
                    <a:pt x="1945" y="467"/>
                  </a:lnTo>
                  <a:lnTo>
                    <a:pt x="1945" y="465"/>
                  </a:lnTo>
                  <a:lnTo>
                    <a:pt x="1947" y="465"/>
                  </a:lnTo>
                  <a:lnTo>
                    <a:pt x="1947" y="467"/>
                  </a:lnTo>
                  <a:lnTo>
                    <a:pt x="1947" y="469"/>
                  </a:lnTo>
                  <a:lnTo>
                    <a:pt x="1947" y="471"/>
                  </a:lnTo>
                  <a:lnTo>
                    <a:pt x="1945" y="471"/>
                  </a:lnTo>
                  <a:lnTo>
                    <a:pt x="1945" y="473"/>
                  </a:lnTo>
                  <a:lnTo>
                    <a:pt x="1945" y="475"/>
                  </a:lnTo>
                  <a:lnTo>
                    <a:pt x="1945" y="473"/>
                  </a:lnTo>
                  <a:lnTo>
                    <a:pt x="1947" y="473"/>
                  </a:lnTo>
                  <a:lnTo>
                    <a:pt x="1947" y="471"/>
                  </a:lnTo>
                  <a:lnTo>
                    <a:pt x="1947" y="469"/>
                  </a:lnTo>
                  <a:lnTo>
                    <a:pt x="1947" y="467"/>
                  </a:lnTo>
                  <a:lnTo>
                    <a:pt x="1947" y="465"/>
                  </a:lnTo>
                  <a:lnTo>
                    <a:pt x="1947" y="463"/>
                  </a:lnTo>
                  <a:lnTo>
                    <a:pt x="1947" y="465"/>
                  </a:lnTo>
                  <a:lnTo>
                    <a:pt x="1949" y="465"/>
                  </a:lnTo>
                  <a:lnTo>
                    <a:pt x="1949" y="463"/>
                  </a:lnTo>
                  <a:lnTo>
                    <a:pt x="1949" y="465"/>
                  </a:lnTo>
                  <a:lnTo>
                    <a:pt x="1950" y="465"/>
                  </a:lnTo>
                  <a:lnTo>
                    <a:pt x="1952" y="465"/>
                  </a:lnTo>
                  <a:lnTo>
                    <a:pt x="1952" y="467"/>
                  </a:lnTo>
                  <a:lnTo>
                    <a:pt x="1954" y="467"/>
                  </a:lnTo>
                  <a:lnTo>
                    <a:pt x="1954" y="469"/>
                  </a:lnTo>
                  <a:lnTo>
                    <a:pt x="1954" y="471"/>
                  </a:lnTo>
                  <a:lnTo>
                    <a:pt x="1954" y="467"/>
                  </a:lnTo>
                  <a:lnTo>
                    <a:pt x="1956" y="467"/>
                  </a:lnTo>
                  <a:lnTo>
                    <a:pt x="1956" y="469"/>
                  </a:lnTo>
                  <a:lnTo>
                    <a:pt x="1958" y="469"/>
                  </a:lnTo>
                  <a:lnTo>
                    <a:pt x="1958" y="467"/>
                  </a:lnTo>
                  <a:lnTo>
                    <a:pt x="1958" y="469"/>
                  </a:lnTo>
                  <a:lnTo>
                    <a:pt x="1960" y="469"/>
                  </a:lnTo>
                  <a:lnTo>
                    <a:pt x="1960" y="473"/>
                  </a:lnTo>
                  <a:lnTo>
                    <a:pt x="1960" y="475"/>
                  </a:lnTo>
                  <a:lnTo>
                    <a:pt x="1960" y="473"/>
                  </a:lnTo>
                  <a:lnTo>
                    <a:pt x="1960" y="471"/>
                  </a:lnTo>
                  <a:lnTo>
                    <a:pt x="1960" y="469"/>
                  </a:lnTo>
                  <a:lnTo>
                    <a:pt x="1962" y="469"/>
                  </a:lnTo>
                  <a:lnTo>
                    <a:pt x="1964" y="469"/>
                  </a:lnTo>
                  <a:lnTo>
                    <a:pt x="1966" y="471"/>
                  </a:lnTo>
                  <a:lnTo>
                    <a:pt x="1966" y="473"/>
                  </a:lnTo>
                  <a:lnTo>
                    <a:pt x="1966" y="471"/>
                  </a:lnTo>
                  <a:lnTo>
                    <a:pt x="1968" y="471"/>
                  </a:lnTo>
                  <a:lnTo>
                    <a:pt x="1970" y="471"/>
                  </a:lnTo>
                  <a:lnTo>
                    <a:pt x="1970" y="473"/>
                  </a:lnTo>
                  <a:lnTo>
                    <a:pt x="1970" y="471"/>
                  </a:lnTo>
                  <a:lnTo>
                    <a:pt x="1972" y="471"/>
                  </a:lnTo>
                  <a:lnTo>
                    <a:pt x="1973" y="473"/>
                  </a:lnTo>
                  <a:lnTo>
                    <a:pt x="1973" y="479"/>
                  </a:lnTo>
                  <a:lnTo>
                    <a:pt x="1975" y="479"/>
                  </a:lnTo>
                  <a:lnTo>
                    <a:pt x="1975" y="477"/>
                  </a:lnTo>
                  <a:lnTo>
                    <a:pt x="1975" y="475"/>
                  </a:lnTo>
                  <a:lnTo>
                    <a:pt x="1973" y="475"/>
                  </a:lnTo>
                  <a:lnTo>
                    <a:pt x="1973" y="473"/>
                  </a:lnTo>
                  <a:lnTo>
                    <a:pt x="1975" y="473"/>
                  </a:lnTo>
                  <a:lnTo>
                    <a:pt x="1973" y="473"/>
                  </a:lnTo>
                  <a:lnTo>
                    <a:pt x="1973" y="471"/>
                  </a:lnTo>
                  <a:lnTo>
                    <a:pt x="1975" y="471"/>
                  </a:lnTo>
                  <a:lnTo>
                    <a:pt x="1975" y="469"/>
                  </a:lnTo>
                  <a:lnTo>
                    <a:pt x="1977" y="467"/>
                  </a:lnTo>
                  <a:lnTo>
                    <a:pt x="1977" y="469"/>
                  </a:lnTo>
                  <a:lnTo>
                    <a:pt x="1977" y="484"/>
                  </a:lnTo>
                  <a:lnTo>
                    <a:pt x="1977" y="488"/>
                  </a:lnTo>
                  <a:lnTo>
                    <a:pt x="1979" y="492"/>
                  </a:lnTo>
                  <a:lnTo>
                    <a:pt x="1981" y="500"/>
                  </a:lnTo>
                  <a:lnTo>
                    <a:pt x="1981" y="504"/>
                  </a:lnTo>
                  <a:lnTo>
                    <a:pt x="1981" y="515"/>
                  </a:lnTo>
                  <a:lnTo>
                    <a:pt x="1981" y="523"/>
                  </a:lnTo>
                  <a:lnTo>
                    <a:pt x="1981" y="527"/>
                  </a:lnTo>
                  <a:lnTo>
                    <a:pt x="1979" y="530"/>
                  </a:lnTo>
                  <a:lnTo>
                    <a:pt x="1977" y="532"/>
                  </a:lnTo>
                  <a:lnTo>
                    <a:pt x="1975" y="534"/>
                  </a:lnTo>
                  <a:lnTo>
                    <a:pt x="1973" y="538"/>
                  </a:lnTo>
                  <a:lnTo>
                    <a:pt x="1972" y="538"/>
                  </a:lnTo>
                  <a:lnTo>
                    <a:pt x="1972" y="540"/>
                  </a:lnTo>
                  <a:lnTo>
                    <a:pt x="1973" y="540"/>
                  </a:lnTo>
                  <a:lnTo>
                    <a:pt x="1977" y="542"/>
                  </a:lnTo>
                  <a:lnTo>
                    <a:pt x="1977" y="544"/>
                  </a:lnTo>
                  <a:lnTo>
                    <a:pt x="1981" y="546"/>
                  </a:lnTo>
                  <a:lnTo>
                    <a:pt x="1983" y="548"/>
                  </a:lnTo>
                  <a:lnTo>
                    <a:pt x="1989" y="552"/>
                  </a:lnTo>
                  <a:lnTo>
                    <a:pt x="1983" y="553"/>
                  </a:lnTo>
                  <a:lnTo>
                    <a:pt x="1977" y="555"/>
                  </a:lnTo>
                  <a:lnTo>
                    <a:pt x="1975" y="555"/>
                  </a:lnTo>
                  <a:lnTo>
                    <a:pt x="1973" y="555"/>
                  </a:lnTo>
                  <a:lnTo>
                    <a:pt x="1970" y="555"/>
                  </a:lnTo>
                  <a:lnTo>
                    <a:pt x="1968" y="555"/>
                  </a:lnTo>
                  <a:lnTo>
                    <a:pt x="1966" y="561"/>
                  </a:lnTo>
                  <a:lnTo>
                    <a:pt x="1956" y="577"/>
                  </a:lnTo>
                  <a:lnTo>
                    <a:pt x="1956" y="578"/>
                  </a:lnTo>
                  <a:lnTo>
                    <a:pt x="1956" y="580"/>
                  </a:lnTo>
                  <a:lnTo>
                    <a:pt x="1954" y="582"/>
                  </a:lnTo>
                  <a:lnTo>
                    <a:pt x="1954" y="584"/>
                  </a:lnTo>
                  <a:lnTo>
                    <a:pt x="1954" y="586"/>
                  </a:lnTo>
                  <a:lnTo>
                    <a:pt x="1954" y="596"/>
                  </a:lnTo>
                  <a:lnTo>
                    <a:pt x="1950" y="600"/>
                  </a:lnTo>
                  <a:lnTo>
                    <a:pt x="1950" y="603"/>
                  </a:lnTo>
                  <a:lnTo>
                    <a:pt x="1949" y="603"/>
                  </a:lnTo>
                  <a:lnTo>
                    <a:pt x="1949" y="605"/>
                  </a:lnTo>
                  <a:lnTo>
                    <a:pt x="1947" y="609"/>
                  </a:lnTo>
                  <a:lnTo>
                    <a:pt x="1945" y="607"/>
                  </a:lnTo>
                  <a:lnTo>
                    <a:pt x="1945" y="609"/>
                  </a:lnTo>
                  <a:lnTo>
                    <a:pt x="1945" y="613"/>
                  </a:lnTo>
                  <a:lnTo>
                    <a:pt x="1947" y="619"/>
                  </a:lnTo>
                  <a:lnTo>
                    <a:pt x="1947" y="621"/>
                  </a:lnTo>
                  <a:lnTo>
                    <a:pt x="1947" y="623"/>
                  </a:lnTo>
                  <a:lnTo>
                    <a:pt x="1947" y="625"/>
                  </a:lnTo>
                  <a:lnTo>
                    <a:pt x="1949" y="628"/>
                  </a:lnTo>
                  <a:lnTo>
                    <a:pt x="1950" y="628"/>
                  </a:lnTo>
                  <a:lnTo>
                    <a:pt x="1949" y="630"/>
                  </a:lnTo>
                  <a:lnTo>
                    <a:pt x="1949" y="632"/>
                  </a:lnTo>
                  <a:lnTo>
                    <a:pt x="1950" y="634"/>
                  </a:lnTo>
                  <a:lnTo>
                    <a:pt x="1952" y="634"/>
                  </a:lnTo>
                  <a:lnTo>
                    <a:pt x="1964" y="644"/>
                  </a:lnTo>
                  <a:lnTo>
                    <a:pt x="1964" y="650"/>
                  </a:lnTo>
                  <a:lnTo>
                    <a:pt x="1962" y="671"/>
                  </a:lnTo>
                  <a:lnTo>
                    <a:pt x="1960" y="688"/>
                  </a:lnTo>
                  <a:lnTo>
                    <a:pt x="1960" y="698"/>
                  </a:lnTo>
                  <a:lnTo>
                    <a:pt x="1962" y="721"/>
                  </a:lnTo>
                  <a:lnTo>
                    <a:pt x="1962" y="724"/>
                  </a:lnTo>
                  <a:lnTo>
                    <a:pt x="1962" y="736"/>
                  </a:lnTo>
                  <a:lnTo>
                    <a:pt x="1968" y="788"/>
                  </a:lnTo>
                  <a:lnTo>
                    <a:pt x="1970" y="794"/>
                  </a:lnTo>
                  <a:lnTo>
                    <a:pt x="1970" y="796"/>
                  </a:lnTo>
                  <a:lnTo>
                    <a:pt x="1968" y="796"/>
                  </a:lnTo>
                  <a:lnTo>
                    <a:pt x="1964" y="803"/>
                  </a:lnTo>
                  <a:lnTo>
                    <a:pt x="1962" y="803"/>
                  </a:lnTo>
                  <a:lnTo>
                    <a:pt x="1956" y="826"/>
                  </a:lnTo>
                  <a:lnTo>
                    <a:pt x="1954" y="828"/>
                  </a:lnTo>
                  <a:lnTo>
                    <a:pt x="1945" y="861"/>
                  </a:lnTo>
                  <a:lnTo>
                    <a:pt x="1941" y="872"/>
                  </a:lnTo>
                  <a:lnTo>
                    <a:pt x="1937" y="884"/>
                  </a:lnTo>
                  <a:lnTo>
                    <a:pt x="1918" y="913"/>
                  </a:lnTo>
                  <a:lnTo>
                    <a:pt x="1910" y="924"/>
                  </a:lnTo>
                  <a:lnTo>
                    <a:pt x="1908" y="926"/>
                  </a:lnTo>
                  <a:lnTo>
                    <a:pt x="1895" y="947"/>
                  </a:lnTo>
                  <a:lnTo>
                    <a:pt x="1887" y="959"/>
                  </a:lnTo>
                  <a:lnTo>
                    <a:pt x="1881" y="968"/>
                  </a:lnTo>
                  <a:lnTo>
                    <a:pt x="1879" y="970"/>
                  </a:lnTo>
                  <a:lnTo>
                    <a:pt x="1872" y="984"/>
                  </a:lnTo>
                  <a:lnTo>
                    <a:pt x="1868" y="990"/>
                  </a:lnTo>
                  <a:lnTo>
                    <a:pt x="1864" y="995"/>
                  </a:lnTo>
                  <a:lnTo>
                    <a:pt x="1862" y="995"/>
                  </a:lnTo>
                  <a:lnTo>
                    <a:pt x="1862" y="997"/>
                  </a:lnTo>
                  <a:lnTo>
                    <a:pt x="1856" y="1005"/>
                  </a:lnTo>
                  <a:lnTo>
                    <a:pt x="1853" y="1009"/>
                  </a:lnTo>
                  <a:lnTo>
                    <a:pt x="1853" y="1011"/>
                  </a:lnTo>
                  <a:lnTo>
                    <a:pt x="1854" y="1016"/>
                  </a:lnTo>
                  <a:lnTo>
                    <a:pt x="1854" y="1022"/>
                  </a:lnTo>
                  <a:lnTo>
                    <a:pt x="1856" y="1026"/>
                  </a:lnTo>
                  <a:lnTo>
                    <a:pt x="1853" y="1034"/>
                  </a:lnTo>
                  <a:lnTo>
                    <a:pt x="1845" y="1047"/>
                  </a:lnTo>
                  <a:lnTo>
                    <a:pt x="1843" y="1049"/>
                  </a:lnTo>
                  <a:lnTo>
                    <a:pt x="1845" y="1049"/>
                  </a:lnTo>
                  <a:lnTo>
                    <a:pt x="1843" y="1051"/>
                  </a:lnTo>
                  <a:lnTo>
                    <a:pt x="1837" y="1064"/>
                  </a:lnTo>
                  <a:lnTo>
                    <a:pt x="1835" y="1072"/>
                  </a:lnTo>
                  <a:lnTo>
                    <a:pt x="1835" y="1074"/>
                  </a:lnTo>
                  <a:lnTo>
                    <a:pt x="1835" y="1084"/>
                  </a:lnTo>
                  <a:lnTo>
                    <a:pt x="1835" y="1087"/>
                  </a:lnTo>
                  <a:lnTo>
                    <a:pt x="1833" y="1091"/>
                  </a:lnTo>
                  <a:lnTo>
                    <a:pt x="1833" y="1107"/>
                  </a:lnTo>
                  <a:lnTo>
                    <a:pt x="1831" y="1116"/>
                  </a:lnTo>
                  <a:lnTo>
                    <a:pt x="1830" y="1141"/>
                  </a:lnTo>
                  <a:lnTo>
                    <a:pt x="1826" y="1178"/>
                  </a:lnTo>
                  <a:lnTo>
                    <a:pt x="1826" y="1185"/>
                  </a:lnTo>
                  <a:lnTo>
                    <a:pt x="1822" y="1210"/>
                  </a:lnTo>
                  <a:lnTo>
                    <a:pt x="1818" y="1251"/>
                  </a:lnTo>
                  <a:lnTo>
                    <a:pt x="1814" y="1280"/>
                  </a:lnTo>
                  <a:lnTo>
                    <a:pt x="1812" y="1291"/>
                  </a:lnTo>
                  <a:lnTo>
                    <a:pt x="1812" y="1295"/>
                  </a:lnTo>
                  <a:lnTo>
                    <a:pt x="1814" y="1295"/>
                  </a:lnTo>
                  <a:lnTo>
                    <a:pt x="1814" y="1297"/>
                  </a:lnTo>
                  <a:lnTo>
                    <a:pt x="1808" y="1303"/>
                  </a:lnTo>
                  <a:lnTo>
                    <a:pt x="1803" y="1308"/>
                  </a:lnTo>
                  <a:lnTo>
                    <a:pt x="1801" y="1312"/>
                  </a:lnTo>
                  <a:lnTo>
                    <a:pt x="1799" y="1312"/>
                  </a:lnTo>
                  <a:lnTo>
                    <a:pt x="1799" y="1310"/>
                  </a:lnTo>
                  <a:lnTo>
                    <a:pt x="1797" y="1308"/>
                  </a:lnTo>
                  <a:lnTo>
                    <a:pt x="1795" y="1308"/>
                  </a:lnTo>
                  <a:lnTo>
                    <a:pt x="1789" y="1308"/>
                  </a:lnTo>
                  <a:lnTo>
                    <a:pt x="1783" y="1306"/>
                  </a:lnTo>
                  <a:lnTo>
                    <a:pt x="1776" y="1305"/>
                  </a:lnTo>
                  <a:lnTo>
                    <a:pt x="1772" y="1303"/>
                  </a:lnTo>
                  <a:lnTo>
                    <a:pt x="1770" y="1301"/>
                  </a:lnTo>
                  <a:lnTo>
                    <a:pt x="1770" y="1299"/>
                  </a:lnTo>
                  <a:lnTo>
                    <a:pt x="1768" y="1299"/>
                  </a:lnTo>
                  <a:lnTo>
                    <a:pt x="1768" y="1297"/>
                  </a:lnTo>
                  <a:lnTo>
                    <a:pt x="1766" y="1297"/>
                  </a:lnTo>
                  <a:lnTo>
                    <a:pt x="1760" y="1297"/>
                  </a:lnTo>
                  <a:lnTo>
                    <a:pt x="1753" y="1295"/>
                  </a:lnTo>
                  <a:lnTo>
                    <a:pt x="1751" y="1293"/>
                  </a:lnTo>
                  <a:lnTo>
                    <a:pt x="1747" y="1291"/>
                  </a:lnTo>
                  <a:lnTo>
                    <a:pt x="1745" y="1291"/>
                  </a:lnTo>
                  <a:lnTo>
                    <a:pt x="1741" y="1295"/>
                  </a:lnTo>
                  <a:lnTo>
                    <a:pt x="1739" y="1297"/>
                  </a:lnTo>
                  <a:lnTo>
                    <a:pt x="1732" y="1297"/>
                  </a:lnTo>
                  <a:lnTo>
                    <a:pt x="1728" y="1299"/>
                  </a:lnTo>
                  <a:lnTo>
                    <a:pt x="1726" y="1299"/>
                  </a:lnTo>
                  <a:lnTo>
                    <a:pt x="1722" y="1299"/>
                  </a:lnTo>
                  <a:lnTo>
                    <a:pt x="1720" y="1299"/>
                  </a:lnTo>
                  <a:lnTo>
                    <a:pt x="1718" y="1299"/>
                  </a:lnTo>
                  <a:lnTo>
                    <a:pt x="1714" y="1301"/>
                  </a:lnTo>
                  <a:lnTo>
                    <a:pt x="1711" y="1301"/>
                  </a:lnTo>
                  <a:lnTo>
                    <a:pt x="1707" y="1297"/>
                  </a:lnTo>
                  <a:lnTo>
                    <a:pt x="1705" y="1297"/>
                  </a:lnTo>
                  <a:lnTo>
                    <a:pt x="1697" y="1297"/>
                  </a:lnTo>
                  <a:lnTo>
                    <a:pt x="1695" y="1295"/>
                  </a:lnTo>
                  <a:lnTo>
                    <a:pt x="1695" y="1289"/>
                  </a:lnTo>
                  <a:lnTo>
                    <a:pt x="1693" y="1287"/>
                  </a:lnTo>
                  <a:lnTo>
                    <a:pt x="1689" y="1285"/>
                  </a:lnTo>
                  <a:lnTo>
                    <a:pt x="1686" y="1285"/>
                  </a:lnTo>
                  <a:lnTo>
                    <a:pt x="1684" y="1285"/>
                  </a:lnTo>
                  <a:lnTo>
                    <a:pt x="1684" y="1283"/>
                  </a:lnTo>
                  <a:lnTo>
                    <a:pt x="1682" y="1281"/>
                  </a:lnTo>
                  <a:lnTo>
                    <a:pt x="1680" y="1281"/>
                  </a:lnTo>
                  <a:lnTo>
                    <a:pt x="1680" y="1280"/>
                  </a:lnTo>
                  <a:lnTo>
                    <a:pt x="1678" y="1280"/>
                  </a:lnTo>
                  <a:lnTo>
                    <a:pt x="1674" y="1280"/>
                  </a:lnTo>
                  <a:lnTo>
                    <a:pt x="1666" y="1281"/>
                  </a:lnTo>
                  <a:lnTo>
                    <a:pt x="1664" y="1281"/>
                  </a:lnTo>
                  <a:lnTo>
                    <a:pt x="1664" y="1280"/>
                  </a:lnTo>
                  <a:lnTo>
                    <a:pt x="1663" y="1280"/>
                  </a:lnTo>
                  <a:lnTo>
                    <a:pt x="1661" y="1278"/>
                  </a:lnTo>
                  <a:lnTo>
                    <a:pt x="1659" y="1278"/>
                  </a:lnTo>
                  <a:lnTo>
                    <a:pt x="1657" y="1278"/>
                  </a:lnTo>
                  <a:lnTo>
                    <a:pt x="1651" y="1281"/>
                  </a:lnTo>
                  <a:lnTo>
                    <a:pt x="1649" y="1281"/>
                  </a:lnTo>
                  <a:lnTo>
                    <a:pt x="1645" y="1281"/>
                  </a:lnTo>
                  <a:lnTo>
                    <a:pt x="1643" y="1281"/>
                  </a:lnTo>
                  <a:lnTo>
                    <a:pt x="1641" y="1281"/>
                  </a:lnTo>
                  <a:lnTo>
                    <a:pt x="1640" y="1281"/>
                  </a:lnTo>
                  <a:lnTo>
                    <a:pt x="1632" y="1278"/>
                  </a:lnTo>
                  <a:lnTo>
                    <a:pt x="1630" y="1278"/>
                  </a:lnTo>
                  <a:lnTo>
                    <a:pt x="1624" y="1278"/>
                  </a:lnTo>
                  <a:lnTo>
                    <a:pt x="1622" y="1280"/>
                  </a:lnTo>
                  <a:lnTo>
                    <a:pt x="1620" y="1281"/>
                  </a:lnTo>
                  <a:lnTo>
                    <a:pt x="1616" y="1283"/>
                  </a:lnTo>
                  <a:lnTo>
                    <a:pt x="1615" y="1283"/>
                  </a:lnTo>
                  <a:lnTo>
                    <a:pt x="1613" y="1283"/>
                  </a:lnTo>
                  <a:lnTo>
                    <a:pt x="1613" y="1281"/>
                  </a:lnTo>
                  <a:lnTo>
                    <a:pt x="1611" y="1281"/>
                  </a:lnTo>
                  <a:lnTo>
                    <a:pt x="1609" y="1281"/>
                  </a:lnTo>
                  <a:lnTo>
                    <a:pt x="1603" y="1280"/>
                  </a:lnTo>
                  <a:lnTo>
                    <a:pt x="1603" y="1278"/>
                  </a:lnTo>
                  <a:lnTo>
                    <a:pt x="1601" y="1278"/>
                  </a:lnTo>
                  <a:lnTo>
                    <a:pt x="1599" y="1276"/>
                  </a:lnTo>
                  <a:lnTo>
                    <a:pt x="1597" y="1276"/>
                  </a:lnTo>
                  <a:lnTo>
                    <a:pt x="1592" y="1278"/>
                  </a:lnTo>
                  <a:lnTo>
                    <a:pt x="1590" y="1274"/>
                  </a:lnTo>
                  <a:lnTo>
                    <a:pt x="1588" y="1274"/>
                  </a:lnTo>
                  <a:lnTo>
                    <a:pt x="1586" y="1274"/>
                  </a:lnTo>
                  <a:lnTo>
                    <a:pt x="1584" y="1274"/>
                  </a:lnTo>
                  <a:lnTo>
                    <a:pt x="1578" y="1276"/>
                  </a:lnTo>
                  <a:lnTo>
                    <a:pt x="1574" y="1278"/>
                  </a:lnTo>
                  <a:lnTo>
                    <a:pt x="1572" y="1280"/>
                  </a:lnTo>
                  <a:lnTo>
                    <a:pt x="1570" y="1281"/>
                  </a:lnTo>
                  <a:lnTo>
                    <a:pt x="1563" y="1280"/>
                  </a:lnTo>
                  <a:lnTo>
                    <a:pt x="1561" y="1280"/>
                  </a:lnTo>
                  <a:lnTo>
                    <a:pt x="1559" y="1281"/>
                  </a:lnTo>
                  <a:lnTo>
                    <a:pt x="1557" y="1283"/>
                  </a:lnTo>
                  <a:lnTo>
                    <a:pt x="1557" y="1281"/>
                  </a:lnTo>
                  <a:lnTo>
                    <a:pt x="1555" y="1281"/>
                  </a:lnTo>
                  <a:lnTo>
                    <a:pt x="1557" y="1281"/>
                  </a:lnTo>
                  <a:lnTo>
                    <a:pt x="1557" y="1280"/>
                  </a:lnTo>
                  <a:lnTo>
                    <a:pt x="1555" y="1280"/>
                  </a:lnTo>
                  <a:lnTo>
                    <a:pt x="1555" y="1281"/>
                  </a:lnTo>
                  <a:lnTo>
                    <a:pt x="1551" y="1281"/>
                  </a:lnTo>
                  <a:lnTo>
                    <a:pt x="1549" y="1281"/>
                  </a:lnTo>
                  <a:lnTo>
                    <a:pt x="1547" y="1283"/>
                  </a:lnTo>
                  <a:lnTo>
                    <a:pt x="1545" y="1287"/>
                  </a:lnTo>
                  <a:lnTo>
                    <a:pt x="1544" y="1287"/>
                  </a:lnTo>
                  <a:lnTo>
                    <a:pt x="1544" y="1289"/>
                  </a:lnTo>
                  <a:lnTo>
                    <a:pt x="1542" y="1289"/>
                  </a:lnTo>
                  <a:lnTo>
                    <a:pt x="1538" y="1293"/>
                  </a:lnTo>
                  <a:lnTo>
                    <a:pt x="1536" y="1297"/>
                  </a:lnTo>
                  <a:lnTo>
                    <a:pt x="1534" y="1297"/>
                  </a:lnTo>
                  <a:lnTo>
                    <a:pt x="1534" y="1299"/>
                  </a:lnTo>
                  <a:lnTo>
                    <a:pt x="1532" y="1301"/>
                  </a:lnTo>
                  <a:lnTo>
                    <a:pt x="1528" y="1301"/>
                  </a:lnTo>
                  <a:lnTo>
                    <a:pt x="1526" y="1301"/>
                  </a:lnTo>
                  <a:lnTo>
                    <a:pt x="1526" y="1303"/>
                  </a:lnTo>
                  <a:lnTo>
                    <a:pt x="1524" y="1303"/>
                  </a:lnTo>
                  <a:lnTo>
                    <a:pt x="1522" y="1303"/>
                  </a:lnTo>
                  <a:lnTo>
                    <a:pt x="1522" y="1305"/>
                  </a:lnTo>
                  <a:lnTo>
                    <a:pt x="1521" y="1306"/>
                  </a:lnTo>
                  <a:lnTo>
                    <a:pt x="1519" y="1306"/>
                  </a:lnTo>
                  <a:close/>
                  <a:moveTo>
                    <a:pt x="712" y="85"/>
                  </a:moveTo>
                  <a:lnTo>
                    <a:pt x="718" y="87"/>
                  </a:lnTo>
                  <a:lnTo>
                    <a:pt x="722" y="87"/>
                  </a:lnTo>
                  <a:lnTo>
                    <a:pt x="722" y="89"/>
                  </a:lnTo>
                  <a:lnTo>
                    <a:pt x="716" y="89"/>
                  </a:lnTo>
                  <a:lnTo>
                    <a:pt x="711" y="89"/>
                  </a:lnTo>
                  <a:lnTo>
                    <a:pt x="707" y="87"/>
                  </a:lnTo>
                  <a:lnTo>
                    <a:pt x="703" y="85"/>
                  </a:lnTo>
                  <a:lnTo>
                    <a:pt x="703" y="87"/>
                  </a:lnTo>
                  <a:lnTo>
                    <a:pt x="701" y="87"/>
                  </a:lnTo>
                  <a:lnTo>
                    <a:pt x="703" y="89"/>
                  </a:lnTo>
                  <a:lnTo>
                    <a:pt x="705" y="89"/>
                  </a:lnTo>
                  <a:lnTo>
                    <a:pt x="707" y="91"/>
                  </a:lnTo>
                  <a:lnTo>
                    <a:pt x="709" y="91"/>
                  </a:lnTo>
                  <a:lnTo>
                    <a:pt x="712" y="92"/>
                  </a:lnTo>
                  <a:lnTo>
                    <a:pt x="714" y="92"/>
                  </a:lnTo>
                  <a:lnTo>
                    <a:pt x="716" y="94"/>
                  </a:lnTo>
                  <a:lnTo>
                    <a:pt x="718" y="94"/>
                  </a:lnTo>
                  <a:lnTo>
                    <a:pt x="720" y="96"/>
                  </a:lnTo>
                  <a:lnTo>
                    <a:pt x="722" y="96"/>
                  </a:lnTo>
                  <a:lnTo>
                    <a:pt x="724" y="96"/>
                  </a:lnTo>
                  <a:lnTo>
                    <a:pt x="726" y="96"/>
                  </a:lnTo>
                  <a:lnTo>
                    <a:pt x="728" y="96"/>
                  </a:lnTo>
                  <a:lnTo>
                    <a:pt x="730" y="98"/>
                  </a:lnTo>
                  <a:lnTo>
                    <a:pt x="732" y="98"/>
                  </a:lnTo>
                  <a:lnTo>
                    <a:pt x="734" y="96"/>
                  </a:lnTo>
                  <a:lnTo>
                    <a:pt x="736" y="98"/>
                  </a:lnTo>
                  <a:lnTo>
                    <a:pt x="737" y="98"/>
                  </a:lnTo>
                  <a:lnTo>
                    <a:pt x="739" y="98"/>
                  </a:lnTo>
                  <a:lnTo>
                    <a:pt x="741" y="98"/>
                  </a:lnTo>
                  <a:lnTo>
                    <a:pt x="743" y="98"/>
                  </a:lnTo>
                  <a:lnTo>
                    <a:pt x="745" y="98"/>
                  </a:lnTo>
                  <a:lnTo>
                    <a:pt x="749" y="98"/>
                  </a:lnTo>
                  <a:lnTo>
                    <a:pt x="751" y="100"/>
                  </a:lnTo>
                  <a:lnTo>
                    <a:pt x="759" y="100"/>
                  </a:lnTo>
                  <a:lnTo>
                    <a:pt x="760" y="100"/>
                  </a:lnTo>
                  <a:lnTo>
                    <a:pt x="764" y="100"/>
                  </a:lnTo>
                  <a:lnTo>
                    <a:pt x="766" y="100"/>
                  </a:lnTo>
                  <a:lnTo>
                    <a:pt x="770" y="100"/>
                  </a:lnTo>
                  <a:lnTo>
                    <a:pt x="780" y="100"/>
                  </a:lnTo>
                  <a:lnTo>
                    <a:pt x="785" y="100"/>
                  </a:lnTo>
                  <a:lnTo>
                    <a:pt x="793" y="100"/>
                  </a:lnTo>
                  <a:lnTo>
                    <a:pt x="801" y="100"/>
                  </a:lnTo>
                  <a:lnTo>
                    <a:pt x="803" y="100"/>
                  </a:lnTo>
                  <a:lnTo>
                    <a:pt x="805" y="100"/>
                  </a:lnTo>
                  <a:lnTo>
                    <a:pt x="808" y="100"/>
                  </a:lnTo>
                  <a:lnTo>
                    <a:pt x="810" y="100"/>
                  </a:lnTo>
                  <a:lnTo>
                    <a:pt x="816" y="100"/>
                  </a:lnTo>
                  <a:lnTo>
                    <a:pt x="818" y="100"/>
                  </a:lnTo>
                  <a:lnTo>
                    <a:pt x="824" y="98"/>
                  </a:lnTo>
                  <a:lnTo>
                    <a:pt x="830" y="100"/>
                  </a:lnTo>
                  <a:lnTo>
                    <a:pt x="835" y="98"/>
                  </a:lnTo>
                  <a:lnTo>
                    <a:pt x="841" y="98"/>
                  </a:lnTo>
                  <a:lnTo>
                    <a:pt x="879" y="96"/>
                  </a:lnTo>
                  <a:lnTo>
                    <a:pt x="885" y="96"/>
                  </a:lnTo>
                  <a:lnTo>
                    <a:pt x="903" y="96"/>
                  </a:lnTo>
                  <a:lnTo>
                    <a:pt x="910" y="96"/>
                  </a:lnTo>
                  <a:lnTo>
                    <a:pt x="924" y="96"/>
                  </a:lnTo>
                  <a:lnTo>
                    <a:pt x="939" y="98"/>
                  </a:lnTo>
                  <a:lnTo>
                    <a:pt x="941" y="98"/>
                  </a:lnTo>
                  <a:lnTo>
                    <a:pt x="943" y="98"/>
                  </a:lnTo>
                  <a:lnTo>
                    <a:pt x="945" y="98"/>
                  </a:lnTo>
                  <a:lnTo>
                    <a:pt x="950" y="100"/>
                  </a:lnTo>
                  <a:lnTo>
                    <a:pt x="954" y="102"/>
                  </a:lnTo>
                  <a:lnTo>
                    <a:pt x="956" y="102"/>
                  </a:lnTo>
                  <a:lnTo>
                    <a:pt x="958" y="102"/>
                  </a:lnTo>
                  <a:lnTo>
                    <a:pt x="958" y="104"/>
                  </a:lnTo>
                  <a:lnTo>
                    <a:pt x="960" y="106"/>
                  </a:lnTo>
                  <a:lnTo>
                    <a:pt x="958" y="108"/>
                  </a:lnTo>
                  <a:lnTo>
                    <a:pt x="958" y="110"/>
                  </a:lnTo>
                  <a:lnTo>
                    <a:pt x="956" y="110"/>
                  </a:lnTo>
                  <a:lnTo>
                    <a:pt x="956" y="112"/>
                  </a:lnTo>
                  <a:lnTo>
                    <a:pt x="954" y="114"/>
                  </a:lnTo>
                  <a:lnTo>
                    <a:pt x="949" y="114"/>
                  </a:lnTo>
                  <a:lnTo>
                    <a:pt x="947" y="116"/>
                  </a:lnTo>
                  <a:lnTo>
                    <a:pt x="945" y="116"/>
                  </a:lnTo>
                  <a:lnTo>
                    <a:pt x="941" y="114"/>
                  </a:lnTo>
                  <a:lnTo>
                    <a:pt x="939" y="116"/>
                  </a:lnTo>
                  <a:lnTo>
                    <a:pt x="937" y="116"/>
                  </a:lnTo>
                  <a:lnTo>
                    <a:pt x="931" y="116"/>
                  </a:lnTo>
                  <a:lnTo>
                    <a:pt x="929" y="114"/>
                  </a:lnTo>
                  <a:lnTo>
                    <a:pt x="926" y="114"/>
                  </a:lnTo>
                  <a:lnTo>
                    <a:pt x="924" y="112"/>
                  </a:lnTo>
                  <a:lnTo>
                    <a:pt x="920" y="112"/>
                  </a:lnTo>
                  <a:lnTo>
                    <a:pt x="918" y="112"/>
                  </a:lnTo>
                  <a:lnTo>
                    <a:pt x="912" y="112"/>
                  </a:lnTo>
                  <a:lnTo>
                    <a:pt x="910" y="112"/>
                  </a:lnTo>
                  <a:lnTo>
                    <a:pt x="908" y="112"/>
                  </a:lnTo>
                  <a:lnTo>
                    <a:pt x="906" y="112"/>
                  </a:lnTo>
                  <a:lnTo>
                    <a:pt x="904" y="112"/>
                  </a:lnTo>
                  <a:lnTo>
                    <a:pt x="903" y="112"/>
                  </a:lnTo>
                  <a:lnTo>
                    <a:pt x="901" y="112"/>
                  </a:lnTo>
                  <a:lnTo>
                    <a:pt x="901" y="114"/>
                  </a:lnTo>
                  <a:lnTo>
                    <a:pt x="899" y="114"/>
                  </a:lnTo>
                  <a:lnTo>
                    <a:pt x="897" y="114"/>
                  </a:lnTo>
                  <a:lnTo>
                    <a:pt x="897" y="116"/>
                  </a:lnTo>
                  <a:lnTo>
                    <a:pt x="895" y="116"/>
                  </a:lnTo>
                  <a:lnTo>
                    <a:pt x="893" y="116"/>
                  </a:lnTo>
                  <a:lnTo>
                    <a:pt x="893" y="117"/>
                  </a:lnTo>
                  <a:lnTo>
                    <a:pt x="891" y="117"/>
                  </a:lnTo>
                  <a:lnTo>
                    <a:pt x="891" y="119"/>
                  </a:lnTo>
                  <a:lnTo>
                    <a:pt x="889" y="119"/>
                  </a:lnTo>
                  <a:lnTo>
                    <a:pt x="887" y="119"/>
                  </a:lnTo>
                  <a:lnTo>
                    <a:pt x="887" y="117"/>
                  </a:lnTo>
                  <a:lnTo>
                    <a:pt x="885" y="117"/>
                  </a:lnTo>
                  <a:lnTo>
                    <a:pt x="885" y="116"/>
                  </a:lnTo>
                  <a:lnTo>
                    <a:pt x="883" y="116"/>
                  </a:lnTo>
                  <a:lnTo>
                    <a:pt x="881" y="116"/>
                  </a:lnTo>
                  <a:lnTo>
                    <a:pt x="881" y="114"/>
                  </a:lnTo>
                  <a:lnTo>
                    <a:pt x="879" y="114"/>
                  </a:lnTo>
                  <a:lnTo>
                    <a:pt x="879" y="112"/>
                  </a:lnTo>
                  <a:lnTo>
                    <a:pt x="878" y="110"/>
                  </a:lnTo>
                  <a:lnTo>
                    <a:pt x="879" y="112"/>
                  </a:lnTo>
                  <a:lnTo>
                    <a:pt x="879" y="114"/>
                  </a:lnTo>
                  <a:lnTo>
                    <a:pt x="881" y="114"/>
                  </a:lnTo>
                  <a:lnTo>
                    <a:pt x="881" y="116"/>
                  </a:lnTo>
                  <a:lnTo>
                    <a:pt x="883" y="116"/>
                  </a:lnTo>
                  <a:lnTo>
                    <a:pt x="885" y="116"/>
                  </a:lnTo>
                  <a:lnTo>
                    <a:pt x="885" y="117"/>
                  </a:lnTo>
                  <a:lnTo>
                    <a:pt x="887" y="119"/>
                  </a:lnTo>
                  <a:lnTo>
                    <a:pt x="881" y="119"/>
                  </a:lnTo>
                  <a:lnTo>
                    <a:pt x="876" y="121"/>
                  </a:lnTo>
                  <a:lnTo>
                    <a:pt x="874" y="121"/>
                  </a:lnTo>
                  <a:lnTo>
                    <a:pt x="872" y="121"/>
                  </a:lnTo>
                  <a:lnTo>
                    <a:pt x="868" y="121"/>
                  </a:lnTo>
                  <a:lnTo>
                    <a:pt x="868" y="119"/>
                  </a:lnTo>
                  <a:lnTo>
                    <a:pt x="866" y="119"/>
                  </a:lnTo>
                  <a:lnTo>
                    <a:pt x="868" y="119"/>
                  </a:lnTo>
                  <a:lnTo>
                    <a:pt x="868" y="121"/>
                  </a:lnTo>
                  <a:lnTo>
                    <a:pt x="870" y="123"/>
                  </a:lnTo>
                  <a:lnTo>
                    <a:pt x="868" y="123"/>
                  </a:lnTo>
                  <a:lnTo>
                    <a:pt x="866" y="123"/>
                  </a:lnTo>
                  <a:lnTo>
                    <a:pt x="864" y="123"/>
                  </a:lnTo>
                  <a:lnTo>
                    <a:pt x="862" y="123"/>
                  </a:lnTo>
                  <a:lnTo>
                    <a:pt x="862" y="125"/>
                  </a:lnTo>
                  <a:lnTo>
                    <a:pt x="858" y="125"/>
                  </a:lnTo>
                  <a:lnTo>
                    <a:pt x="856" y="125"/>
                  </a:lnTo>
                  <a:lnTo>
                    <a:pt x="855" y="125"/>
                  </a:lnTo>
                  <a:lnTo>
                    <a:pt x="853" y="127"/>
                  </a:lnTo>
                  <a:lnTo>
                    <a:pt x="849" y="127"/>
                  </a:lnTo>
                  <a:lnTo>
                    <a:pt x="845" y="127"/>
                  </a:lnTo>
                  <a:lnTo>
                    <a:pt x="843" y="127"/>
                  </a:lnTo>
                  <a:lnTo>
                    <a:pt x="841" y="127"/>
                  </a:lnTo>
                  <a:lnTo>
                    <a:pt x="841" y="129"/>
                  </a:lnTo>
                  <a:lnTo>
                    <a:pt x="837" y="129"/>
                  </a:lnTo>
                  <a:lnTo>
                    <a:pt x="833" y="129"/>
                  </a:lnTo>
                  <a:lnTo>
                    <a:pt x="833" y="131"/>
                  </a:lnTo>
                  <a:lnTo>
                    <a:pt x="831" y="131"/>
                  </a:lnTo>
                  <a:lnTo>
                    <a:pt x="830" y="131"/>
                  </a:lnTo>
                  <a:lnTo>
                    <a:pt x="828" y="131"/>
                  </a:lnTo>
                  <a:lnTo>
                    <a:pt x="826" y="131"/>
                  </a:lnTo>
                  <a:lnTo>
                    <a:pt x="826" y="133"/>
                  </a:lnTo>
                  <a:lnTo>
                    <a:pt x="824" y="133"/>
                  </a:lnTo>
                  <a:lnTo>
                    <a:pt x="822" y="133"/>
                  </a:lnTo>
                  <a:lnTo>
                    <a:pt x="820" y="133"/>
                  </a:lnTo>
                  <a:lnTo>
                    <a:pt x="818" y="135"/>
                  </a:lnTo>
                  <a:lnTo>
                    <a:pt x="816" y="135"/>
                  </a:lnTo>
                  <a:lnTo>
                    <a:pt x="816" y="133"/>
                  </a:lnTo>
                  <a:lnTo>
                    <a:pt x="814" y="135"/>
                  </a:lnTo>
                  <a:lnTo>
                    <a:pt x="814" y="133"/>
                  </a:lnTo>
                  <a:lnTo>
                    <a:pt x="812" y="133"/>
                  </a:lnTo>
                  <a:lnTo>
                    <a:pt x="810" y="133"/>
                  </a:lnTo>
                  <a:lnTo>
                    <a:pt x="808" y="133"/>
                  </a:lnTo>
                  <a:lnTo>
                    <a:pt x="807" y="133"/>
                  </a:lnTo>
                  <a:lnTo>
                    <a:pt x="805" y="133"/>
                  </a:lnTo>
                  <a:lnTo>
                    <a:pt x="803" y="133"/>
                  </a:lnTo>
                  <a:lnTo>
                    <a:pt x="799" y="133"/>
                  </a:lnTo>
                  <a:lnTo>
                    <a:pt x="797" y="133"/>
                  </a:lnTo>
                  <a:lnTo>
                    <a:pt x="795" y="133"/>
                  </a:lnTo>
                  <a:lnTo>
                    <a:pt x="793" y="131"/>
                  </a:lnTo>
                  <a:lnTo>
                    <a:pt x="793" y="133"/>
                  </a:lnTo>
                  <a:lnTo>
                    <a:pt x="793" y="135"/>
                  </a:lnTo>
                  <a:lnTo>
                    <a:pt x="793" y="133"/>
                  </a:lnTo>
                  <a:lnTo>
                    <a:pt x="793" y="131"/>
                  </a:lnTo>
                  <a:lnTo>
                    <a:pt x="793" y="133"/>
                  </a:lnTo>
                  <a:lnTo>
                    <a:pt x="793" y="135"/>
                  </a:lnTo>
                  <a:lnTo>
                    <a:pt x="793" y="137"/>
                  </a:lnTo>
                  <a:lnTo>
                    <a:pt x="793" y="139"/>
                  </a:lnTo>
                  <a:lnTo>
                    <a:pt x="791" y="139"/>
                  </a:lnTo>
                  <a:lnTo>
                    <a:pt x="791" y="137"/>
                  </a:lnTo>
                  <a:lnTo>
                    <a:pt x="791" y="135"/>
                  </a:lnTo>
                  <a:lnTo>
                    <a:pt x="791" y="131"/>
                  </a:lnTo>
                  <a:lnTo>
                    <a:pt x="791" y="129"/>
                  </a:lnTo>
                  <a:lnTo>
                    <a:pt x="789" y="129"/>
                  </a:lnTo>
                  <a:lnTo>
                    <a:pt x="785" y="129"/>
                  </a:lnTo>
                  <a:lnTo>
                    <a:pt x="778" y="127"/>
                  </a:lnTo>
                  <a:lnTo>
                    <a:pt x="774" y="127"/>
                  </a:lnTo>
                  <a:lnTo>
                    <a:pt x="772" y="127"/>
                  </a:lnTo>
                  <a:lnTo>
                    <a:pt x="770" y="125"/>
                  </a:lnTo>
                  <a:lnTo>
                    <a:pt x="764" y="123"/>
                  </a:lnTo>
                  <a:lnTo>
                    <a:pt x="762" y="123"/>
                  </a:lnTo>
                  <a:lnTo>
                    <a:pt x="759" y="123"/>
                  </a:lnTo>
                  <a:lnTo>
                    <a:pt x="755" y="123"/>
                  </a:lnTo>
                  <a:lnTo>
                    <a:pt x="753" y="123"/>
                  </a:lnTo>
                  <a:lnTo>
                    <a:pt x="751" y="123"/>
                  </a:lnTo>
                  <a:lnTo>
                    <a:pt x="749" y="123"/>
                  </a:lnTo>
                  <a:lnTo>
                    <a:pt x="747" y="125"/>
                  </a:lnTo>
                  <a:lnTo>
                    <a:pt x="747" y="127"/>
                  </a:lnTo>
                  <a:lnTo>
                    <a:pt x="745" y="129"/>
                  </a:lnTo>
                  <a:lnTo>
                    <a:pt x="743" y="131"/>
                  </a:lnTo>
                  <a:lnTo>
                    <a:pt x="745" y="133"/>
                  </a:lnTo>
                  <a:lnTo>
                    <a:pt x="753" y="139"/>
                  </a:lnTo>
                  <a:lnTo>
                    <a:pt x="757" y="139"/>
                  </a:lnTo>
                  <a:lnTo>
                    <a:pt x="757" y="141"/>
                  </a:lnTo>
                  <a:lnTo>
                    <a:pt x="755" y="139"/>
                  </a:lnTo>
                  <a:lnTo>
                    <a:pt x="753" y="139"/>
                  </a:lnTo>
                  <a:lnTo>
                    <a:pt x="745" y="133"/>
                  </a:lnTo>
                  <a:lnTo>
                    <a:pt x="743" y="133"/>
                  </a:lnTo>
                  <a:lnTo>
                    <a:pt x="741" y="133"/>
                  </a:lnTo>
                  <a:lnTo>
                    <a:pt x="739" y="135"/>
                  </a:lnTo>
                  <a:lnTo>
                    <a:pt x="734" y="137"/>
                  </a:lnTo>
                  <a:lnTo>
                    <a:pt x="732" y="139"/>
                  </a:lnTo>
                  <a:lnTo>
                    <a:pt x="732" y="141"/>
                  </a:lnTo>
                  <a:lnTo>
                    <a:pt x="730" y="141"/>
                  </a:lnTo>
                  <a:lnTo>
                    <a:pt x="720" y="142"/>
                  </a:lnTo>
                  <a:lnTo>
                    <a:pt x="718" y="144"/>
                  </a:lnTo>
                  <a:lnTo>
                    <a:pt x="714" y="144"/>
                  </a:lnTo>
                  <a:lnTo>
                    <a:pt x="714" y="146"/>
                  </a:lnTo>
                  <a:lnTo>
                    <a:pt x="712" y="146"/>
                  </a:lnTo>
                  <a:lnTo>
                    <a:pt x="711" y="146"/>
                  </a:lnTo>
                  <a:lnTo>
                    <a:pt x="707" y="144"/>
                  </a:lnTo>
                  <a:lnTo>
                    <a:pt x="707" y="146"/>
                  </a:lnTo>
                  <a:lnTo>
                    <a:pt x="705" y="146"/>
                  </a:lnTo>
                  <a:lnTo>
                    <a:pt x="705" y="148"/>
                  </a:lnTo>
                  <a:lnTo>
                    <a:pt x="703" y="148"/>
                  </a:lnTo>
                  <a:lnTo>
                    <a:pt x="701" y="148"/>
                  </a:lnTo>
                  <a:lnTo>
                    <a:pt x="699" y="148"/>
                  </a:lnTo>
                  <a:lnTo>
                    <a:pt x="697" y="150"/>
                  </a:lnTo>
                  <a:lnTo>
                    <a:pt x="695" y="148"/>
                  </a:lnTo>
                  <a:lnTo>
                    <a:pt x="693" y="146"/>
                  </a:lnTo>
                  <a:lnTo>
                    <a:pt x="691" y="146"/>
                  </a:lnTo>
                  <a:lnTo>
                    <a:pt x="691" y="144"/>
                  </a:lnTo>
                  <a:lnTo>
                    <a:pt x="691" y="146"/>
                  </a:lnTo>
                  <a:lnTo>
                    <a:pt x="689" y="146"/>
                  </a:lnTo>
                  <a:lnTo>
                    <a:pt x="689" y="144"/>
                  </a:lnTo>
                  <a:lnTo>
                    <a:pt x="688" y="144"/>
                  </a:lnTo>
                  <a:lnTo>
                    <a:pt x="689" y="144"/>
                  </a:lnTo>
                  <a:lnTo>
                    <a:pt x="688" y="142"/>
                  </a:lnTo>
                  <a:lnTo>
                    <a:pt x="688" y="144"/>
                  </a:lnTo>
                  <a:lnTo>
                    <a:pt x="686" y="144"/>
                  </a:lnTo>
                  <a:lnTo>
                    <a:pt x="684" y="142"/>
                  </a:lnTo>
                  <a:lnTo>
                    <a:pt x="680" y="141"/>
                  </a:lnTo>
                  <a:lnTo>
                    <a:pt x="678" y="139"/>
                  </a:lnTo>
                  <a:lnTo>
                    <a:pt x="676" y="139"/>
                  </a:lnTo>
                  <a:lnTo>
                    <a:pt x="672" y="137"/>
                  </a:lnTo>
                  <a:lnTo>
                    <a:pt x="672" y="135"/>
                  </a:lnTo>
                  <a:lnTo>
                    <a:pt x="672" y="137"/>
                  </a:lnTo>
                  <a:lnTo>
                    <a:pt x="670" y="137"/>
                  </a:lnTo>
                  <a:lnTo>
                    <a:pt x="670" y="135"/>
                  </a:lnTo>
                  <a:lnTo>
                    <a:pt x="670" y="133"/>
                  </a:lnTo>
                  <a:lnTo>
                    <a:pt x="668" y="133"/>
                  </a:lnTo>
                  <a:lnTo>
                    <a:pt x="666" y="131"/>
                  </a:lnTo>
                  <a:lnTo>
                    <a:pt x="665" y="129"/>
                  </a:lnTo>
                  <a:lnTo>
                    <a:pt x="665" y="127"/>
                  </a:lnTo>
                  <a:lnTo>
                    <a:pt x="663" y="127"/>
                  </a:lnTo>
                  <a:lnTo>
                    <a:pt x="663" y="125"/>
                  </a:lnTo>
                  <a:lnTo>
                    <a:pt x="663" y="123"/>
                  </a:lnTo>
                  <a:lnTo>
                    <a:pt x="661" y="123"/>
                  </a:lnTo>
                  <a:lnTo>
                    <a:pt x="661" y="121"/>
                  </a:lnTo>
                  <a:lnTo>
                    <a:pt x="661" y="119"/>
                  </a:lnTo>
                  <a:lnTo>
                    <a:pt x="659" y="117"/>
                  </a:lnTo>
                  <a:lnTo>
                    <a:pt x="659" y="116"/>
                  </a:lnTo>
                  <a:lnTo>
                    <a:pt x="659" y="114"/>
                  </a:lnTo>
                  <a:lnTo>
                    <a:pt x="659" y="112"/>
                  </a:lnTo>
                  <a:lnTo>
                    <a:pt x="659" y="110"/>
                  </a:lnTo>
                  <a:lnTo>
                    <a:pt x="659" y="108"/>
                  </a:lnTo>
                  <a:lnTo>
                    <a:pt x="659" y="106"/>
                  </a:lnTo>
                  <a:lnTo>
                    <a:pt x="661" y="104"/>
                  </a:lnTo>
                  <a:lnTo>
                    <a:pt x="661" y="102"/>
                  </a:lnTo>
                  <a:lnTo>
                    <a:pt x="659" y="102"/>
                  </a:lnTo>
                  <a:lnTo>
                    <a:pt x="661" y="102"/>
                  </a:lnTo>
                  <a:lnTo>
                    <a:pt x="659" y="102"/>
                  </a:lnTo>
                  <a:lnTo>
                    <a:pt x="659" y="104"/>
                  </a:lnTo>
                  <a:lnTo>
                    <a:pt x="659" y="102"/>
                  </a:lnTo>
                  <a:lnTo>
                    <a:pt x="661" y="102"/>
                  </a:lnTo>
                  <a:lnTo>
                    <a:pt x="661" y="100"/>
                  </a:lnTo>
                  <a:lnTo>
                    <a:pt x="663" y="102"/>
                  </a:lnTo>
                  <a:lnTo>
                    <a:pt x="663" y="100"/>
                  </a:lnTo>
                  <a:lnTo>
                    <a:pt x="665" y="100"/>
                  </a:lnTo>
                  <a:lnTo>
                    <a:pt x="665" y="98"/>
                  </a:lnTo>
                  <a:lnTo>
                    <a:pt x="670" y="91"/>
                  </a:lnTo>
                  <a:lnTo>
                    <a:pt x="672" y="89"/>
                  </a:lnTo>
                  <a:lnTo>
                    <a:pt x="676" y="87"/>
                  </a:lnTo>
                  <a:lnTo>
                    <a:pt x="676" y="85"/>
                  </a:lnTo>
                  <a:lnTo>
                    <a:pt x="678" y="85"/>
                  </a:lnTo>
                  <a:lnTo>
                    <a:pt x="682" y="83"/>
                  </a:lnTo>
                  <a:lnTo>
                    <a:pt x="684" y="83"/>
                  </a:lnTo>
                  <a:lnTo>
                    <a:pt x="686" y="83"/>
                  </a:lnTo>
                  <a:lnTo>
                    <a:pt x="688" y="83"/>
                  </a:lnTo>
                  <a:lnTo>
                    <a:pt x="693" y="83"/>
                  </a:lnTo>
                  <a:lnTo>
                    <a:pt x="695" y="81"/>
                  </a:lnTo>
                  <a:lnTo>
                    <a:pt x="699" y="81"/>
                  </a:lnTo>
                  <a:lnTo>
                    <a:pt x="705" y="83"/>
                  </a:lnTo>
                  <a:lnTo>
                    <a:pt x="709" y="85"/>
                  </a:lnTo>
                  <a:lnTo>
                    <a:pt x="712" y="85"/>
                  </a:lnTo>
                  <a:close/>
                  <a:moveTo>
                    <a:pt x="1037" y="96"/>
                  </a:moveTo>
                  <a:lnTo>
                    <a:pt x="1037" y="98"/>
                  </a:lnTo>
                  <a:lnTo>
                    <a:pt x="1035" y="98"/>
                  </a:lnTo>
                  <a:lnTo>
                    <a:pt x="1033" y="98"/>
                  </a:lnTo>
                  <a:lnTo>
                    <a:pt x="1031" y="98"/>
                  </a:lnTo>
                  <a:lnTo>
                    <a:pt x="1029" y="98"/>
                  </a:lnTo>
                  <a:lnTo>
                    <a:pt x="1027" y="96"/>
                  </a:lnTo>
                  <a:lnTo>
                    <a:pt x="1025" y="98"/>
                  </a:lnTo>
                  <a:lnTo>
                    <a:pt x="1022" y="98"/>
                  </a:lnTo>
                  <a:lnTo>
                    <a:pt x="1020" y="100"/>
                  </a:lnTo>
                  <a:lnTo>
                    <a:pt x="1018" y="100"/>
                  </a:lnTo>
                  <a:lnTo>
                    <a:pt x="1018" y="98"/>
                  </a:lnTo>
                  <a:lnTo>
                    <a:pt x="1016" y="98"/>
                  </a:lnTo>
                  <a:lnTo>
                    <a:pt x="1014" y="98"/>
                  </a:lnTo>
                  <a:lnTo>
                    <a:pt x="1012" y="100"/>
                  </a:lnTo>
                  <a:lnTo>
                    <a:pt x="1010" y="100"/>
                  </a:lnTo>
                  <a:lnTo>
                    <a:pt x="1008" y="100"/>
                  </a:lnTo>
                  <a:lnTo>
                    <a:pt x="1006" y="102"/>
                  </a:lnTo>
                  <a:lnTo>
                    <a:pt x="1004" y="104"/>
                  </a:lnTo>
                  <a:lnTo>
                    <a:pt x="1002" y="106"/>
                  </a:lnTo>
                  <a:lnTo>
                    <a:pt x="1002" y="104"/>
                  </a:lnTo>
                  <a:lnTo>
                    <a:pt x="1002" y="102"/>
                  </a:lnTo>
                  <a:lnTo>
                    <a:pt x="1002" y="100"/>
                  </a:lnTo>
                  <a:lnTo>
                    <a:pt x="1004" y="100"/>
                  </a:lnTo>
                  <a:lnTo>
                    <a:pt x="1006" y="98"/>
                  </a:lnTo>
                  <a:lnTo>
                    <a:pt x="1010" y="96"/>
                  </a:lnTo>
                  <a:lnTo>
                    <a:pt x="1012" y="94"/>
                  </a:lnTo>
                  <a:lnTo>
                    <a:pt x="1020" y="94"/>
                  </a:lnTo>
                  <a:lnTo>
                    <a:pt x="1029" y="92"/>
                  </a:lnTo>
                  <a:lnTo>
                    <a:pt x="1031" y="92"/>
                  </a:lnTo>
                  <a:lnTo>
                    <a:pt x="1033" y="92"/>
                  </a:lnTo>
                  <a:lnTo>
                    <a:pt x="1035" y="94"/>
                  </a:lnTo>
                  <a:lnTo>
                    <a:pt x="1037" y="96"/>
                  </a:lnTo>
                  <a:close/>
                  <a:moveTo>
                    <a:pt x="1331" y="81"/>
                  </a:moveTo>
                  <a:lnTo>
                    <a:pt x="1331" y="79"/>
                  </a:lnTo>
                  <a:lnTo>
                    <a:pt x="1331" y="77"/>
                  </a:lnTo>
                  <a:lnTo>
                    <a:pt x="1332" y="77"/>
                  </a:lnTo>
                  <a:lnTo>
                    <a:pt x="1332" y="73"/>
                  </a:lnTo>
                  <a:lnTo>
                    <a:pt x="1332" y="75"/>
                  </a:lnTo>
                  <a:lnTo>
                    <a:pt x="1332" y="77"/>
                  </a:lnTo>
                  <a:lnTo>
                    <a:pt x="1331" y="81"/>
                  </a:lnTo>
                  <a:close/>
                  <a:moveTo>
                    <a:pt x="1332" y="73"/>
                  </a:moveTo>
                  <a:lnTo>
                    <a:pt x="1334" y="71"/>
                  </a:lnTo>
                  <a:lnTo>
                    <a:pt x="1332" y="71"/>
                  </a:lnTo>
                  <a:lnTo>
                    <a:pt x="1332" y="69"/>
                  </a:lnTo>
                  <a:lnTo>
                    <a:pt x="1332" y="66"/>
                  </a:lnTo>
                  <a:lnTo>
                    <a:pt x="1334" y="69"/>
                  </a:lnTo>
                  <a:lnTo>
                    <a:pt x="1334" y="71"/>
                  </a:lnTo>
                  <a:lnTo>
                    <a:pt x="1332" y="73"/>
                  </a:lnTo>
                  <a:close/>
                  <a:moveTo>
                    <a:pt x="1313" y="50"/>
                  </a:moveTo>
                  <a:lnTo>
                    <a:pt x="1315" y="50"/>
                  </a:lnTo>
                  <a:lnTo>
                    <a:pt x="1315" y="52"/>
                  </a:lnTo>
                  <a:lnTo>
                    <a:pt x="1313" y="52"/>
                  </a:lnTo>
                  <a:lnTo>
                    <a:pt x="1311" y="52"/>
                  </a:lnTo>
                  <a:lnTo>
                    <a:pt x="1311" y="54"/>
                  </a:lnTo>
                  <a:lnTo>
                    <a:pt x="1309" y="52"/>
                  </a:lnTo>
                  <a:lnTo>
                    <a:pt x="1309" y="54"/>
                  </a:lnTo>
                  <a:lnTo>
                    <a:pt x="1307" y="54"/>
                  </a:lnTo>
                  <a:lnTo>
                    <a:pt x="1304" y="56"/>
                  </a:lnTo>
                  <a:lnTo>
                    <a:pt x="1302" y="56"/>
                  </a:lnTo>
                  <a:lnTo>
                    <a:pt x="1300" y="56"/>
                  </a:lnTo>
                  <a:lnTo>
                    <a:pt x="1300" y="58"/>
                  </a:lnTo>
                  <a:lnTo>
                    <a:pt x="1298" y="58"/>
                  </a:lnTo>
                  <a:lnTo>
                    <a:pt x="1296" y="58"/>
                  </a:lnTo>
                  <a:lnTo>
                    <a:pt x="1294" y="58"/>
                  </a:lnTo>
                  <a:lnTo>
                    <a:pt x="1290" y="60"/>
                  </a:lnTo>
                  <a:lnTo>
                    <a:pt x="1288" y="60"/>
                  </a:lnTo>
                  <a:lnTo>
                    <a:pt x="1284" y="62"/>
                  </a:lnTo>
                  <a:lnTo>
                    <a:pt x="1281" y="64"/>
                  </a:lnTo>
                  <a:lnTo>
                    <a:pt x="1279" y="64"/>
                  </a:lnTo>
                  <a:lnTo>
                    <a:pt x="1279" y="62"/>
                  </a:lnTo>
                  <a:lnTo>
                    <a:pt x="1277" y="62"/>
                  </a:lnTo>
                  <a:lnTo>
                    <a:pt x="1277" y="64"/>
                  </a:lnTo>
                  <a:lnTo>
                    <a:pt x="1273" y="64"/>
                  </a:lnTo>
                  <a:lnTo>
                    <a:pt x="1273" y="62"/>
                  </a:lnTo>
                  <a:lnTo>
                    <a:pt x="1269" y="62"/>
                  </a:lnTo>
                  <a:lnTo>
                    <a:pt x="1267" y="62"/>
                  </a:lnTo>
                  <a:lnTo>
                    <a:pt x="1265" y="62"/>
                  </a:lnTo>
                  <a:lnTo>
                    <a:pt x="1263" y="62"/>
                  </a:lnTo>
                  <a:lnTo>
                    <a:pt x="1261" y="64"/>
                  </a:lnTo>
                  <a:lnTo>
                    <a:pt x="1261" y="62"/>
                  </a:lnTo>
                  <a:lnTo>
                    <a:pt x="1259" y="62"/>
                  </a:lnTo>
                  <a:lnTo>
                    <a:pt x="1258" y="62"/>
                  </a:lnTo>
                  <a:lnTo>
                    <a:pt x="1256" y="62"/>
                  </a:lnTo>
                  <a:lnTo>
                    <a:pt x="1258" y="62"/>
                  </a:lnTo>
                  <a:lnTo>
                    <a:pt x="1259" y="64"/>
                  </a:lnTo>
                  <a:lnTo>
                    <a:pt x="1261" y="64"/>
                  </a:lnTo>
                  <a:lnTo>
                    <a:pt x="1263" y="66"/>
                  </a:lnTo>
                  <a:lnTo>
                    <a:pt x="1261" y="68"/>
                  </a:lnTo>
                  <a:lnTo>
                    <a:pt x="1259" y="69"/>
                  </a:lnTo>
                  <a:lnTo>
                    <a:pt x="1258" y="69"/>
                  </a:lnTo>
                  <a:lnTo>
                    <a:pt x="1258" y="68"/>
                  </a:lnTo>
                  <a:lnTo>
                    <a:pt x="1256" y="68"/>
                  </a:lnTo>
                  <a:lnTo>
                    <a:pt x="1256" y="66"/>
                  </a:lnTo>
                  <a:lnTo>
                    <a:pt x="1254" y="66"/>
                  </a:lnTo>
                  <a:lnTo>
                    <a:pt x="1254" y="64"/>
                  </a:lnTo>
                  <a:lnTo>
                    <a:pt x="1254" y="66"/>
                  </a:lnTo>
                  <a:lnTo>
                    <a:pt x="1256" y="66"/>
                  </a:lnTo>
                  <a:lnTo>
                    <a:pt x="1256" y="68"/>
                  </a:lnTo>
                  <a:lnTo>
                    <a:pt x="1258" y="68"/>
                  </a:lnTo>
                  <a:lnTo>
                    <a:pt x="1258" y="69"/>
                  </a:lnTo>
                  <a:lnTo>
                    <a:pt x="1256" y="69"/>
                  </a:lnTo>
                  <a:lnTo>
                    <a:pt x="1254" y="69"/>
                  </a:lnTo>
                  <a:lnTo>
                    <a:pt x="1252" y="69"/>
                  </a:lnTo>
                  <a:lnTo>
                    <a:pt x="1252" y="71"/>
                  </a:lnTo>
                  <a:lnTo>
                    <a:pt x="1252" y="69"/>
                  </a:lnTo>
                  <a:lnTo>
                    <a:pt x="1250" y="71"/>
                  </a:lnTo>
                  <a:lnTo>
                    <a:pt x="1248" y="71"/>
                  </a:lnTo>
                  <a:lnTo>
                    <a:pt x="1246" y="71"/>
                  </a:lnTo>
                  <a:lnTo>
                    <a:pt x="1246" y="73"/>
                  </a:lnTo>
                  <a:lnTo>
                    <a:pt x="1244" y="73"/>
                  </a:lnTo>
                  <a:lnTo>
                    <a:pt x="1244" y="75"/>
                  </a:lnTo>
                  <a:lnTo>
                    <a:pt x="1242" y="75"/>
                  </a:lnTo>
                  <a:lnTo>
                    <a:pt x="1240" y="75"/>
                  </a:lnTo>
                  <a:lnTo>
                    <a:pt x="1238" y="75"/>
                  </a:lnTo>
                  <a:lnTo>
                    <a:pt x="1238" y="77"/>
                  </a:lnTo>
                  <a:lnTo>
                    <a:pt x="1236" y="77"/>
                  </a:lnTo>
                  <a:lnTo>
                    <a:pt x="1235" y="77"/>
                  </a:lnTo>
                  <a:lnTo>
                    <a:pt x="1233" y="77"/>
                  </a:lnTo>
                  <a:lnTo>
                    <a:pt x="1231" y="77"/>
                  </a:lnTo>
                  <a:lnTo>
                    <a:pt x="1231" y="75"/>
                  </a:lnTo>
                  <a:lnTo>
                    <a:pt x="1231" y="77"/>
                  </a:lnTo>
                  <a:lnTo>
                    <a:pt x="1233" y="77"/>
                  </a:lnTo>
                  <a:lnTo>
                    <a:pt x="1233" y="79"/>
                  </a:lnTo>
                  <a:lnTo>
                    <a:pt x="1231" y="79"/>
                  </a:lnTo>
                  <a:lnTo>
                    <a:pt x="1229" y="79"/>
                  </a:lnTo>
                  <a:lnTo>
                    <a:pt x="1227" y="79"/>
                  </a:lnTo>
                  <a:lnTo>
                    <a:pt x="1225" y="79"/>
                  </a:lnTo>
                  <a:lnTo>
                    <a:pt x="1225" y="81"/>
                  </a:lnTo>
                  <a:lnTo>
                    <a:pt x="1223" y="81"/>
                  </a:lnTo>
                  <a:lnTo>
                    <a:pt x="1223" y="79"/>
                  </a:lnTo>
                  <a:lnTo>
                    <a:pt x="1223" y="81"/>
                  </a:lnTo>
                  <a:lnTo>
                    <a:pt x="1221" y="81"/>
                  </a:lnTo>
                  <a:lnTo>
                    <a:pt x="1219" y="81"/>
                  </a:lnTo>
                  <a:lnTo>
                    <a:pt x="1217" y="81"/>
                  </a:lnTo>
                  <a:lnTo>
                    <a:pt x="1215" y="81"/>
                  </a:lnTo>
                  <a:lnTo>
                    <a:pt x="1215" y="83"/>
                  </a:lnTo>
                  <a:lnTo>
                    <a:pt x="1215" y="81"/>
                  </a:lnTo>
                  <a:lnTo>
                    <a:pt x="1215" y="83"/>
                  </a:lnTo>
                  <a:lnTo>
                    <a:pt x="1213" y="83"/>
                  </a:lnTo>
                  <a:lnTo>
                    <a:pt x="1213" y="85"/>
                  </a:lnTo>
                  <a:lnTo>
                    <a:pt x="1212" y="85"/>
                  </a:lnTo>
                  <a:lnTo>
                    <a:pt x="1212" y="83"/>
                  </a:lnTo>
                  <a:lnTo>
                    <a:pt x="1210" y="83"/>
                  </a:lnTo>
                  <a:lnTo>
                    <a:pt x="1210" y="81"/>
                  </a:lnTo>
                  <a:lnTo>
                    <a:pt x="1210" y="83"/>
                  </a:lnTo>
                  <a:lnTo>
                    <a:pt x="1212" y="83"/>
                  </a:lnTo>
                  <a:lnTo>
                    <a:pt x="1212" y="85"/>
                  </a:lnTo>
                  <a:lnTo>
                    <a:pt x="1212" y="87"/>
                  </a:lnTo>
                  <a:lnTo>
                    <a:pt x="1210" y="87"/>
                  </a:lnTo>
                  <a:lnTo>
                    <a:pt x="1210" y="89"/>
                  </a:lnTo>
                  <a:lnTo>
                    <a:pt x="1208" y="89"/>
                  </a:lnTo>
                  <a:lnTo>
                    <a:pt x="1206" y="89"/>
                  </a:lnTo>
                  <a:lnTo>
                    <a:pt x="1204" y="85"/>
                  </a:lnTo>
                  <a:lnTo>
                    <a:pt x="1204" y="83"/>
                  </a:lnTo>
                  <a:lnTo>
                    <a:pt x="1204" y="81"/>
                  </a:lnTo>
                  <a:lnTo>
                    <a:pt x="1204" y="79"/>
                  </a:lnTo>
                  <a:lnTo>
                    <a:pt x="1204" y="77"/>
                  </a:lnTo>
                  <a:lnTo>
                    <a:pt x="1202" y="75"/>
                  </a:lnTo>
                  <a:lnTo>
                    <a:pt x="1202" y="73"/>
                  </a:lnTo>
                  <a:lnTo>
                    <a:pt x="1200" y="73"/>
                  </a:lnTo>
                  <a:lnTo>
                    <a:pt x="1202" y="73"/>
                  </a:lnTo>
                  <a:lnTo>
                    <a:pt x="1202" y="75"/>
                  </a:lnTo>
                  <a:lnTo>
                    <a:pt x="1204" y="77"/>
                  </a:lnTo>
                  <a:lnTo>
                    <a:pt x="1204" y="79"/>
                  </a:lnTo>
                  <a:lnTo>
                    <a:pt x="1204" y="81"/>
                  </a:lnTo>
                  <a:lnTo>
                    <a:pt x="1204" y="83"/>
                  </a:lnTo>
                  <a:lnTo>
                    <a:pt x="1204" y="81"/>
                  </a:lnTo>
                  <a:lnTo>
                    <a:pt x="1204" y="83"/>
                  </a:lnTo>
                  <a:lnTo>
                    <a:pt x="1204" y="85"/>
                  </a:lnTo>
                  <a:lnTo>
                    <a:pt x="1204" y="87"/>
                  </a:lnTo>
                  <a:lnTo>
                    <a:pt x="1206" y="87"/>
                  </a:lnTo>
                  <a:lnTo>
                    <a:pt x="1206" y="89"/>
                  </a:lnTo>
                  <a:lnTo>
                    <a:pt x="1206" y="91"/>
                  </a:lnTo>
                  <a:lnTo>
                    <a:pt x="1206" y="87"/>
                  </a:lnTo>
                  <a:lnTo>
                    <a:pt x="1204" y="87"/>
                  </a:lnTo>
                  <a:lnTo>
                    <a:pt x="1202" y="87"/>
                  </a:lnTo>
                  <a:lnTo>
                    <a:pt x="1202" y="85"/>
                  </a:lnTo>
                  <a:lnTo>
                    <a:pt x="1202" y="87"/>
                  </a:lnTo>
                  <a:lnTo>
                    <a:pt x="1204" y="87"/>
                  </a:lnTo>
                  <a:lnTo>
                    <a:pt x="1206" y="89"/>
                  </a:lnTo>
                  <a:lnTo>
                    <a:pt x="1204" y="89"/>
                  </a:lnTo>
                  <a:lnTo>
                    <a:pt x="1202" y="89"/>
                  </a:lnTo>
                  <a:lnTo>
                    <a:pt x="1204" y="89"/>
                  </a:lnTo>
                  <a:lnTo>
                    <a:pt x="1204" y="91"/>
                  </a:lnTo>
                  <a:lnTo>
                    <a:pt x="1202" y="91"/>
                  </a:lnTo>
                  <a:lnTo>
                    <a:pt x="1200" y="91"/>
                  </a:lnTo>
                  <a:lnTo>
                    <a:pt x="1198" y="91"/>
                  </a:lnTo>
                  <a:lnTo>
                    <a:pt x="1200" y="91"/>
                  </a:lnTo>
                  <a:lnTo>
                    <a:pt x="1202" y="91"/>
                  </a:lnTo>
                  <a:lnTo>
                    <a:pt x="1204" y="91"/>
                  </a:lnTo>
                  <a:lnTo>
                    <a:pt x="1202" y="91"/>
                  </a:lnTo>
                  <a:lnTo>
                    <a:pt x="1202" y="92"/>
                  </a:lnTo>
                  <a:lnTo>
                    <a:pt x="1200" y="92"/>
                  </a:lnTo>
                  <a:lnTo>
                    <a:pt x="1200" y="94"/>
                  </a:lnTo>
                  <a:lnTo>
                    <a:pt x="1200" y="92"/>
                  </a:lnTo>
                  <a:lnTo>
                    <a:pt x="1200" y="94"/>
                  </a:lnTo>
                  <a:lnTo>
                    <a:pt x="1200" y="92"/>
                  </a:lnTo>
                  <a:lnTo>
                    <a:pt x="1198" y="92"/>
                  </a:lnTo>
                  <a:lnTo>
                    <a:pt x="1198" y="94"/>
                  </a:lnTo>
                  <a:lnTo>
                    <a:pt x="1200" y="94"/>
                  </a:lnTo>
                  <a:lnTo>
                    <a:pt x="1202" y="94"/>
                  </a:lnTo>
                  <a:lnTo>
                    <a:pt x="1200" y="94"/>
                  </a:lnTo>
                  <a:lnTo>
                    <a:pt x="1198" y="96"/>
                  </a:lnTo>
                  <a:lnTo>
                    <a:pt x="1196" y="96"/>
                  </a:lnTo>
                  <a:lnTo>
                    <a:pt x="1194" y="96"/>
                  </a:lnTo>
                  <a:lnTo>
                    <a:pt x="1194" y="98"/>
                  </a:lnTo>
                  <a:lnTo>
                    <a:pt x="1194" y="96"/>
                  </a:lnTo>
                  <a:lnTo>
                    <a:pt x="1194" y="94"/>
                  </a:lnTo>
                  <a:lnTo>
                    <a:pt x="1192" y="94"/>
                  </a:lnTo>
                  <a:lnTo>
                    <a:pt x="1194" y="94"/>
                  </a:lnTo>
                  <a:lnTo>
                    <a:pt x="1194" y="96"/>
                  </a:lnTo>
                  <a:lnTo>
                    <a:pt x="1194" y="98"/>
                  </a:lnTo>
                  <a:lnTo>
                    <a:pt x="1192" y="98"/>
                  </a:lnTo>
                  <a:lnTo>
                    <a:pt x="1192" y="96"/>
                  </a:lnTo>
                  <a:lnTo>
                    <a:pt x="1192" y="94"/>
                  </a:lnTo>
                  <a:lnTo>
                    <a:pt x="1192" y="92"/>
                  </a:lnTo>
                  <a:lnTo>
                    <a:pt x="1190" y="92"/>
                  </a:lnTo>
                  <a:lnTo>
                    <a:pt x="1190" y="94"/>
                  </a:lnTo>
                  <a:lnTo>
                    <a:pt x="1192" y="94"/>
                  </a:lnTo>
                  <a:lnTo>
                    <a:pt x="1190" y="96"/>
                  </a:lnTo>
                  <a:lnTo>
                    <a:pt x="1192" y="96"/>
                  </a:lnTo>
                  <a:lnTo>
                    <a:pt x="1192" y="98"/>
                  </a:lnTo>
                  <a:lnTo>
                    <a:pt x="1190" y="98"/>
                  </a:lnTo>
                  <a:lnTo>
                    <a:pt x="1188" y="98"/>
                  </a:lnTo>
                  <a:lnTo>
                    <a:pt x="1188" y="96"/>
                  </a:lnTo>
                  <a:lnTo>
                    <a:pt x="1188" y="94"/>
                  </a:lnTo>
                  <a:lnTo>
                    <a:pt x="1187" y="94"/>
                  </a:lnTo>
                  <a:lnTo>
                    <a:pt x="1187" y="92"/>
                  </a:lnTo>
                  <a:lnTo>
                    <a:pt x="1187" y="91"/>
                  </a:lnTo>
                  <a:lnTo>
                    <a:pt x="1187" y="89"/>
                  </a:lnTo>
                  <a:lnTo>
                    <a:pt x="1185" y="89"/>
                  </a:lnTo>
                  <a:lnTo>
                    <a:pt x="1187" y="89"/>
                  </a:lnTo>
                  <a:lnTo>
                    <a:pt x="1187" y="91"/>
                  </a:lnTo>
                  <a:lnTo>
                    <a:pt x="1185" y="91"/>
                  </a:lnTo>
                  <a:lnTo>
                    <a:pt x="1187" y="91"/>
                  </a:lnTo>
                  <a:lnTo>
                    <a:pt x="1187" y="92"/>
                  </a:lnTo>
                  <a:lnTo>
                    <a:pt x="1187" y="94"/>
                  </a:lnTo>
                  <a:lnTo>
                    <a:pt x="1188" y="94"/>
                  </a:lnTo>
                  <a:lnTo>
                    <a:pt x="1188" y="96"/>
                  </a:lnTo>
                  <a:lnTo>
                    <a:pt x="1187" y="96"/>
                  </a:lnTo>
                  <a:lnTo>
                    <a:pt x="1188" y="96"/>
                  </a:lnTo>
                  <a:lnTo>
                    <a:pt x="1187" y="96"/>
                  </a:lnTo>
                  <a:lnTo>
                    <a:pt x="1188" y="96"/>
                  </a:lnTo>
                  <a:lnTo>
                    <a:pt x="1188" y="98"/>
                  </a:lnTo>
                  <a:lnTo>
                    <a:pt x="1187" y="98"/>
                  </a:lnTo>
                  <a:lnTo>
                    <a:pt x="1187" y="100"/>
                  </a:lnTo>
                  <a:lnTo>
                    <a:pt x="1185" y="100"/>
                  </a:lnTo>
                  <a:lnTo>
                    <a:pt x="1183" y="100"/>
                  </a:lnTo>
                  <a:lnTo>
                    <a:pt x="1183" y="98"/>
                  </a:lnTo>
                  <a:lnTo>
                    <a:pt x="1181" y="98"/>
                  </a:lnTo>
                  <a:lnTo>
                    <a:pt x="1181" y="96"/>
                  </a:lnTo>
                  <a:lnTo>
                    <a:pt x="1181" y="94"/>
                  </a:lnTo>
                  <a:lnTo>
                    <a:pt x="1181" y="92"/>
                  </a:lnTo>
                  <a:lnTo>
                    <a:pt x="1179" y="92"/>
                  </a:lnTo>
                  <a:lnTo>
                    <a:pt x="1181" y="92"/>
                  </a:lnTo>
                  <a:lnTo>
                    <a:pt x="1181" y="91"/>
                  </a:lnTo>
                  <a:lnTo>
                    <a:pt x="1179" y="92"/>
                  </a:lnTo>
                  <a:lnTo>
                    <a:pt x="1179" y="89"/>
                  </a:lnTo>
                  <a:lnTo>
                    <a:pt x="1177" y="87"/>
                  </a:lnTo>
                  <a:lnTo>
                    <a:pt x="1175" y="85"/>
                  </a:lnTo>
                  <a:lnTo>
                    <a:pt x="1177" y="85"/>
                  </a:lnTo>
                  <a:lnTo>
                    <a:pt x="1175" y="85"/>
                  </a:lnTo>
                  <a:lnTo>
                    <a:pt x="1177" y="85"/>
                  </a:lnTo>
                  <a:lnTo>
                    <a:pt x="1175" y="85"/>
                  </a:lnTo>
                  <a:lnTo>
                    <a:pt x="1177" y="85"/>
                  </a:lnTo>
                  <a:lnTo>
                    <a:pt x="1175" y="85"/>
                  </a:lnTo>
                  <a:lnTo>
                    <a:pt x="1175" y="83"/>
                  </a:lnTo>
                  <a:lnTo>
                    <a:pt x="1173" y="83"/>
                  </a:lnTo>
                  <a:lnTo>
                    <a:pt x="1175" y="85"/>
                  </a:lnTo>
                  <a:lnTo>
                    <a:pt x="1175" y="87"/>
                  </a:lnTo>
                  <a:lnTo>
                    <a:pt x="1177" y="87"/>
                  </a:lnTo>
                  <a:lnTo>
                    <a:pt x="1177" y="89"/>
                  </a:lnTo>
                  <a:lnTo>
                    <a:pt x="1179" y="91"/>
                  </a:lnTo>
                  <a:lnTo>
                    <a:pt x="1179" y="92"/>
                  </a:lnTo>
                  <a:lnTo>
                    <a:pt x="1181" y="94"/>
                  </a:lnTo>
                  <a:lnTo>
                    <a:pt x="1181" y="96"/>
                  </a:lnTo>
                  <a:lnTo>
                    <a:pt x="1181" y="98"/>
                  </a:lnTo>
                  <a:lnTo>
                    <a:pt x="1179" y="98"/>
                  </a:lnTo>
                  <a:lnTo>
                    <a:pt x="1177" y="98"/>
                  </a:lnTo>
                  <a:lnTo>
                    <a:pt x="1173" y="98"/>
                  </a:lnTo>
                  <a:lnTo>
                    <a:pt x="1173" y="96"/>
                  </a:lnTo>
                  <a:lnTo>
                    <a:pt x="1171" y="96"/>
                  </a:lnTo>
                  <a:lnTo>
                    <a:pt x="1171" y="94"/>
                  </a:lnTo>
                  <a:lnTo>
                    <a:pt x="1171" y="92"/>
                  </a:lnTo>
                  <a:lnTo>
                    <a:pt x="1171" y="91"/>
                  </a:lnTo>
                  <a:lnTo>
                    <a:pt x="1169" y="91"/>
                  </a:lnTo>
                  <a:lnTo>
                    <a:pt x="1167" y="89"/>
                  </a:lnTo>
                  <a:lnTo>
                    <a:pt x="1165" y="87"/>
                  </a:lnTo>
                  <a:lnTo>
                    <a:pt x="1164" y="87"/>
                  </a:lnTo>
                  <a:lnTo>
                    <a:pt x="1162" y="87"/>
                  </a:lnTo>
                  <a:lnTo>
                    <a:pt x="1162" y="85"/>
                  </a:lnTo>
                  <a:lnTo>
                    <a:pt x="1160" y="85"/>
                  </a:lnTo>
                  <a:lnTo>
                    <a:pt x="1160" y="83"/>
                  </a:lnTo>
                  <a:lnTo>
                    <a:pt x="1160" y="85"/>
                  </a:lnTo>
                  <a:lnTo>
                    <a:pt x="1162" y="85"/>
                  </a:lnTo>
                  <a:lnTo>
                    <a:pt x="1160" y="85"/>
                  </a:lnTo>
                  <a:lnTo>
                    <a:pt x="1162" y="87"/>
                  </a:lnTo>
                  <a:lnTo>
                    <a:pt x="1164" y="87"/>
                  </a:lnTo>
                  <a:lnTo>
                    <a:pt x="1165" y="87"/>
                  </a:lnTo>
                  <a:lnTo>
                    <a:pt x="1165" y="89"/>
                  </a:lnTo>
                  <a:lnTo>
                    <a:pt x="1167" y="89"/>
                  </a:lnTo>
                  <a:lnTo>
                    <a:pt x="1167" y="91"/>
                  </a:lnTo>
                  <a:lnTo>
                    <a:pt x="1169" y="91"/>
                  </a:lnTo>
                  <a:lnTo>
                    <a:pt x="1171" y="92"/>
                  </a:lnTo>
                  <a:lnTo>
                    <a:pt x="1171" y="94"/>
                  </a:lnTo>
                  <a:lnTo>
                    <a:pt x="1171" y="96"/>
                  </a:lnTo>
                  <a:lnTo>
                    <a:pt x="1171" y="98"/>
                  </a:lnTo>
                  <a:lnTo>
                    <a:pt x="1169" y="98"/>
                  </a:lnTo>
                  <a:lnTo>
                    <a:pt x="1169" y="96"/>
                  </a:lnTo>
                  <a:lnTo>
                    <a:pt x="1167" y="96"/>
                  </a:lnTo>
                  <a:lnTo>
                    <a:pt x="1167" y="94"/>
                  </a:lnTo>
                  <a:lnTo>
                    <a:pt x="1165" y="92"/>
                  </a:lnTo>
                  <a:lnTo>
                    <a:pt x="1164" y="92"/>
                  </a:lnTo>
                  <a:lnTo>
                    <a:pt x="1165" y="92"/>
                  </a:lnTo>
                  <a:lnTo>
                    <a:pt x="1167" y="94"/>
                  </a:lnTo>
                  <a:lnTo>
                    <a:pt x="1167" y="96"/>
                  </a:lnTo>
                  <a:lnTo>
                    <a:pt x="1169" y="98"/>
                  </a:lnTo>
                  <a:lnTo>
                    <a:pt x="1167" y="98"/>
                  </a:lnTo>
                  <a:lnTo>
                    <a:pt x="1165" y="98"/>
                  </a:lnTo>
                  <a:lnTo>
                    <a:pt x="1164" y="98"/>
                  </a:lnTo>
                  <a:lnTo>
                    <a:pt x="1164" y="100"/>
                  </a:lnTo>
                  <a:lnTo>
                    <a:pt x="1162" y="100"/>
                  </a:lnTo>
                  <a:lnTo>
                    <a:pt x="1160" y="100"/>
                  </a:lnTo>
                  <a:lnTo>
                    <a:pt x="1158" y="100"/>
                  </a:lnTo>
                  <a:lnTo>
                    <a:pt x="1156" y="100"/>
                  </a:lnTo>
                  <a:lnTo>
                    <a:pt x="1154" y="100"/>
                  </a:lnTo>
                  <a:lnTo>
                    <a:pt x="1154" y="102"/>
                  </a:lnTo>
                  <a:lnTo>
                    <a:pt x="1152" y="102"/>
                  </a:lnTo>
                  <a:lnTo>
                    <a:pt x="1150" y="102"/>
                  </a:lnTo>
                  <a:lnTo>
                    <a:pt x="1148" y="102"/>
                  </a:lnTo>
                  <a:lnTo>
                    <a:pt x="1146" y="102"/>
                  </a:lnTo>
                  <a:lnTo>
                    <a:pt x="1146" y="104"/>
                  </a:lnTo>
                  <a:lnTo>
                    <a:pt x="1148" y="106"/>
                  </a:lnTo>
                  <a:lnTo>
                    <a:pt x="1148" y="108"/>
                  </a:lnTo>
                  <a:lnTo>
                    <a:pt x="1150" y="108"/>
                  </a:lnTo>
                  <a:lnTo>
                    <a:pt x="1152" y="110"/>
                  </a:lnTo>
                  <a:lnTo>
                    <a:pt x="1150" y="110"/>
                  </a:lnTo>
                  <a:lnTo>
                    <a:pt x="1150" y="108"/>
                  </a:lnTo>
                  <a:lnTo>
                    <a:pt x="1148" y="106"/>
                  </a:lnTo>
                  <a:lnTo>
                    <a:pt x="1146" y="106"/>
                  </a:lnTo>
                  <a:lnTo>
                    <a:pt x="1146" y="104"/>
                  </a:lnTo>
                  <a:lnTo>
                    <a:pt x="1144" y="104"/>
                  </a:lnTo>
                  <a:lnTo>
                    <a:pt x="1142" y="104"/>
                  </a:lnTo>
                  <a:lnTo>
                    <a:pt x="1139" y="102"/>
                  </a:lnTo>
                  <a:lnTo>
                    <a:pt x="1129" y="102"/>
                  </a:lnTo>
                  <a:lnTo>
                    <a:pt x="1127" y="102"/>
                  </a:lnTo>
                  <a:lnTo>
                    <a:pt x="1125" y="102"/>
                  </a:lnTo>
                  <a:lnTo>
                    <a:pt x="1123" y="102"/>
                  </a:lnTo>
                  <a:lnTo>
                    <a:pt x="1123" y="104"/>
                  </a:lnTo>
                  <a:lnTo>
                    <a:pt x="1121" y="104"/>
                  </a:lnTo>
                  <a:lnTo>
                    <a:pt x="1121" y="108"/>
                  </a:lnTo>
                  <a:lnTo>
                    <a:pt x="1121" y="106"/>
                  </a:lnTo>
                  <a:lnTo>
                    <a:pt x="1121" y="108"/>
                  </a:lnTo>
                  <a:lnTo>
                    <a:pt x="1121" y="106"/>
                  </a:lnTo>
                  <a:lnTo>
                    <a:pt x="1121" y="104"/>
                  </a:lnTo>
                  <a:lnTo>
                    <a:pt x="1121" y="102"/>
                  </a:lnTo>
                  <a:lnTo>
                    <a:pt x="1119" y="102"/>
                  </a:lnTo>
                  <a:lnTo>
                    <a:pt x="1117" y="102"/>
                  </a:lnTo>
                  <a:lnTo>
                    <a:pt x="1116" y="102"/>
                  </a:lnTo>
                  <a:lnTo>
                    <a:pt x="1116" y="104"/>
                  </a:lnTo>
                  <a:lnTo>
                    <a:pt x="1114" y="104"/>
                  </a:lnTo>
                  <a:lnTo>
                    <a:pt x="1112" y="104"/>
                  </a:lnTo>
                  <a:lnTo>
                    <a:pt x="1114" y="104"/>
                  </a:lnTo>
                  <a:lnTo>
                    <a:pt x="1114" y="106"/>
                  </a:lnTo>
                  <a:lnTo>
                    <a:pt x="1112" y="108"/>
                  </a:lnTo>
                  <a:lnTo>
                    <a:pt x="1114" y="110"/>
                  </a:lnTo>
                  <a:lnTo>
                    <a:pt x="1112" y="110"/>
                  </a:lnTo>
                  <a:lnTo>
                    <a:pt x="1110" y="110"/>
                  </a:lnTo>
                  <a:lnTo>
                    <a:pt x="1108" y="110"/>
                  </a:lnTo>
                  <a:lnTo>
                    <a:pt x="1106" y="110"/>
                  </a:lnTo>
                  <a:lnTo>
                    <a:pt x="1108" y="110"/>
                  </a:lnTo>
                  <a:lnTo>
                    <a:pt x="1108" y="112"/>
                  </a:lnTo>
                  <a:lnTo>
                    <a:pt x="1106" y="112"/>
                  </a:lnTo>
                  <a:lnTo>
                    <a:pt x="1108" y="114"/>
                  </a:lnTo>
                  <a:lnTo>
                    <a:pt x="1108" y="116"/>
                  </a:lnTo>
                  <a:lnTo>
                    <a:pt x="1106" y="116"/>
                  </a:lnTo>
                  <a:lnTo>
                    <a:pt x="1106" y="117"/>
                  </a:lnTo>
                  <a:lnTo>
                    <a:pt x="1104" y="117"/>
                  </a:lnTo>
                  <a:lnTo>
                    <a:pt x="1102" y="117"/>
                  </a:lnTo>
                  <a:lnTo>
                    <a:pt x="1102" y="116"/>
                  </a:lnTo>
                  <a:lnTo>
                    <a:pt x="1104" y="116"/>
                  </a:lnTo>
                  <a:lnTo>
                    <a:pt x="1104" y="114"/>
                  </a:lnTo>
                  <a:lnTo>
                    <a:pt x="1104" y="112"/>
                  </a:lnTo>
                  <a:lnTo>
                    <a:pt x="1102" y="110"/>
                  </a:lnTo>
                  <a:lnTo>
                    <a:pt x="1102" y="108"/>
                  </a:lnTo>
                  <a:lnTo>
                    <a:pt x="1100" y="108"/>
                  </a:lnTo>
                  <a:lnTo>
                    <a:pt x="1098" y="108"/>
                  </a:lnTo>
                  <a:lnTo>
                    <a:pt x="1096" y="106"/>
                  </a:lnTo>
                  <a:lnTo>
                    <a:pt x="1094" y="104"/>
                  </a:lnTo>
                  <a:lnTo>
                    <a:pt x="1094" y="102"/>
                  </a:lnTo>
                  <a:lnTo>
                    <a:pt x="1093" y="100"/>
                  </a:lnTo>
                  <a:lnTo>
                    <a:pt x="1093" y="98"/>
                  </a:lnTo>
                  <a:lnTo>
                    <a:pt x="1091" y="98"/>
                  </a:lnTo>
                  <a:lnTo>
                    <a:pt x="1091" y="96"/>
                  </a:lnTo>
                  <a:lnTo>
                    <a:pt x="1091" y="94"/>
                  </a:lnTo>
                  <a:lnTo>
                    <a:pt x="1091" y="92"/>
                  </a:lnTo>
                  <a:lnTo>
                    <a:pt x="1093" y="91"/>
                  </a:lnTo>
                  <a:lnTo>
                    <a:pt x="1093" y="89"/>
                  </a:lnTo>
                  <a:lnTo>
                    <a:pt x="1093" y="87"/>
                  </a:lnTo>
                  <a:lnTo>
                    <a:pt x="1093" y="85"/>
                  </a:lnTo>
                  <a:lnTo>
                    <a:pt x="1094" y="83"/>
                  </a:lnTo>
                  <a:lnTo>
                    <a:pt x="1094" y="81"/>
                  </a:lnTo>
                  <a:lnTo>
                    <a:pt x="1096" y="79"/>
                  </a:lnTo>
                  <a:lnTo>
                    <a:pt x="1098" y="77"/>
                  </a:lnTo>
                  <a:lnTo>
                    <a:pt x="1098" y="75"/>
                  </a:lnTo>
                  <a:lnTo>
                    <a:pt x="1100" y="73"/>
                  </a:lnTo>
                  <a:lnTo>
                    <a:pt x="1102" y="73"/>
                  </a:lnTo>
                  <a:lnTo>
                    <a:pt x="1102" y="71"/>
                  </a:lnTo>
                  <a:lnTo>
                    <a:pt x="1106" y="71"/>
                  </a:lnTo>
                  <a:lnTo>
                    <a:pt x="1106" y="69"/>
                  </a:lnTo>
                  <a:lnTo>
                    <a:pt x="1108" y="69"/>
                  </a:lnTo>
                  <a:lnTo>
                    <a:pt x="1110" y="68"/>
                  </a:lnTo>
                  <a:lnTo>
                    <a:pt x="1112" y="68"/>
                  </a:lnTo>
                  <a:lnTo>
                    <a:pt x="1114" y="66"/>
                  </a:lnTo>
                  <a:lnTo>
                    <a:pt x="1116" y="66"/>
                  </a:lnTo>
                  <a:lnTo>
                    <a:pt x="1117" y="66"/>
                  </a:lnTo>
                  <a:lnTo>
                    <a:pt x="1114" y="64"/>
                  </a:lnTo>
                  <a:lnTo>
                    <a:pt x="1114" y="62"/>
                  </a:lnTo>
                  <a:lnTo>
                    <a:pt x="1116" y="62"/>
                  </a:lnTo>
                  <a:lnTo>
                    <a:pt x="1123" y="62"/>
                  </a:lnTo>
                  <a:lnTo>
                    <a:pt x="1125" y="62"/>
                  </a:lnTo>
                  <a:lnTo>
                    <a:pt x="1129" y="62"/>
                  </a:lnTo>
                  <a:lnTo>
                    <a:pt x="1131" y="62"/>
                  </a:lnTo>
                  <a:lnTo>
                    <a:pt x="1137" y="62"/>
                  </a:lnTo>
                  <a:lnTo>
                    <a:pt x="1140" y="62"/>
                  </a:lnTo>
                  <a:lnTo>
                    <a:pt x="1142" y="62"/>
                  </a:lnTo>
                  <a:lnTo>
                    <a:pt x="1144" y="62"/>
                  </a:lnTo>
                  <a:lnTo>
                    <a:pt x="1150" y="60"/>
                  </a:lnTo>
                  <a:lnTo>
                    <a:pt x="1154" y="60"/>
                  </a:lnTo>
                  <a:lnTo>
                    <a:pt x="1160" y="60"/>
                  </a:lnTo>
                  <a:lnTo>
                    <a:pt x="1165" y="60"/>
                  </a:lnTo>
                  <a:lnTo>
                    <a:pt x="1165" y="62"/>
                  </a:lnTo>
                  <a:lnTo>
                    <a:pt x="1167" y="62"/>
                  </a:lnTo>
                  <a:lnTo>
                    <a:pt x="1165" y="60"/>
                  </a:lnTo>
                  <a:lnTo>
                    <a:pt x="1167" y="60"/>
                  </a:lnTo>
                  <a:lnTo>
                    <a:pt x="1171" y="60"/>
                  </a:lnTo>
                  <a:lnTo>
                    <a:pt x="1173" y="60"/>
                  </a:lnTo>
                  <a:lnTo>
                    <a:pt x="1175" y="60"/>
                  </a:lnTo>
                  <a:lnTo>
                    <a:pt x="1173" y="60"/>
                  </a:lnTo>
                  <a:lnTo>
                    <a:pt x="1173" y="62"/>
                  </a:lnTo>
                  <a:lnTo>
                    <a:pt x="1171" y="62"/>
                  </a:lnTo>
                  <a:lnTo>
                    <a:pt x="1173" y="62"/>
                  </a:lnTo>
                  <a:lnTo>
                    <a:pt x="1175" y="62"/>
                  </a:lnTo>
                  <a:lnTo>
                    <a:pt x="1177" y="62"/>
                  </a:lnTo>
                  <a:lnTo>
                    <a:pt x="1177" y="60"/>
                  </a:lnTo>
                  <a:lnTo>
                    <a:pt x="1175" y="60"/>
                  </a:lnTo>
                  <a:lnTo>
                    <a:pt x="1177" y="60"/>
                  </a:lnTo>
                  <a:lnTo>
                    <a:pt x="1181" y="60"/>
                  </a:lnTo>
                  <a:lnTo>
                    <a:pt x="1179" y="60"/>
                  </a:lnTo>
                  <a:lnTo>
                    <a:pt x="1179" y="62"/>
                  </a:lnTo>
                  <a:lnTo>
                    <a:pt x="1181" y="62"/>
                  </a:lnTo>
                  <a:lnTo>
                    <a:pt x="1181" y="60"/>
                  </a:lnTo>
                  <a:lnTo>
                    <a:pt x="1183" y="60"/>
                  </a:lnTo>
                  <a:lnTo>
                    <a:pt x="1185" y="60"/>
                  </a:lnTo>
                  <a:lnTo>
                    <a:pt x="1187" y="60"/>
                  </a:lnTo>
                  <a:lnTo>
                    <a:pt x="1188" y="60"/>
                  </a:lnTo>
                  <a:lnTo>
                    <a:pt x="1190" y="60"/>
                  </a:lnTo>
                  <a:lnTo>
                    <a:pt x="1188" y="60"/>
                  </a:lnTo>
                  <a:lnTo>
                    <a:pt x="1190" y="62"/>
                  </a:lnTo>
                  <a:lnTo>
                    <a:pt x="1192" y="62"/>
                  </a:lnTo>
                  <a:lnTo>
                    <a:pt x="1192" y="60"/>
                  </a:lnTo>
                  <a:lnTo>
                    <a:pt x="1190" y="60"/>
                  </a:lnTo>
                  <a:lnTo>
                    <a:pt x="1192" y="60"/>
                  </a:lnTo>
                  <a:lnTo>
                    <a:pt x="1194" y="60"/>
                  </a:lnTo>
                  <a:lnTo>
                    <a:pt x="1198" y="60"/>
                  </a:lnTo>
                  <a:lnTo>
                    <a:pt x="1196" y="60"/>
                  </a:lnTo>
                  <a:lnTo>
                    <a:pt x="1198" y="60"/>
                  </a:lnTo>
                  <a:lnTo>
                    <a:pt x="1200" y="60"/>
                  </a:lnTo>
                  <a:lnTo>
                    <a:pt x="1202" y="58"/>
                  </a:lnTo>
                  <a:lnTo>
                    <a:pt x="1206" y="58"/>
                  </a:lnTo>
                  <a:lnTo>
                    <a:pt x="1208" y="58"/>
                  </a:lnTo>
                  <a:lnTo>
                    <a:pt x="1208" y="60"/>
                  </a:lnTo>
                  <a:lnTo>
                    <a:pt x="1206" y="60"/>
                  </a:lnTo>
                  <a:lnTo>
                    <a:pt x="1208" y="60"/>
                  </a:lnTo>
                  <a:lnTo>
                    <a:pt x="1210" y="62"/>
                  </a:lnTo>
                  <a:lnTo>
                    <a:pt x="1210" y="60"/>
                  </a:lnTo>
                  <a:lnTo>
                    <a:pt x="1208" y="60"/>
                  </a:lnTo>
                  <a:lnTo>
                    <a:pt x="1208" y="58"/>
                  </a:lnTo>
                  <a:lnTo>
                    <a:pt x="1210" y="58"/>
                  </a:lnTo>
                  <a:lnTo>
                    <a:pt x="1212" y="58"/>
                  </a:lnTo>
                  <a:lnTo>
                    <a:pt x="1221" y="58"/>
                  </a:lnTo>
                  <a:lnTo>
                    <a:pt x="1227" y="58"/>
                  </a:lnTo>
                  <a:lnTo>
                    <a:pt x="1225" y="58"/>
                  </a:lnTo>
                  <a:lnTo>
                    <a:pt x="1227" y="58"/>
                  </a:lnTo>
                  <a:lnTo>
                    <a:pt x="1229" y="58"/>
                  </a:lnTo>
                  <a:lnTo>
                    <a:pt x="1233" y="58"/>
                  </a:lnTo>
                  <a:lnTo>
                    <a:pt x="1236" y="56"/>
                  </a:lnTo>
                  <a:lnTo>
                    <a:pt x="1238" y="56"/>
                  </a:lnTo>
                  <a:lnTo>
                    <a:pt x="1242" y="56"/>
                  </a:lnTo>
                  <a:lnTo>
                    <a:pt x="1244" y="56"/>
                  </a:lnTo>
                  <a:lnTo>
                    <a:pt x="1246" y="56"/>
                  </a:lnTo>
                  <a:lnTo>
                    <a:pt x="1248" y="54"/>
                  </a:lnTo>
                  <a:lnTo>
                    <a:pt x="1250" y="54"/>
                  </a:lnTo>
                  <a:lnTo>
                    <a:pt x="1252" y="54"/>
                  </a:lnTo>
                  <a:lnTo>
                    <a:pt x="1254" y="54"/>
                  </a:lnTo>
                  <a:lnTo>
                    <a:pt x="1256" y="54"/>
                  </a:lnTo>
                  <a:lnTo>
                    <a:pt x="1254" y="54"/>
                  </a:lnTo>
                  <a:lnTo>
                    <a:pt x="1254" y="56"/>
                  </a:lnTo>
                  <a:lnTo>
                    <a:pt x="1256" y="56"/>
                  </a:lnTo>
                  <a:lnTo>
                    <a:pt x="1258" y="56"/>
                  </a:lnTo>
                  <a:lnTo>
                    <a:pt x="1256" y="56"/>
                  </a:lnTo>
                  <a:lnTo>
                    <a:pt x="1256" y="54"/>
                  </a:lnTo>
                  <a:lnTo>
                    <a:pt x="1258" y="52"/>
                  </a:lnTo>
                  <a:lnTo>
                    <a:pt x="1258" y="54"/>
                  </a:lnTo>
                  <a:lnTo>
                    <a:pt x="1259" y="54"/>
                  </a:lnTo>
                  <a:lnTo>
                    <a:pt x="1261" y="54"/>
                  </a:lnTo>
                  <a:lnTo>
                    <a:pt x="1261" y="52"/>
                  </a:lnTo>
                  <a:lnTo>
                    <a:pt x="1263" y="52"/>
                  </a:lnTo>
                  <a:lnTo>
                    <a:pt x="1265" y="52"/>
                  </a:lnTo>
                  <a:lnTo>
                    <a:pt x="1269" y="52"/>
                  </a:lnTo>
                  <a:lnTo>
                    <a:pt x="1273" y="52"/>
                  </a:lnTo>
                  <a:lnTo>
                    <a:pt x="1271" y="52"/>
                  </a:lnTo>
                  <a:lnTo>
                    <a:pt x="1271" y="54"/>
                  </a:lnTo>
                  <a:lnTo>
                    <a:pt x="1269" y="54"/>
                  </a:lnTo>
                  <a:lnTo>
                    <a:pt x="1271" y="54"/>
                  </a:lnTo>
                  <a:lnTo>
                    <a:pt x="1271" y="56"/>
                  </a:lnTo>
                  <a:lnTo>
                    <a:pt x="1273" y="56"/>
                  </a:lnTo>
                  <a:lnTo>
                    <a:pt x="1275" y="56"/>
                  </a:lnTo>
                  <a:lnTo>
                    <a:pt x="1275" y="54"/>
                  </a:lnTo>
                  <a:lnTo>
                    <a:pt x="1275" y="56"/>
                  </a:lnTo>
                  <a:lnTo>
                    <a:pt x="1277" y="56"/>
                  </a:lnTo>
                  <a:lnTo>
                    <a:pt x="1277" y="54"/>
                  </a:lnTo>
                  <a:lnTo>
                    <a:pt x="1279" y="56"/>
                  </a:lnTo>
                  <a:lnTo>
                    <a:pt x="1279" y="54"/>
                  </a:lnTo>
                  <a:lnTo>
                    <a:pt x="1281" y="54"/>
                  </a:lnTo>
                  <a:lnTo>
                    <a:pt x="1281" y="52"/>
                  </a:lnTo>
                  <a:lnTo>
                    <a:pt x="1283" y="54"/>
                  </a:lnTo>
                  <a:lnTo>
                    <a:pt x="1284" y="54"/>
                  </a:lnTo>
                  <a:lnTo>
                    <a:pt x="1283" y="54"/>
                  </a:lnTo>
                  <a:lnTo>
                    <a:pt x="1283" y="52"/>
                  </a:lnTo>
                  <a:lnTo>
                    <a:pt x="1284" y="52"/>
                  </a:lnTo>
                  <a:lnTo>
                    <a:pt x="1286" y="52"/>
                  </a:lnTo>
                  <a:lnTo>
                    <a:pt x="1288" y="52"/>
                  </a:lnTo>
                  <a:lnTo>
                    <a:pt x="1290" y="52"/>
                  </a:lnTo>
                  <a:lnTo>
                    <a:pt x="1292" y="52"/>
                  </a:lnTo>
                  <a:lnTo>
                    <a:pt x="1294" y="52"/>
                  </a:lnTo>
                  <a:lnTo>
                    <a:pt x="1296" y="52"/>
                  </a:lnTo>
                  <a:lnTo>
                    <a:pt x="1298" y="52"/>
                  </a:lnTo>
                  <a:lnTo>
                    <a:pt x="1298" y="50"/>
                  </a:lnTo>
                  <a:lnTo>
                    <a:pt x="1300" y="50"/>
                  </a:lnTo>
                  <a:lnTo>
                    <a:pt x="1300" y="52"/>
                  </a:lnTo>
                  <a:lnTo>
                    <a:pt x="1302" y="52"/>
                  </a:lnTo>
                  <a:lnTo>
                    <a:pt x="1302" y="50"/>
                  </a:lnTo>
                  <a:lnTo>
                    <a:pt x="1304" y="50"/>
                  </a:lnTo>
                  <a:lnTo>
                    <a:pt x="1306" y="52"/>
                  </a:lnTo>
                  <a:lnTo>
                    <a:pt x="1306" y="50"/>
                  </a:lnTo>
                  <a:lnTo>
                    <a:pt x="1306" y="52"/>
                  </a:lnTo>
                  <a:lnTo>
                    <a:pt x="1306" y="50"/>
                  </a:lnTo>
                  <a:lnTo>
                    <a:pt x="1307" y="52"/>
                  </a:lnTo>
                  <a:lnTo>
                    <a:pt x="1307" y="50"/>
                  </a:lnTo>
                  <a:lnTo>
                    <a:pt x="1307" y="52"/>
                  </a:lnTo>
                  <a:lnTo>
                    <a:pt x="1309" y="52"/>
                  </a:lnTo>
                  <a:lnTo>
                    <a:pt x="1309" y="50"/>
                  </a:lnTo>
                  <a:lnTo>
                    <a:pt x="1311" y="52"/>
                  </a:lnTo>
                  <a:lnTo>
                    <a:pt x="1311" y="50"/>
                  </a:lnTo>
                  <a:lnTo>
                    <a:pt x="1313" y="50"/>
                  </a:lnTo>
                  <a:close/>
                  <a:moveTo>
                    <a:pt x="1334" y="64"/>
                  </a:moveTo>
                  <a:lnTo>
                    <a:pt x="1334" y="62"/>
                  </a:lnTo>
                  <a:lnTo>
                    <a:pt x="1334" y="60"/>
                  </a:lnTo>
                  <a:lnTo>
                    <a:pt x="1334" y="58"/>
                  </a:lnTo>
                  <a:lnTo>
                    <a:pt x="1334" y="54"/>
                  </a:lnTo>
                  <a:lnTo>
                    <a:pt x="1334" y="52"/>
                  </a:lnTo>
                  <a:lnTo>
                    <a:pt x="1334" y="48"/>
                  </a:lnTo>
                  <a:lnTo>
                    <a:pt x="1334" y="46"/>
                  </a:lnTo>
                  <a:lnTo>
                    <a:pt x="1336" y="46"/>
                  </a:lnTo>
                  <a:lnTo>
                    <a:pt x="1336" y="48"/>
                  </a:lnTo>
                  <a:lnTo>
                    <a:pt x="1336" y="50"/>
                  </a:lnTo>
                  <a:lnTo>
                    <a:pt x="1336" y="54"/>
                  </a:lnTo>
                  <a:lnTo>
                    <a:pt x="1336" y="58"/>
                  </a:lnTo>
                  <a:lnTo>
                    <a:pt x="1334" y="62"/>
                  </a:lnTo>
                  <a:lnTo>
                    <a:pt x="1334" y="64"/>
                  </a:lnTo>
                  <a:close/>
                  <a:moveTo>
                    <a:pt x="1336" y="43"/>
                  </a:moveTo>
                  <a:lnTo>
                    <a:pt x="1338" y="43"/>
                  </a:lnTo>
                  <a:lnTo>
                    <a:pt x="1338" y="44"/>
                  </a:lnTo>
                  <a:lnTo>
                    <a:pt x="1336" y="44"/>
                  </a:lnTo>
                  <a:lnTo>
                    <a:pt x="1336" y="43"/>
                  </a:lnTo>
                  <a:lnTo>
                    <a:pt x="1334" y="43"/>
                  </a:lnTo>
                  <a:lnTo>
                    <a:pt x="1332" y="43"/>
                  </a:lnTo>
                  <a:lnTo>
                    <a:pt x="1329" y="44"/>
                  </a:lnTo>
                  <a:lnTo>
                    <a:pt x="1327" y="43"/>
                  </a:lnTo>
                  <a:lnTo>
                    <a:pt x="1327" y="44"/>
                  </a:lnTo>
                  <a:lnTo>
                    <a:pt x="1327" y="46"/>
                  </a:lnTo>
                  <a:lnTo>
                    <a:pt x="1325" y="46"/>
                  </a:lnTo>
                  <a:lnTo>
                    <a:pt x="1325" y="48"/>
                  </a:lnTo>
                  <a:lnTo>
                    <a:pt x="1325" y="50"/>
                  </a:lnTo>
                  <a:lnTo>
                    <a:pt x="1323" y="52"/>
                  </a:lnTo>
                  <a:lnTo>
                    <a:pt x="1323" y="50"/>
                  </a:lnTo>
                  <a:lnTo>
                    <a:pt x="1323" y="46"/>
                  </a:lnTo>
                  <a:lnTo>
                    <a:pt x="1323" y="44"/>
                  </a:lnTo>
                  <a:lnTo>
                    <a:pt x="1325" y="44"/>
                  </a:lnTo>
                  <a:lnTo>
                    <a:pt x="1325" y="41"/>
                  </a:lnTo>
                  <a:lnTo>
                    <a:pt x="1329" y="39"/>
                  </a:lnTo>
                  <a:lnTo>
                    <a:pt x="1332" y="39"/>
                  </a:lnTo>
                  <a:lnTo>
                    <a:pt x="1334" y="41"/>
                  </a:lnTo>
                  <a:lnTo>
                    <a:pt x="1336" y="41"/>
                  </a:lnTo>
                  <a:lnTo>
                    <a:pt x="1336" y="43"/>
                  </a:lnTo>
                  <a:close/>
                  <a:moveTo>
                    <a:pt x="1482" y="48"/>
                  </a:moveTo>
                  <a:lnTo>
                    <a:pt x="1480" y="50"/>
                  </a:lnTo>
                  <a:lnTo>
                    <a:pt x="1482" y="50"/>
                  </a:lnTo>
                  <a:lnTo>
                    <a:pt x="1480" y="50"/>
                  </a:lnTo>
                  <a:lnTo>
                    <a:pt x="1480" y="48"/>
                  </a:lnTo>
                  <a:lnTo>
                    <a:pt x="1478" y="48"/>
                  </a:lnTo>
                  <a:lnTo>
                    <a:pt x="1476" y="48"/>
                  </a:lnTo>
                  <a:lnTo>
                    <a:pt x="1474" y="48"/>
                  </a:lnTo>
                  <a:lnTo>
                    <a:pt x="1476" y="48"/>
                  </a:lnTo>
                  <a:lnTo>
                    <a:pt x="1478" y="48"/>
                  </a:lnTo>
                  <a:lnTo>
                    <a:pt x="1480" y="48"/>
                  </a:lnTo>
                  <a:lnTo>
                    <a:pt x="1480" y="50"/>
                  </a:lnTo>
                  <a:lnTo>
                    <a:pt x="1482" y="50"/>
                  </a:lnTo>
                  <a:lnTo>
                    <a:pt x="1480" y="50"/>
                  </a:lnTo>
                  <a:lnTo>
                    <a:pt x="1482" y="52"/>
                  </a:lnTo>
                  <a:lnTo>
                    <a:pt x="1482" y="54"/>
                  </a:lnTo>
                  <a:lnTo>
                    <a:pt x="1482" y="52"/>
                  </a:lnTo>
                  <a:lnTo>
                    <a:pt x="1482" y="54"/>
                  </a:lnTo>
                  <a:lnTo>
                    <a:pt x="1480" y="54"/>
                  </a:lnTo>
                  <a:lnTo>
                    <a:pt x="1478" y="54"/>
                  </a:lnTo>
                  <a:lnTo>
                    <a:pt x="1478" y="52"/>
                  </a:lnTo>
                  <a:lnTo>
                    <a:pt x="1476" y="52"/>
                  </a:lnTo>
                  <a:lnTo>
                    <a:pt x="1474" y="52"/>
                  </a:lnTo>
                  <a:lnTo>
                    <a:pt x="1474" y="50"/>
                  </a:lnTo>
                  <a:lnTo>
                    <a:pt x="1473" y="48"/>
                  </a:lnTo>
                  <a:lnTo>
                    <a:pt x="1473" y="46"/>
                  </a:lnTo>
                  <a:lnTo>
                    <a:pt x="1474" y="44"/>
                  </a:lnTo>
                  <a:lnTo>
                    <a:pt x="1476" y="44"/>
                  </a:lnTo>
                  <a:lnTo>
                    <a:pt x="1478" y="44"/>
                  </a:lnTo>
                  <a:lnTo>
                    <a:pt x="1478" y="46"/>
                  </a:lnTo>
                  <a:lnTo>
                    <a:pt x="1480" y="46"/>
                  </a:lnTo>
                  <a:lnTo>
                    <a:pt x="1482" y="46"/>
                  </a:lnTo>
                  <a:lnTo>
                    <a:pt x="1482" y="48"/>
                  </a:lnTo>
                  <a:close/>
                  <a:moveTo>
                    <a:pt x="1403" y="27"/>
                  </a:moveTo>
                  <a:lnTo>
                    <a:pt x="1403" y="29"/>
                  </a:lnTo>
                  <a:lnTo>
                    <a:pt x="1402" y="31"/>
                  </a:lnTo>
                  <a:lnTo>
                    <a:pt x="1400" y="31"/>
                  </a:lnTo>
                  <a:lnTo>
                    <a:pt x="1398" y="31"/>
                  </a:lnTo>
                  <a:lnTo>
                    <a:pt x="1396" y="31"/>
                  </a:lnTo>
                  <a:lnTo>
                    <a:pt x="1394" y="31"/>
                  </a:lnTo>
                  <a:lnTo>
                    <a:pt x="1392" y="31"/>
                  </a:lnTo>
                  <a:lnTo>
                    <a:pt x="1392" y="29"/>
                  </a:lnTo>
                  <a:lnTo>
                    <a:pt x="1390" y="29"/>
                  </a:lnTo>
                  <a:lnTo>
                    <a:pt x="1388" y="29"/>
                  </a:lnTo>
                  <a:lnTo>
                    <a:pt x="1388" y="27"/>
                  </a:lnTo>
                  <a:lnTo>
                    <a:pt x="1390" y="27"/>
                  </a:lnTo>
                  <a:lnTo>
                    <a:pt x="1392" y="27"/>
                  </a:lnTo>
                  <a:lnTo>
                    <a:pt x="1394" y="27"/>
                  </a:lnTo>
                  <a:lnTo>
                    <a:pt x="1396" y="27"/>
                  </a:lnTo>
                  <a:lnTo>
                    <a:pt x="1398" y="25"/>
                  </a:lnTo>
                  <a:lnTo>
                    <a:pt x="1400" y="25"/>
                  </a:lnTo>
                  <a:lnTo>
                    <a:pt x="1402" y="25"/>
                  </a:lnTo>
                  <a:lnTo>
                    <a:pt x="1403" y="27"/>
                  </a:lnTo>
                  <a:close/>
                  <a:moveTo>
                    <a:pt x="1486" y="29"/>
                  </a:moveTo>
                  <a:lnTo>
                    <a:pt x="1484" y="29"/>
                  </a:lnTo>
                  <a:lnTo>
                    <a:pt x="1486" y="31"/>
                  </a:lnTo>
                  <a:lnTo>
                    <a:pt x="1484" y="31"/>
                  </a:lnTo>
                  <a:lnTo>
                    <a:pt x="1482" y="31"/>
                  </a:lnTo>
                  <a:lnTo>
                    <a:pt x="1480" y="29"/>
                  </a:lnTo>
                  <a:lnTo>
                    <a:pt x="1482" y="29"/>
                  </a:lnTo>
                  <a:lnTo>
                    <a:pt x="1484" y="29"/>
                  </a:lnTo>
                  <a:lnTo>
                    <a:pt x="1486" y="29"/>
                  </a:lnTo>
                  <a:close/>
                  <a:moveTo>
                    <a:pt x="1467" y="18"/>
                  </a:moveTo>
                  <a:lnTo>
                    <a:pt x="1465" y="18"/>
                  </a:lnTo>
                  <a:lnTo>
                    <a:pt x="1465" y="20"/>
                  </a:lnTo>
                  <a:lnTo>
                    <a:pt x="1469" y="20"/>
                  </a:lnTo>
                  <a:lnTo>
                    <a:pt x="1473" y="20"/>
                  </a:lnTo>
                  <a:lnTo>
                    <a:pt x="1478" y="20"/>
                  </a:lnTo>
                  <a:lnTo>
                    <a:pt x="1480" y="20"/>
                  </a:lnTo>
                  <a:lnTo>
                    <a:pt x="1482" y="20"/>
                  </a:lnTo>
                  <a:lnTo>
                    <a:pt x="1482" y="21"/>
                  </a:lnTo>
                  <a:lnTo>
                    <a:pt x="1484" y="21"/>
                  </a:lnTo>
                  <a:lnTo>
                    <a:pt x="1488" y="21"/>
                  </a:lnTo>
                  <a:lnTo>
                    <a:pt x="1488" y="23"/>
                  </a:lnTo>
                  <a:lnTo>
                    <a:pt x="1490" y="23"/>
                  </a:lnTo>
                  <a:lnTo>
                    <a:pt x="1492" y="25"/>
                  </a:lnTo>
                  <a:lnTo>
                    <a:pt x="1494" y="27"/>
                  </a:lnTo>
                  <a:lnTo>
                    <a:pt x="1496" y="31"/>
                  </a:lnTo>
                  <a:lnTo>
                    <a:pt x="1497" y="31"/>
                  </a:lnTo>
                  <a:lnTo>
                    <a:pt x="1499" y="31"/>
                  </a:lnTo>
                  <a:lnTo>
                    <a:pt x="1499" y="33"/>
                  </a:lnTo>
                  <a:lnTo>
                    <a:pt x="1496" y="33"/>
                  </a:lnTo>
                  <a:lnTo>
                    <a:pt x="1494" y="31"/>
                  </a:lnTo>
                  <a:lnTo>
                    <a:pt x="1492" y="31"/>
                  </a:lnTo>
                  <a:lnTo>
                    <a:pt x="1490" y="29"/>
                  </a:lnTo>
                  <a:lnTo>
                    <a:pt x="1488" y="29"/>
                  </a:lnTo>
                  <a:lnTo>
                    <a:pt x="1484" y="27"/>
                  </a:lnTo>
                  <a:lnTo>
                    <a:pt x="1482" y="27"/>
                  </a:lnTo>
                  <a:lnTo>
                    <a:pt x="1482" y="25"/>
                  </a:lnTo>
                  <a:lnTo>
                    <a:pt x="1480" y="25"/>
                  </a:lnTo>
                  <a:lnTo>
                    <a:pt x="1480" y="27"/>
                  </a:lnTo>
                  <a:lnTo>
                    <a:pt x="1478" y="29"/>
                  </a:lnTo>
                  <a:lnTo>
                    <a:pt x="1476" y="29"/>
                  </a:lnTo>
                  <a:lnTo>
                    <a:pt x="1474" y="31"/>
                  </a:lnTo>
                  <a:lnTo>
                    <a:pt x="1473" y="31"/>
                  </a:lnTo>
                  <a:lnTo>
                    <a:pt x="1471" y="33"/>
                  </a:lnTo>
                  <a:lnTo>
                    <a:pt x="1469" y="35"/>
                  </a:lnTo>
                  <a:lnTo>
                    <a:pt x="1469" y="37"/>
                  </a:lnTo>
                  <a:lnTo>
                    <a:pt x="1467" y="37"/>
                  </a:lnTo>
                  <a:lnTo>
                    <a:pt x="1467" y="39"/>
                  </a:lnTo>
                  <a:lnTo>
                    <a:pt x="1465" y="41"/>
                  </a:lnTo>
                  <a:lnTo>
                    <a:pt x="1465" y="39"/>
                  </a:lnTo>
                  <a:lnTo>
                    <a:pt x="1459" y="37"/>
                  </a:lnTo>
                  <a:lnTo>
                    <a:pt x="1457" y="37"/>
                  </a:lnTo>
                  <a:lnTo>
                    <a:pt x="1459" y="35"/>
                  </a:lnTo>
                  <a:lnTo>
                    <a:pt x="1459" y="33"/>
                  </a:lnTo>
                  <a:lnTo>
                    <a:pt x="1457" y="31"/>
                  </a:lnTo>
                  <a:lnTo>
                    <a:pt x="1459" y="29"/>
                  </a:lnTo>
                  <a:lnTo>
                    <a:pt x="1459" y="27"/>
                  </a:lnTo>
                  <a:lnTo>
                    <a:pt x="1459" y="25"/>
                  </a:lnTo>
                  <a:lnTo>
                    <a:pt x="1459" y="23"/>
                  </a:lnTo>
                  <a:lnTo>
                    <a:pt x="1461" y="23"/>
                  </a:lnTo>
                  <a:lnTo>
                    <a:pt x="1461" y="21"/>
                  </a:lnTo>
                  <a:lnTo>
                    <a:pt x="1463" y="20"/>
                  </a:lnTo>
                  <a:lnTo>
                    <a:pt x="1463" y="18"/>
                  </a:lnTo>
                  <a:lnTo>
                    <a:pt x="1465" y="18"/>
                  </a:lnTo>
                  <a:lnTo>
                    <a:pt x="1467" y="18"/>
                  </a:lnTo>
                  <a:close/>
                  <a:moveTo>
                    <a:pt x="1396" y="2"/>
                  </a:moveTo>
                  <a:lnTo>
                    <a:pt x="1398" y="6"/>
                  </a:lnTo>
                  <a:lnTo>
                    <a:pt x="1403" y="8"/>
                  </a:lnTo>
                  <a:lnTo>
                    <a:pt x="1405" y="10"/>
                  </a:lnTo>
                  <a:lnTo>
                    <a:pt x="1405" y="12"/>
                  </a:lnTo>
                  <a:lnTo>
                    <a:pt x="1407" y="16"/>
                  </a:lnTo>
                  <a:lnTo>
                    <a:pt x="1409" y="18"/>
                  </a:lnTo>
                  <a:lnTo>
                    <a:pt x="1409" y="20"/>
                  </a:lnTo>
                  <a:lnTo>
                    <a:pt x="1411" y="20"/>
                  </a:lnTo>
                  <a:lnTo>
                    <a:pt x="1409" y="20"/>
                  </a:lnTo>
                  <a:lnTo>
                    <a:pt x="1407" y="16"/>
                  </a:lnTo>
                  <a:lnTo>
                    <a:pt x="1405" y="14"/>
                  </a:lnTo>
                  <a:lnTo>
                    <a:pt x="1403" y="12"/>
                  </a:lnTo>
                  <a:lnTo>
                    <a:pt x="1402" y="10"/>
                  </a:lnTo>
                  <a:lnTo>
                    <a:pt x="1398" y="6"/>
                  </a:lnTo>
                  <a:lnTo>
                    <a:pt x="1396" y="6"/>
                  </a:lnTo>
                  <a:lnTo>
                    <a:pt x="1396" y="4"/>
                  </a:lnTo>
                  <a:lnTo>
                    <a:pt x="1394" y="4"/>
                  </a:lnTo>
                  <a:lnTo>
                    <a:pt x="1392" y="2"/>
                  </a:lnTo>
                  <a:lnTo>
                    <a:pt x="1394" y="4"/>
                  </a:lnTo>
                  <a:lnTo>
                    <a:pt x="1398" y="6"/>
                  </a:lnTo>
                  <a:lnTo>
                    <a:pt x="1400" y="10"/>
                  </a:lnTo>
                  <a:lnTo>
                    <a:pt x="1403" y="14"/>
                  </a:lnTo>
                  <a:lnTo>
                    <a:pt x="1405" y="16"/>
                  </a:lnTo>
                  <a:lnTo>
                    <a:pt x="1413" y="25"/>
                  </a:lnTo>
                  <a:lnTo>
                    <a:pt x="1413" y="27"/>
                  </a:lnTo>
                  <a:lnTo>
                    <a:pt x="1411" y="27"/>
                  </a:lnTo>
                  <a:lnTo>
                    <a:pt x="1411" y="25"/>
                  </a:lnTo>
                  <a:lnTo>
                    <a:pt x="1407" y="23"/>
                  </a:lnTo>
                  <a:lnTo>
                    <a:pt x="1405" y="21"/>
                  </a:lnTo>
                  <a:lnTo>
                    <a:pt x="1403" y="20"/>
                  </a:lnTo>
                  <a:lnTo>
                    <a:pt x="1402" y="18"/>
                  </a:lnTo>
                  <a:lnTo>
                    <a:pt x="1400" y="18"/>
                  </a:lnTo>
                  <a:lnTo>
                    <a:pt x="1400" y="16"/>
                  </a:lnTo>
                  <a:lnTo>
                    <a:pt x="1398" y="14"/>
                  </a:lnTo>
                  <a:lnTo>
                    <a:pt x="1396" y="12"/>
                  </a:lnTo>
                  <a:lnTo>
                    <a:pt x="1396" y="10"/>
                  </a:lnTo>
                  <a:lnTo>
                    <a:pt x="1394" y="10"/>
                  </a:lnTo>
                  <a:lnTo>
                    <a:pt x="1394" y="8"/>
                  </a:lnTo>
                  <a:lnTo>
                    <a:pt x="1392" y="8"/>
                  </a:lnTo>
                  <a:lnTo>
                    <a:pt x="1390" y="10"/>
                  </a:lnTo>
                  <a:lnTo>
                    <a:pt x="1388" y="10"/>
                  </a:lnTo>
                  <a:lnTo>
                    <a:pt x="1388" y="8"/>
                  </a:lnTo>
                  <a:lnTo>
                    <a:pt x="1386" y="8"/>
                  </a:lnTo>
                  <a:lnTo>
                    <a:pt x="1384" y="8"/>
                  </a:lnTo>
                  <a:lnTo>
                    <a:pt x="1384" y="10"/>
                  </a:lnTo>
                  <a:lnTo>
                    <a:pt x="1384" y="8"/>
                  </a:lnTo>
                  <a:lnTo>
                    <a:pt x="1384" y="10"/>
                  </a:lnTo>
                  <a:lnTo>
                    <a:pt x="1384" y="12"/>
                  </a:lnTo>
                  <a:lnTo>
                    <a:pt x="1388" y="12"/>
                  </a:lnTo>
                  <a:lnTo>
                    <a:pt x="1390" y="14"/>
                  </a:lnTo>
                  <a:lnTo>
                    <a:pt x="1392" y="14"/>
                  </a:lnTo>
                  <a:lnTo>
                    <a:pt x="1394" y="16"/>
                  </a:lnTo>
                  <a:lnTo>
                    <a:pt x="1394" y="18"/>
                  </a:lnTo>
                  <a:lnTo>
                    <a:pt x="1394" y="16"/>
                  </a:lnTo>
                  <a:lnTo>
                    <a:pt x="1394" y="14"/>
                  </a:lnTo>
                  <a:lnTo>
                    <a:pt x="1396" y="14"/>
                  </a:lnTo>
                  <a:lnTo>
                    <a:pt x="1396" y="16"/>
                  </a:lnTo>
                  <a:lnTo>
                    <a:pt x="1398" y="18"/>
                  </a:lnTo>
                  <a:lnTo>
                    <a:pt x="1400" y="18"/>
                  </a:lnTo>
                  <a:lnTo>
                    <a:pt x="1400" y="20"/>
                  </a:lnTo>
                  <a:lnTo>
                    <a:pt x="1402" y="21"/>
                  </a:lnTo>
                  <a:lnTo>
                    <a:pt x="1403" y="21"/>
                  </a:lnTo>
                  <a:lnTo>
                    <a:pt x="1403" y="23"/>
                  </a:lnTo>
                  <a:lnTo>
                    <a:pt x="1405" y="23"/>
                  </a:lnTo>
                  <a:lnTo>
                    <a:pt x="1405" y="25"/>
                  </a:lnTo>
                  <a:lnTo>
                    <a:pt x="1407" y="27"/>
                  </a:lnTo>
                  <a:lnTo>
                    <a:pt x="1409" y="27"/>
                  </a:lnTo>
                  <a:lnTo>
                    <a:pt x="1409" y="29"/>
                  </a:lnTo>
                  <a:lnTo>
                    <a:pt x="1411" y="31"/>
                  </a:lnTo>
                  <a:lnTo>
                    <a:pt x="1409" y="33"/>
                  </a:lnTo>
                  <a:lnTo>
                    <a:pt x="1407" y="31"/>
                  </a:lnTo>
                  <a:lnTo>
                    <a:pt x="1405" y="29"/>
                  </a:lnTo>
                  <a:lnTo>
                    <a:pt x="1405" y="27"/>
                  </a:lnTo>
                  <a:lnTo>
                    <a:pt x="1405" y="29"/>
                  </a:lnTo>
                  <a:lnTo>
                    <a:pt x="1405" y="27"/>
                  </a:lnTo>
                  <a:lnTo>
                    <a:pt x="1405" y="29"/>
                  </a:lnTo>
                  <a:lnTo>
                    <a:pt x="1405" y="27"/>
                  </a:lnTo>
                  <a:lnTo>
                    <a:pt x="1403" y="27"/>
                  </a:lnTo>
                  <a:lnTo>
                    <a:pt x="1402" y="25"/>
                  </a:lnTo>
                  <a:lnTo>
                    <a:pt x="1400" y="25"/>
                  </a:lnTo>
                  <a:lnTo>
                    <a:pt x="1398" y="25"/>
                  </a:lnTo>
                  <a:lnTo>
                    <a:pt x="1396" y="27"/>
                  </a:lnTo>
                  <a:lnTo>
                    <a:pt x="1394" y="27"/>
                  </a:lnTo>
                  <a:lnTo>
                    <a:pt x="1392" y="27"/>
                  </a:lnTo>
                  <a:lnTo>
                    <a:pt x="1390" y="27"/>
                  </a:lnTo>
                  <a:lnTo>
                    <a:pt x="1388" y="27"/>
                  </a:lnTo>
                  <a:lnTo>
                    <a:pt x="1386" y="27"/>
                  </a:lnTo>
                  <a:lnTo>
                    <a:pt x="1384" y="25"/>
                  </a:lnTo>
                  <a:lnTo>
                    <a:pt x="1384" y="27"/>
                  </a:lnTo>
                  <a:lnTo>
                    <a:pt x="1386" y="27"/>
                  </a:lnTo>
                  <a:lnTo>
                    <a:pt x="1386" y="29"/>
                  </a:lnTo>
                  <a:lnTo>
                    <a:pt x="1388" y="29"/>
                  </a:lnTo>
                  <a:lnTo>
                    <a:pt x="1390" y="31"/>
                  </a:lnTo>
                  <a:lnTo>
                    <a:pt x="1392" y="33"/>
                  </a:lnTo>
                  <a:lnTo>
                    <a:pt x="1392" y="35"/>
                  </a:lnTo>
                  <a:lnTo>
                    <a:pt x="1394" y="39"/>
                  </a:lnTo>
                  <a:lnTo>
                    <a:pt x="1392" y="41"/>
                  </a:lnTo>
                  <a:lnTo>
                    <a:pt x="1392" y="43"/>
                  </a:lnTo>
                  <a:lnTo>
                    <a:pt x="1390" y="44"/>
                  </a:lnTo>
                  <a:lnTo>
                    <a:pt x="1390" y="46"/>
                  </a:lnTo>
                  <a:lnTo>
                    <a:pt x="1388" y="50"/>
                  </a:lnTo>
                  <a:lnTo>
                    <a:pt x="1388" y="52"/>
                  </a:lnTo>
                  <a:lnTo>
                    <a:pt x="1388" y="54"/>
                  </a:lnTo>
                  <a:lnTo>
                    <a:pt x="1386" y="54"/>
                  </a:lnTo>
                  <a:lnTo>
                    <a:pt x="1384" y="54"/>
                  </a:lnTo>
                  <a:lnTo>
                    <a:pt x="1382" y="54"/>
                  </a:lnTo>
                  <a:lnTo>
                    <a:pt x="1380" y="52"/>
                  </a:lnTo>
                  <a:lnTo>
                    <a:pt x="1378" y="56"/>
                  </a:lnTo>
                  <a:lnTo>
                    <a:pt x="1377" y="58"/>
                  </a:lnTo>
                  <a:lnTo>
                    <a:pt x="1378" y="62"/>
                  </a:lnTo>
                  <a:lnTo>
                    <a:pt x="1378" y="64"/>
                  </a:lnTo>
                  <a:lnTo>
                    <a:pt x="1378" y="66"/>
                  </a:lnTo>
                  <a:lnTo>
                    <a:pt x="1377" y="66"/>
                  </a:lnTo>
                  <a:lnTo>
                    <a:pt x="1377" y="64"/>
                  </a:lnTo>
                  <a:lnTo>
                    <a:pt x="1377" y="48"/>
                  </a:lnTo>
                  <a:lnTo>
                    <a:pt x="1377" y="46"/>
                  </a:lnTo>
                  <a:lnTo>
                    <a:pt x="1377" y="43"/>
                  </a:lnTo>
                  <a:lnTo>
                    <a:pt x="1375" y="39"/>
                  </a:lnTo>
                  <a:lnTo>
                    <a:pt x="1375" y="37"/>
                  </a:lnTo>
                  <a:lnTo>
                    <a:pt x="1375" y="33"/>
                  </a:lnTo>
                  <a:lnTo>
                    <a:pt x="1373" y="29"/>
                  </a:lnTo>
                  <a:lnTo>
                    <a:pt x="1371" y="25"/>
                  </a:lnTo>
                  <a:lnTo>
                    <a:pt x="1369" y="21"/>
                  </a:lnTo>
                  <a:lnTo>
                    <a:pt x="1369" y="20"/>
                  </a:lnTo>
                  <a:lnTo>
                    <a:pt x="1369" y="16"/>
                  </a:lnTo>
                  <a:lnTo>
                    <a:pt x="1371" y="12"/>
                  </a:lnTo>
                  <a:lnTo>
                    <a:pt x="1378" y="4"/>
                  </a:lnTo>
                  <a:lnTo>
                    <a:pt x="1382" y="2"/>
                  </a:lnTo>
                  <a:lnTo>
                    <a:pt x="1384" y="0"/>
                  </a:lnTo>
                  <a:lnTo>
                    <a:pt x="1386" y="0"/>
                  </a:lnTo>
                  <a:lnTo>
                    <a:pt x="1390" y="0"/>
                  </a:lnTo>
                  <a:lnTo>
                    <a:pt x="1392" y="0"/>
                  </a:lnTo>
                  <a:lnTo>
                    <a:pt x="1394" y="0"/>
                  </a:lnTo>
                  <a:lnTo>
                    <a:pt x="1396" y="2"/>
                  </a:lnTo>
                  <a:close/>
                </a:path>
              </a:pathLst>
            </a:custGeom>
            <a:solidFill>
              <a:srgbClr val="E6E6E6"/>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17" name="Freeform 10">
              <a:extLst>
                <a:ext uri="{FF2B5EF4-FFF2-40B4-BE49-F238E27FC236}">
                  <a16:creationId xmlns:a16="http://schemas.microsoft.com/office/drawing/2014/main" id="{FC088C88-49D0-4151-8941-C18BBA8249EC}"/>
                </a:ext>
              </a:extLst>
            </p:cNvPr>
            <p:cNvSpPr>
              <a:spLocks noEditPoints="1"/>
            </p:cNvSpPr>
            <p:nvPr/>
          </p:nvSpPr>
          <p:spPr bwMode="gray">
            <a:xfrm>
              <a:off x="2934581" y="2600084"/>
              <a:ext cx="2227725" cy="2009519"/>
            </a:xfrm>
            <a:custGeom>
              <a:avLst/>
              <a:gdLst>
                <a:gd name="T0" fmla="*/ 535 w 1823"/>
                <a:gd name="T1" fmla="*/ 664 h 1552"/>
                <a:gd name="T2" fmla="*/ 785 w 1823"/>
                <a:gd name="T3" fmla="*/ 505 h 1552"/>
                <a:gd name="T4" fmla="*/ 773 w 1823"/>
                <a:gd name="T5" fmla="*/ 382 h 1552"/>
                <a:gd name="T6" fmla="*/ 720 w 1823"/>
                <a:gd name="T7" fmla="*/ 349 h 1552"/>
                <a:gd name="T8" fmla="*/ 716 w 1823"/>
                <a:gd name="T9" fmla="*/ 338 h 1552"/>
                <a:gd name="T10" fmla="*/ 700 w 1823"/>
                <a:gd name="T11" fmla="*/ 345 h 1552"/>
                <a:gd name="T12" fmla="*/ 785 w 1823"/>
                <a:gd name="T13" fmla="*/ 336 h 1552"/>
                <a:gd name="T14" fmla="*/ 338 w 1823"/>
                <a:gd name="T15" fmla="*/ 184 h 1552"/>
                <a:gd name="T16" fmla="*/ 468 w 1823"/>
                <a:gd name="T17" fmla="*/ 374 h 1552"/>
                <a:gd name="T18" fmla="*/ 240 w 1823"/>
                <a:gd name="T19" fmla="*/ 685 h 1552"/>
                <a:gd name="T20" fmla="*/ 161 w 1823"/>
                <a:gd name="T21" fmla="*/ 616 h 1552"/>
                <a:gd name="T22" fmla="*/ 439 w 1823"/>
                <a:gd name="T23" fmla="*/ 440 h 1552"/>
                <a:gd name="T24" fmla="*/ 495 w 1823"/>
                <a:gd name="T25" fmla="*/ 392 h 1552"/>
                <a:gd name="T26" fmla="*/ 796 w 1823"/>
                <a:gd name="T27" fmla="*/ 455 h 1552"/>
                <a:gd name="T28" fmla="*/ 725 w 1823"/>
                <a:gd name="T29" fmla="*/ 582 h 1552"/>
                <a:gd name="T30" fmla="*/ 589 w 1823"/>
                <a:gd name="T31" fmla="*/ 643 h 1552"/>
                <a:gd name="T32" fmla="*/ 633 w 1823"/>
                <a:gd name="T33" fmla="*/ 649 h 1552"/>
                <a:gd name="T34" fmla="*/ 716 w 1823"/>
                <a:gd name="T35" fmla="*/ 605 h 1552"/>
                <a:gd name="T36" fmla="*/ 768 w 1823"/>
                <a:gd name="T37" fmla="*/ 551 h 1552"/>
                <a:gd name="T38" fmla="*/ 804 w 1823"/>
                <a:gd name="T39" fmla="*/ 465 h 1552"/>
                <a:gd name="T40" fmla="*/ 789 w 1823"/>
                <a:gd name="T41" fmla="*/ 392 h 1552"/>
                <a:gd name="T42" fmla="*/ 781 w 1823"/>
                <a:gd name="T43" fmla="*/ 365 h 1552"/>
                <a:gd name="T44" fmla="*/ 842 w 1823"/>
                <a:gd name="T45" fmla="*/ 324 h 1552"/>
                <a:gd name="T46" fmla="*/ 917 w 1823"/>
                <a:gd name="T47" fmla="*/ 319 h 1552"/>
                <a:gd name="T48" fmla="*/ 796 w 1823"/>
                <a:gd name="T49" fmla="*/ 324 h 1552"/>
                <a:gd name="T50" fmla="*/ 597 w 1823"/>
                <a:gd name="T51" fmla="*/ 257 h 1552"/>
                <a:gd name="T52" fmla="*/ 733 w 1823"/>
                <a:gd name="T53" fmla="*/ 5 h 1552"/>
                <a:gd name="T54" fmla="*/ 883 w 1823"/>
                <a:gd name="T55" fmla="*/ 27 h 1552"/>
                <a:gd name="T56" fmla="*/ 1023 w 1823"/>
                <a:gd name="T57" fmla="*/ 17 h 1552"/>
                <a:gd name="T58" fmla="*/ 1073 w 1823"/>
                <a:gd name="T59" fmla="*/ 246 h 1552"/>
                <a:gd name="T60" fmla="*/ 1167 w 1823"/>
                <a:gd name="T61" fmla="*/ 271 h 1552"/>
                <a:gd name="T62" fmla="*/ 1240 w 1823"/>
                <a:gd name="T63" fmla="*/ 320 h 1552"/>
                <a:gd name="T64" fmla="*/ 1318 w 1823"/>
                <a:gd name="T65" fmla="*/ 347 h 1552"/>
                <a:gd name="T66" fmla="*/ 1528 w 1823"/>
                <a:gd name="T67" fmla="*/ 330 h 1552"/>
                <a:gd name="T68" fmla="*/ 1570 w 1823"/>
                <a:gd name="T69" fmla="*/ 582 h 1552"/>
                <a:gd name="T70" fmla="*/ 1806 w 1823"/>
                <a:gd name="T71" fmla="*/ 770 h 1552"/>
                <a:gd name="T72" fmla="*/ 1720 w 1823"/>
                <a:gd name="T73" fmla="*/ 962 h 1552"/>
                <a:gd name="T74" fmla="*/ 1478 w 1823"/>
                <a:gd name="T75" fmla="*/ 1141 h 1552"/>
                <a:gd name="T76" fmla="*/ 1470 w 1823"/>
                <a:gd name="T77" fmla="*/ 1342 h 1552"/>
                <a:gd name="T78" fmla="*/ 1276 w 1823"/>
                <a:gd name="T79" fmla="*/ 1419 h 1552"/>
                <a:gd name="T80" fmla="*/ 1217 w 1823"/>
                <a:gd name="T81" fmla="*/ 1448 h 1552"/>
                <a:gd name="T82" fmla="*/ 1067 w 1823"/>
                <a:gd name="T83" fmla="*/ 1387 h 1552"/>
                <a:gd name="T84" fmla="*/ 998 w 1823"/>
                <a:gd name="T85" fmla="*/ 1385 h 1552"/>
                <a:gd name="T86" fmla="*/ 848 w 1823"/>
                <a:gd name="T87" fmla="*/ 1427 h 1552"/>
                <a:gd name="T88" fmla="*/ 808 w 1823"/>
                <a:gd name="T89" fmla="*/ 1552 h 1552"/>
                <a:gd name="T90" fmla="*/ 629 w 1823"/>
                <a:gd name="T91" fmla="*/ 1498 h 1552"/>
                <a:gd name="T92" fmla="*/ 453 w 1823"/>
                <a:gd name="T93" fmla="*/ 1421 h 1552"/>
                <a:gd name="T94" fmla="*/ 307 w 1823"/>
                <a:gd name="T95" fmla="*/ 1494 h 1552"/>
                <a:gd name="T96" fmla="*/ 113 w 1823"/>
                <a:gd name="T97" fmla="*/ 1479 h 1552"/>
                <a:gd name="T98" fmla="*/ 25 w 1823"/>
                <a:gd name="T99" fmla="*/ 1362 h 1552"/>
                <a:gd name="T100" fmla="*/ 84 w 1823"/>
                <a:gd name="T101" fmla="*/ 1300 h 1552"/>
                <a:gd name="T102" fmla="*/ 234 w 1823"/>
                <a:gd name="T103" fmla="*/ 1193 h 1552"/>
                <a:gd name="T104" fmla="*/ 457 w 1823"/>
                <a:gd name="T105" fmla="*/ 1204 h 1552"/>
                <a:gd name="T106" fmla="*/ 526 w 1823"/>
                <a:gd name="T107" fmla="*/ 1156 h 1552"/>
                <a:gd name="T108" fmla="*/ 489 w 1823"/>
                <a:gd name="T109" fmla="*/ 1031 h 1552"/>
                <a:gd name="T110" fmla="*/ 459 w 1823"/>
                <a:gd name="T111" fmla="*/ 1004 h 1552"/>
                <a:gd name="T112" fmla="*/ 413 w 1823"/>
                <a:gd name="T113" fmla="*/ 910 h 1552"/>
                <a:gd name="T114" fmla="*/ 449 w 1823"/>
                <a:gd name="T115" fmla="*/ 801 h 1552"/>
                <a:gd name="T116" fmla="*/ 507 w 1823"/>
                <a:gd name="T117" fmla="*/ 781 h 1552"/>
                <a:gd name="T118" fmla="*/ 564 w 1823"/>
                <a:gd name="T119" fmla="*/ 701 h 1552"/>
                <a:gd name="T120" fmla="*/ 516 w 1823"/>
                <a:gd name="T121" fmla="*/ 701 h 1552"/>
                <a:gd name="T122" fmla="*/ 499 w 1823"/>
                <a:gd name="T123" fmla="*/ 780 h 1552"/>
                <a:gd name="T124" fmla="*/ 380 w 1823"/>
                <a:gd name="T125" fmla="*/ 801 h 1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23" h="1552">
                  <a:moveTo>
                    <a:pt x="509" y="757"/>
                  </a:moveTo>
                  <a:lnTo>
                    <a:pt x="510" y="757"/>
                  </a:lnTo>
                  <a:lnTo>
                    <a:pt x="510" y="758"/>
                  </a:lnTo>
                  <a:lnTo>
                    <a:pt x="509" y="758"/>
                  </a:lnTo>
                  <a:lnTo>
                    <a:pt x="509" y="757"/>
                  </a:lnTo>
                  <a:close/>
                  <a:moveTo>
                    <a:pt x="510" y="751"/>
                  </a:moveTo>
                  <a:lnTo>
                    <a:pt x="512" y="751"/>
                  </a:lnTo>
                  <a:lnTo>
                    <a:pt x="512" y="753"/>
                  </a:lnTo>
                  <a:lnTo>
                    <a:pt x="510" y="753"/>
                  </a:lnTo>
                  <a:lnTo>
                    <a:pt x="510" y="751"/>
                  </a:lnTo>
                  <a:close/>
                  <a:moveTo>
                    <a:pt x="240" y="687"/>
                  </a:moveTo>
                  <a:lnTo>
                    <a:pt x="240" y="689"/>
                  </a:lnTo>
                  <a:lnTo>
                    <a:pt x="240" y="687"/>
                  </a:lnTo>
                  <a:close/>
                  <a:moveTo>
                    <a:pt x="230" y="687"/>
                  </a:moveTo>
                  <a:lnTo>
                    <a:pt x="232" y="687"/>
                  </a:lnTo>
                  <a:lnTo>
                    <a:pt x="232" y="689"/>
                  </a:lnTo>
                  <a:lnTo>
                    <a:pt x="230" y="689"/>
                  </a:lnTo>
                  <a:lnTo>
                    <a:pt x="230" y="687"/>
                  </a:lnTo>
                  <a:close/>
                  <a:moveTo>
                    <a:pt x="530" y="707"/>
                  </a:moveTo>
                  <a:lnTo>
                    <a:pt x="532" y="707"/>
                  </a:lnTo>
                  <a:lnTo>
                    <a:pt x="532" y="709"/>
                  </a:lnTo>
                  <a:lnTo>
                    <a:pt x="530" y="709"/>
                  </a:lnTo>
                  <a:lnTo>
                    <a:pt x="530" y="707"/>
                  </a:lnTo>
                  <a:lnTo>
                    <a:pt x="530" y="709"/>
                  </a:lnTo>
                  <a:lnTo>
                    <a:pt x="530" y="707"/>
                  </a:lnTo>
                  <a:lnTo>
                    <a:pt x="528" y="707"/>
                  </a:lnTo>
                  <a:lnTo>
                    <a:pt x="526" y="705"/>
                  </a:lnTo>
                  <a:lnTo>
                    <a:pt x="528" y="705"/>
                  </a:lnTo>
                  <a:lnTo>
                    <a:pt x="530" y="707"/>
                  </a:lnTo>
                  <a:close/>
                  <a:moveTo>
                    <a:pt x="520" y="705"/>
                  </a:moveTo>
                  <a:lnTo>
                    <a:pt x="518" y="705"/>
                  </a:lnTo>
                  <a:lnTo>
                    <a:pt x="516" y="705"/>
                  </a:lnTo>
                  <a:lnTo>
                    <a:pt x="518" y="703"/>
                  </a:lnTo>
                  <a:lnTo>
                    <a:pt x="518" y="705"/>
                  </a:lnTo>
                  <a:lnTo>
                    <a:pt x="520" y="705"/>
                  </a:lnTo>
                  <a:close/>
                  <a:moveTo>
                    <a:pt x="562" y="666"/>
                  </a:moveTo>
                  <a:lnTo>
                    <a:pt x="562" y="668"/>
                  </a:lnTo>
                  <a:lnTo>
                    <a:pt x="564" y="668"/>
                  </a:lnTo>
                  <a:lnTo>
                    <a:pt x="562" y="668"/>
                  </a:lnTo>
                  <a:lnTo>
                    <a:pt x="560" y="668"/>
                  </a:lnTo>
                  <a:lnTo>
                    <a:pt x="560" y="666"/>
                  </a:lnTo>
                  <a:lnTo>
                    <a:pt x="562" y="666"/>
                  </a:lnTo>
                  <a:close/>
                  <a:moveTo>
                    <a:pt x="558" y="668"/>
                  </a:moveTo>
                  <a:lnTo>
                    <a:pt x="560" y="668"/>
                  </a:lnTo>
                  <a:lnTo>
                    <a:pt x="560" y="670"/>
                  </a:lnTo>
                  <a:lnTo>
                    <a:pt x="562" y="670"/>
                  </a:lnTo>
                  <a:lnTo>
                    <a:pt x="564" y="670"/>
                  </a:lnTo>
                  <a:lnTo>
                    <a:pt x="566" y="670"/>
                  </a:lnTo>
                  <a:lnTo>
                    <a:pt x="566" y="668"/>
                  </a:lnTo>
                  <a:lnTo>
                    <a:pt x="566" y="670"/>
                  </a:lnTo>
                  <a:lnTo>
                    <a:pt x="564" y="670"/>
                  </a:lnTo>
                  <a:lnTo>
                    <a:pt x="562" y="670"/>
                  </a:lnTo>
                  <a:lnTo>
                    <a:pt x="560" y="670"/>
                  </a:lnTo>
                  <a:lnTo>
                    <a:pt x="558" y="670"/>
                  </a:lnTo>
                  <a:lnTo>
                    <a:pt x="558" y="668"/>
                  </a:lnTo>
                  <a:lnTo>
                    <a:pt x="558" y="666"/>
                  </a:lnTo>
                  <a:lnTo>
                    <a:pt x="558" y="668"/>
                  </a:lnTo>
                  <a:close/>
                  <a:moveTo>
                    <a:pt x="587" y="666"/>
                  </a:moveTo>
                  <a:lnTo>
                    <a:pt x="587" y="668"/>
                  </a:lnTo>
                  <a:lnTo>
                    <a:pt x="585" y="668"/>
                  </a:lnTo>
                  <a:lnTo>
                    <a:pt x="583" y="668"/>
                  </a:lnTo>
                  <a:lnTo>
                    <a:pt x="585" y="668"/>
                  </a:lnTo>
                  <a:lnTo>
                    <a:pt x="585" y="666"/>
                  </a:lnTo>
                  <a:lnTo>
                    <a:pt x="587" y="666"/>
                  </a:lnTo>
                  <a:lnTo>
                    <a:pt x="589" y="666"/>
                  </a:lnTo>
                  <a:lnTo>
                    <a:pt x="587" y="666"/>
                  </a:lnTo>
                  <a:close/>
                  <a:moveTo>
                    <a:pt x="572" y="664"/>
                  </a:moveTo>
                  <a:lnTo>
                    <a:pt x="572" y="666"/>
                  </a:lnTo>
                  <a:lnTo>
                    <a:pt x="574" y="666"/>
                  </a:lnTo>
                  <a:lnTo>
                    <a:pt x="576" y="672"/>
                  </a:lnTo>
                  <a:lnTo>
                    <a:pt x="574" y="666"/>
                  </a:lnTo>
                  <a:lnTo>
                    <a:pt x="572" y="666"/>
                  </a:lnTo>
                  <a:lnTo>
                    <a:pt x="572" y="664"/>
                  </a:lnTo>
                  <a:lnTo>
                    <a:pt x="570" y="666"/>
                  </a:lnTo>
                  <a:lnTo>
                    <a:pt x="568" y="668"/>
                  </a:lnTo>
                  <a:lnTo>
                    <a:pt x="566" y="668"/>
                  </a:lnTo>
                  <a:lnTo>
                    <a:pt x="568" y="668"/>
                  </a:lnTo>
                  <a:lnTo>
                    <a:pt x="568" y="666"/>
                  </a:lnTo>
                  <a:lnTo>
                    <a:pt x="566" y="666"/>
                  </a:lnTo>
                  <a:lnTo>
                    <a:pt x="564" y="666"/>
                  </a:lnTo>
                  <a:lnTo>
                    <a:pt x="562" y="666"/>
                  </a:lnTo>
                  <a:lnTo>
                    <a:pt x="560" y="666"/>
                  </a:lnTo>
                  <a:lnTo>
                    <a:pt x="560" y="664"/>
                  </a:lnTo>
                  <a:lnTo>
                    <a:pt x="562" y="664"/>
                  </a:lnTo>
                  <a:lnTo>
                    <a:pt x="564" y="664"/>
                  </a:lnTo>
                  <a:lnTo>
                    <a:pt x="568" y="664"/>
                  </a:lnTo>
                  <a:lnTo>
                    <a:pt x="572" y="664"/>
                  </a:lnTo>
                  <a:close/>
                  <a:moveTo>
                    <a:pt x="537" y="662"/>
                  </a:moveTo>
                  <a:lnTo>
                    <a:pt x="537" y="664"/>
                  </a:lnTo>
                  <a:lnTo>
                    <a:pt x="535" y="664"/>
                  </a:lnTo>
                  <a:lnTo>
                    <a:pt x="537" y="664"/>
                  </a:lnTo>
                  <a:lnTo>
                    <a:pt x="535" y="664"/>
                  </a:lnTo>
                  <a:lnTo>
                    <a:pt x="535" y="662"/>
                  </a:lnTo>
                  <a:lnTo>
                    <a:pt x="537" y="662"/>
                  </a:lnTo>
                  <a:close/>
                  <a:moveTo>
                    <a:pt x="581" y="662"/>
                  </a:moveTo>
                  <a:lnTo>
                    <a:pt x="581" y="664"/>
                  </a:lnTo>
                  <a:lnTo>
                    <a:pt x="580" y="664"/>
                  </a:lnTo>
                  <a:lnTo>
                    <a:pt x="580" y="662"/>
                  </a:lnTo>
                  <a:lnTo>
                    <a:pt x="580" y="664"/>
                  </a:lnTo>
                  <a:lnTo>
                    <a:pt x="578" y="662"/>
                  </a:lnTo>
                  <a:lnTo>
                    <a:pt x="581" y="660"/>
                  </a:lnTo>
                  <a:lnTo>
                    <a:pt x="581" y="662"/>
                  </a:lnTo>
                  <a:close/>
                  <a:moveTo>
                    <a:pt x="599" y="651"/>
                  </a:moveTo>
                  <a:lnTo>
                    <a:pt x="599" y="653"/>
                  </a:lnTo>
                  <a:lnTo>
                    <a:pt x="599" y="655"/>
                  </a:lnTo>
                  <a:lnTo>
                    <a:pt x="597" y="655"/>
                  </a:lnTo>
                  <a:lnTo>
                    <a:pt x="595" y="655"/>
                  </a:lnTo>
                  <a:lnTo>
                    <a:pt x="597" y="653"/>
                  </a:lnTo>
                  <a:lnTo>
                    <a:pt x="599" y="651"/>
                  </a:lnTo>
                  <a:close/>
                  <a:moveTo>
                    <a:pt x="601" y="645"/>
                  </a:moveTo>
                  <a:lnTo>
                    <a:pt x="601" y="647"/>
                  </a:lnTo>
                  <a:lnTo>
                    <a:pt x="601" y="645"/>
                  </a:lnTo>
                  <a:close/>
                  <a:moveTo>
                    <a:pt x="645" y="628"/>
                  </a:moveTo>
                  <a:lnTo>
                    <a:pt x="645" y="630"/>
                  </a:lnTo>
                  <a:lnTo>
                    <a:pt x="647" y="630"/>
                  </a:lnTo>
                  <a:lnTo>
                    <a:pt x="645" y="630"/>
                  </a:lnTo>
                  <a:lnTo>
                    <a:pt x="645" y="632"/>
                  </a:lnTo>
                  <a:lnTo>
                    <a:pt x="649" y="630"/>
                  </a:lnTo>
                  <a:lnTo>
                    <a:pt x="647" y="630"/>
                  </a:lnTo>
                  <a:lnTo>
                    <a:pt x="647" y="628"/>
                  </a:lnTo>
                  <a:lnTo>
                    <a:pt x="649" y="628"/>
                  </a:lnTo>
                  <a:lnTo>
                    <a:pt x="649" y="630"/>
                  </a:lnTo>
                  <a:lnTo>
                    <a:pt x="649" y="632"/>
                  </a:lnTo>
                  <a:lnTo>
                    <a:pt x="647" y="632"/>
                  </a:lnTo>
                  <a:lnTo>
                    <a:pt x="645" y="632"/>
                  </a:lnTo>
                  <a:lnTo>
                    <a:pt x="645" y="630"/>
                  </a:lnTo>
                  <a:lnTo>
                    <a:pt x="645" y="628"/>
                  </a:lnTo>
                  <a:close/>
                  <a:moveTo>
                    <a:pt x="687" y="618"/>
                  </a:moveTo>
                  <a:lnTo>
                    <a:pt x="687" y="620"/>
                  </a:lnTo>
                  <a:lnTo>
                    <a:pt x="687" y="622"/>
                  </a:lnTo>
                  <a:lnTo>
                    <a:pt x="687" y="620"/>
                  </a:lnTo>
                  <a:lnTo>
                    <a:pt x="687" y="618"/>
                  </a:lnTo>
                  <a:close/>
                  <a:moveTo>
                    <a:pt x="672" y="609"/>
                  </a:moveTo>
                  <a:lnTo>
                    <a:pt x="674" y="609"/>
                  </a:lnTo>
                  <a:lnTo>
                    <a:pt x="676" y="611"/>
                  </a:lnTo>
                  <a:lnTo>
                    <a:pt x="674" y="611"/>
                  </a:lnTo>
                  <a:lnTo>
                    <a:pt x="672" y="611"/>
                  </a:lnTo>
                  <a:lnTo>
                    <a:pt x="672" y="609"/>
                  </a:lnTo>
                  <a:close/>
                  <a:moveTo>
                    <a:pt x="681" y="607"/>
                  </a:moveTo>
                  <a:lnTo>
                    <a:pt x="681" y="609"/>
                  </a:lnTo>
                  <a:lnTo>
                    <a:pt x="683" y="609"/>
                  </a:lnTo>
                  <a:lnTo>
                    <a:pt x="683" y="607"/>
                  </a:lnTo>
                  <a:lnTo>
                    <a:pt x="681" y="607"/>
                  </a:lnTo>
                  <a:lnTo>
                    <a:pt x="683" y="607"/>
                  </a:lnTo>
                  <a:lnTo>
                    <a:pt x="683" y="609"/>
                  </a:lnTo>
                  <a:lnTo>
                    <a:pt x="683" y="611"/>
                  </a:lnTo>
                  <a:lnTo>
                    <a:pt x="681" y="609"/>
                  </a:lnTo>
                  <a:lnTo>
                    <a:pt x="679" y="609"/>
                  </a:lnTo>
                  <a:lnTo>
                    <a:pt x="681" y="609"/>
                  </a:lnTo>
                  <a:lnTo>
                    <a:pt x="681" y="607"/>
                  </a:lnTo>
                  <a:close/>
                  <a:moveTo>
                    <a:pt x="693" y="607"/>
                  </a:moveTo>
                  <a:lnTo>
                    <a:pt x="693" y="609"/>
                  </a:lnTo>
                  <a:lnTo>
                    <a:pt x="689" y="609"/>
                  </a:lnTo>
                  <a:lnTo>
                    <a:pt x="687" y="607"/>
                  </a:lnTo>
                  <a:lnTo>
                    <a:pt x="689" y="607"/>
                  </a:lnTo>
                  <a:lnTo>
                    <a:pt x="691" y="607"/>
                  </a:lnTo>
                  <a:lnTo>
                    <a:pt x="693" y="607"/>
                  </a:lnTo>
                  <a:close/>
                  <a:moveTo>
                    <a:pt x="764" y="551"/>
                  </a:moveTo>
                  <a:lnTo>
                    <a:pt x="766" y="551"/>
                  </a:lnTo>
                  <a:lnTo>
                    <a:pt x="766" y="553"/>
                  </a:lnTo>
                  <a:lnTo>
                    <a:pt x="764" y="553"/>
                  </a:lnTo>
                  <a:lnTo>
                    <a:pt x="764" y="551"/>
                  </a:lnTo>
                  <a:close/>
                  <a:moveTo>
                    <a:pt x="347" y="505"/>
                  </a:moveTo>
                  <a:lnTo>
                    <a:pt x="347" y="503"/>
                  </a:lnTo>
                  <a:lnTo>
                    <a:pt x="355" y="499"/>
                  </a:lnTo>
                  <a:lnTo>
                    <a:pt x="357" y="499"/>
                  </a:lnTo>
                  <a:lnTo>
                    <a:pt x="355" y="499"/>
                  </a:lnTo>
                  <a:lnTo>
                    <a:pt x="349" y="501"/>
                  </a:lnTo>
                  <a:lnTo>
                    <a:pt x="347" y="503"/>
                  </a:lnTo>
                  <a:lnTo>
                    <a:pt x="347" y="505"/>
                  </a:lnTo>
                  <a:close/>
                  <a:moveTo>
                    <a:pt x="785" y="503"/>
                  </a:moveTo>
                  <a:lnTo>
                    <a:pt x="785" y="505"/>
                  </a:lnTo>
                  <a:lnTo>
                    <a:pt x="785" y="507"/>
                  </a:lnTo>
                  <a:lnTo>
                    <a:pt x="785" y="509"/>
                  </a:lnTo>
                  <a:lnTo>
                    <a:pt x="785" y="511"/>
                  </a:lnTo>
                  <a:lnTo>
                    <a:pt x="783" y="511"/>
                  </a:lnTo>
                  <a:lnTo>
                    <a:pt x="783" y="513"/>
                  </a:lnTo>
                  <a:lnTo>
                    <a:pt x="783" y="511"/>
                  </a:lnTo>
                  <a:lnTo>
                    <a:pt x="781" y="511"/>
                  </a:lnTo>
                  <a:lnTo>
                    <a:pt x="781" y="509"/>
                  </a:lnTo>
                  <a:lnTo>
                    <a:pt x="783" y="509"/>
                  </a:lnTo>
                  <a:lnTo>
                    <a:pt x="783" y="507"/>
                  </a:lnTo>
                  <a:lnTo>
                    <a:pt x="783" y="505"/>
                  </a:lnTo>
                  <a:lnTo>
                    <a:pt x="785" y="505"/>
                  </a:lnTo>
                  <a:lnTo>
                    <a:pt x="783" y="505"/>
                  </a:lnTo>
                  <a:lnTo>
                    <a:pt x="785" y="505"/>
                  </a:lnTo>
                  <a:lnTo>
                    <a:pt x="785" y="503"/>
                  </a:lnTo>
                  <a:lnTo>
                    <a:pt x="785" y="505"/>
                  </a:lnTo>
                  <a:lnTo>
                    <a:pt x="785" y="503"/>
                  </a:lnTo>
                  <a:close/>
                  <a:moveTo>
                    <a:pt x="795" y="482"/>
                  </a:moveTo>
                  <a:lnTo>
                    <a:pt x="796" y="482"/>
                  </a:lnTo>
                  <a:lnTo>
                    <a:pt x="796" y="484"/>
                  </a:lnTo>
                  <a:lnTo>
                    <a:pt x="796" y="486"/>
                  </a:lnTo>
                  <a:lnTo>
                    <a:pt x="795" y="486"/>
                  </a:lnTo>
                  <a:lnTo>
                    <a:pt x="795" y="484"/>
                  </a:lnTo>
                  <a:lnTo>
                    <a:pt x="795" y="482"/>
                  </a:lnTo>
                  <a:lnTo>
                    <a:pt x="796" y="482"/>
                  </a:lnTo>
                  <a:lnTo>
                    <a:pt x="795" y="482"/>
                  </a:lnTo>
                  <a:close/>
                  <a:moveTo>
                    <a:pt x="424" y="451"/>
                  </a:moveTo>
                  <a:lnTo>
                    <a:pt x="418" y="457"/>
                  </a:lnTo>
                  <a:lnTo>
                    <a:pt x="414" y="459"/>
                  </a:lnTo>
                  <a:lnTo>
                    <a:pt x="413" y="461"/>
                  </a:lnTo>
                  <a:lnTo>
                    <a:pt x="403" y="470"/>
                  </a:lnTo>
                  <a:lnTo>
                    <a:pt x="403" y="468"/>
                  </a:lnTo>
                  <a:lnTo>
                    <a:pt x="413" y="461"/>
                  </a:lnTo>
                  <a:lnTo>
                    <a:pt x="420" y="455"/>
                  </a:lnTo>
                  <a:lnTo>
                    <a:pt x="424" y="451"/>
                  </a:lnTo>
                  <a:lnTo>
                    <a:pt x="426" y="449"/>
                  </a:lnTo>
                  <a:lnTo>
                    <a:pt x="430" y="449"/>
                  </a:lnTo>
                  <a:lnTo>
                    <a:pt x="426" y="449"/>
                  </a:lnTo>
                  <a:lnTo>
                    <a:pt x="424" y="451"/>
                  </a:lnTo>
                  <a:close/>
                  <a:moveTo>
                    <a:pt x="428" y="443"/>
                  </a:moveTo>
                  <a:lnTo>
                    <a:pt x="432" y="445"/>
                  </a:lnTo>
                  <a:lnTo>
                    <a:pt x="428" y="443"/>
                  </a:lnTo>
                  <a:lnTo>
                    <a:pt x="428" y="445"/>
                  </a:lnTo>
                  <a:lnTo>
                    <a:pt x="428" y="447"/>
                  </a:lnTo>
                  <a:lnTo>
                    <a:pt x="424" y="447"/>
                  </a:lnTo>
                  <a:lnTo>
                    <a:pt x="428" y="445"/>
                  </a:lnTo>
                  <a:lnTo>
                    <a:pt x="432" y="438"/>
                  </a:lnTo>
                  <a:lnTo>
                    <a:pt x="432" y="436"/>
                  </a:lnTo>
                  <a:lnTo>
                    <a:pt x="432" y="438"/>
                  </a:lnTo>
                  <a:lnTo>
                    <a:pt x="428" y="443"/>
                  </a:lnTo>
                  <a:close/>
                  <a:moveTo>
                    <a:pt x="802" y="451"/>
                  </a:moveTo>
                  <a:lnTo>
                    <a:pt x="802" y="453"/>
                  </a:lnTo>
                  <a:lnTo>
                    <a:pt x="804" y="453"/>
                  </a:lnTo>
                  <a:lnTo>
                    <a:pt x="802" y="455"/>
                  </a:lnTo>
                  <a:lnTo>
                    <a:pt x="802" y="457"/>
                  </a:lnTo>
                  <a:lnTo>
                    <a:pt x="800" y="457"/>
                  </a:lnTo>
                  <a:lnTo>
                    <a:pt x="800" y="459"/>
                  </a:lnTo>
                  <a:lnTo>
                    <a:pt x="800" y="457"/>
                  </a:lnTo>
                  <a:lnTo>
                    <a:pt x="800" y="455"/>
                  </a:lnTo>
                  <a:lnTo>
                    <a:pt x="800" y="453"/>
                  </a:lnTo>
                  <a:lnTo>
                    <a:pt x="800" y="451"/>
                  </a:lnTo>
                  <a:lnTo>
                    <a:pt x="800" y="453"/>
                  </a:lnTo>
                  <a:lnTo>
                    <a:pt x="800" y="451"/>
                  </a:lnTo>
                  <a:lnTo>
                    <a:pt x="802" y="451"/>
                  </a:lnTo>
                  <a:close/>
                  <a:moveTo>
                    <a:pt x="785" y="392"/>
                  </a:moveTo>
                  <a:lnTo>
                    <a:pt x="787" y="392"/>
                  </a:lnTo>
                  <a:lnTo>
                    <a:pt x="787" y="395"/>
                  </a:lnTo>
                  <a:lnTo>
                    <a:pt x="785" y="395"/>
                  </a:lnTo>
                  <a:lnTo>
                    <a:pt x="785" y="392"/>
                  </a:lnTo>
                  <a:close/>
                  <a:moveTo>
                    <a:pt x="781" y="390"/>
                  </a:moveTo>
                  <a:lnTo>
                    <a:pt x="783" y="390"/>
                  </a:lnTo>
                  <a:lnTo>
                    <a:pt x="783" y="393"/>
                  </a:lnTo>
                  <a:lnTo>
                    <a:pt x="781" y="393"/>
                  </a:lnTo>
                  <a:lnTo>
                    <a:pt x="781" y="390"/>
                  </a:lnTo>
                  <a:close/>
                  <a:moveTo>
                    <a:pt x="779" y="378"/>
                  </a:moveTo>
                  <a:lnTo>
                    <a:pt x="779" y="380"/>
                  </a:lnTo>
                  <a:lnTo>
                    <a:pt x="779" y="382"/>
                  </a:lnTo>
                  <a:lnTo>
                    <a:pt x="777" y="382"/>
                  </a:lnTo>
                  <a:lnTo>
                    <a:pt x="777" y="384"/>
                  </a:lnTo>
                  <a:lnTo>
                    <a:pt x="777" y="386"/>
                  </a:lnTo>
                  <a:lnTo>
                    <a:pt x="779" y="386"/>
                  </a:lnTo>
                  <a:lnTo>
                    <a:pt x="781" y="386"/>
                  </a:lnTo>
                  <a:lnTo>
                    <a:pt x="783" y="386"/>
                  </a:lnTo>
                  <a:lnTo>
                    <a:pt x="783" y="384"/>
                  </a:lnTo>
                  <a:lnTo>
                    <a:pt x="785" y="384"/>
                  </a:lnTo>
                  <a:lnTo>
                    <a:pt x="783" y="386"/>
                  </a:lnTo>
                  <a:lnTo>
                    <a:pt x="783" y="388"/>
                  </a:lnTo>
                  <a:lnTo>
                    <a:pt x="781" y="388"/>
                  </a:lnTo>
                  <a:lnTo>
                    <a:pt x="779" y="386"/>
                  </a:lnTo>
                  <a:lnTo>
                    <a:pt x="777" y="386"/>
                  </a:lnTo>
                  <a:lnTo>
                    <a:pt x="777" y="384"/>
                  </a:lnTo>
                  <a:lnTo>
                    <a:pt x="777" y="382"/>
                  </a:lnTo>
                  <a:lnTo>
                    <a:pt x="779" y="380"/>
                  </a:lnTo>
                  <a:lnTo>
                    <a:pt x="777" y="380"/>
                  </a:lnTo>
                  <a:lnTo>
                    <a:pt x="777" y="378"/>
                  </a:lnTo>
                  <a:lnTo>
                    <a:pt x="779" y="378"/>
                  </a:lnTo>
                  <a:close/>
                  <a:moveTo>
                    <a:pt x="777" y="376"/>
                  </a:moveTo>
                  <a:lnTo>
                    <a:pt x="777" y="378"/>
                  </a:lnTo>
                  <a:lnTo>
                    <a:pt x="777" y="380"/>
                  </a:lnTo>
                  <a:lnTo>
                    <a:pt x="777" y="382"/>
                  </a:lnTo>
                  <a:lnTo>
                    <a:pt x="775" y="382"/>
                  </a:lnTo>
                  <a:lnTo>
                    <a:pt x="775" y="384"/>
                  </a:lnTo>
                  <a:lnTo>
                    <a:pt x="773" y="384"/>
                  </a:lnTo>
                  <a:lnTo>
                    <a:pt x="773" y="382"/>
                  </a:lnTo>
                  <a:lnTo>
                    <a:pt x="773" y="380"/>
                  </a:lnTo>
                  <a:lnTo>
                    <a:pt x="773" y="382"/>
                  </a:lnTo>
                  <a:lnTo>
                    <a:pt x="775" y="382"/>
                  </a:lnTo>
                  <a:lnTo>
                    <a:pt x="777" y="380"/>
                  </a:lnTo>
                  <a:lnTo>
                    <a:pt x="777" y="378"/>
                  </a:lnTo>
                  <a:lnTo>
                    <a:pt x="777" y="376"/>
                  </a:lnTo>
                  <a:close/>
                  <a:moveTo>
                    <a:pt x="520" y="361"/>
                  </a:moveTo>
                  <a:lnTo>
                    <a:pt x="522" y="361"/>
                  </a:lnTo>
                  <a:lnTo>
                    <a:pt x="522" y="359"/>
                  </a:lnTo>
                  <a:lnTo>
                    <a:pt x="522" y="361"/>
                  </a:lnTo>
                  <a:lnTo>
                    <a:pt x="522" y="359"/>
                  </a:lnTo>
                  <a:lnTo>
                    <a:pt x="524" y="359"/>
                  </a:lnTo>
                  <a:lnTo>
                    <a:pt x="528" y="361"/>
                  </a:lnTo>
                  <a:lnTo>
                    <a:pt x="528" y="363"/>
                  </a:lnTo>
                  <a:lnTo>
                    <a:pt x="526" y="363"/>
                  </a:lnTo>
                  <a:lnTo>
                    <a:pt x="528" y="363"/>
                  </a:lnTo>
                  <a:lnTo>
                    <a:pt x="526" y="363"/>
                  </a:lnTo>
                  <a:lnTo>
                    <a:pt x="526" y="365"/>
                  </a:lnTo>
                  <a:lnTo>
                    <a:pt x="526" y="363"/>
                  </a:lnTo>
                  <a:lnTo>
                    <a:pt x="524" y="365"/>
                  </a:lnTo>
                  <a:lnTo>
                    <a:pt x="520" y="361"/>
                  </a:lnTo>
                  <a:lnTo>
                    <a:pt x="520" y="359"/>
                  </a:lnTo>
                  <a:lnTo>
                    <a:pt x="524" y="357"/>
                  </a:lnTo>
                  <a:lnTo>
                    <a:pt x="522" y="357"/>
                  </a:lnTo>
                  <a:lnTo>
                    <a:pt x="522" y="359"/>
                  </a:lnTo>
                  <a:lnTo>
                    <a:pt x="520" y="361"/>
                  </a:lnTo>
                  <a:close/>
                  <a:moveTo>
                    <a:pt x="768" y="372"/>
                  </a:moveTo>
                  <a:lnTo>
                    <a:pt x="770" y="372"/>
                  </a:lnTo>
                  <a:lnTo>
                    <a:pt x="768" y="372"/>
                  </a:lnTo>
                  <a:lnTo>
                    <a:pt x="768" y="374"/>
                  </a:lnTo>
                  <a:lnTo>
                    <a:pt x="770" y="374"/>
                  </a:lnTo>
                  <a:lnTo>
                    <a:pt x="770" y="376"/>
                  </a:lnTo>
                  <a:lnTo>
                    <a:pt x="771" y="376"/>
                  </a:lnTo>
                  <a:lnTo>
                    <a:pt x="771" y="378"/>
                  </a:lnTo>
                  <a:lnTo>
                    <a:pt x="773" y="378"/>
                  </a:lnTo>
                  <a:lnTo>
                    <a:pt x="773" y="380"/>
                  </a:lnTo>
                  <a:lnTo>
                    <a:pt x="770" y="376"/>
                  </a:lnTo>
                  <a:lnTo>
                    <a:pt x="768" y="374"/>
                  </a:lnTo>
                  <a:lnTo>
                    <a:pt x="768" y="372"/>
                  </a:lnTo>
                  <a:lnTo>
                    <a:pt x="766" y="372"/>
                  </a:lnTo>
                  <a:lnTo>
                    <a:pt x="766" y="370"/>
                  </a:lnTo>
                  <a:lnTo>
                    <a:pt x="768" y="370"/>
                  </a:lnTo>
                  <a:lnTo>
                    <a:pt x="768" y="372"/>
                  </a:lnTo>
                  <a:close/>
                  <a:moveTo>
                    <a:pt x="779" y="357"/>
                  </a:moveTo>
                  <a:lnTo>
                    <a:pt x="781" y="357"/>
                  </a:lnTo>
                  <a:lnTo>
                    <a:pt x="781" y="359"/>
                  </a:lnTo>
                  <a:lnTo>
                    <a:pt x="779" y="359"/>
                  </a:lnTo>
                  <a:lnTo>
                    <a:pt x="779" y="357"/>
                  </a:lnTo>
                  <a:close/>
                  <a:moveTo>
                    <a:pt x="752" y="355"/>
                  </a:moveTo>
                  <a:lnTo>
                    <a:pt x="752" y="357"/>
                  </a:lnTo>
                  <a:lnTo>
                    <a:pt x="754" y="357"/>
                  </a:lnTo>
                  <a:lnTo>
                    <a:pt x="752" y="357"/>
                  </a:lnTo>
                  <a:lnTo>
                    <a:pt x="750" y="357"/>
                  </a:lnTo>
                  <a:lnTo>
                    <a:pt x="750" y="355"/>
                  </a:lnTo>
                  <a:lnTo>
                    <a:pt x="748" y="355"/>
                  </a:lnTo>
                  <a:lnTo>
                    <a:pt x="747" y="355"/>
                  </a:lnTo>
                  <a:lnTo>
                    <a:pt x="747" y="353"/>
                  </a:lnTo>
                  <a:lnTo>
                    <a:pt x="747" y="355"/>
                  </a:lnTo>
                  <a:lnTo>
                    <a:pt x="745" y="355"/>
                  </a:lnTo>
                  <a:lnTo>
                    <a:pt x="745" y="357"/>
                  </a:lnTo>
                  <a:lnTo>
                    <a:pt x="747" y="357"/>
                  </a:lnTo>
                  <a:lnTo>
                    <a:pt x="747" y="359"/>
                  </a:lnTo>
                  <a:lnTo>
                    <a:pt x="747" y="361"/>
                  </a:lnTo>
                  <a:lnTo>
                    <a:pt x="748" y="361"/>
                  </a:lnTo>
                  <a:lnTo>
                    <a:pt x="747" y="361"/>
                  </a:lnTo>
                  <a:lnTo>
                    <a:pt x="745" y="359"/>
                  </a:lnTo>
                  <a:lnTo>
                    <a:pt x="745" y="357"/>
                  </a:lnTo>
                  <a:lnTo>
                    <a:pt x="743" y="355"/>
                  </a:lnTo>
                  <a:lnTo>
                    <a:pt x="743" y="353"/>
                  </a:lnTo>
                  <a:lnTo>
                    <a:pt x="745" y="353"/>
                  </a:lnTo>
                  <a:lnTo>
                    <a:pt x="747" y="353"/>
                  </a:lnTo>
                  <a:lnTo>
                    <a:pt x="747" y="355"/>
                  </a:lnTo>
                  <a:lnTo>
                    <a:pt x="748" y="355"/>
                  </a:lnTo>
                  <a:lnTo>
                    <a:pt x="750" y="353"/>
                  </a:lnTo>
                  <a:lnTo>
                    <a:pt x="752" y="355"/>
                  </a:lnTo>
                  <a:close/>
                  <a:moveTo>
                    <a:pt x="714" y="351"/>
                  </a:moveTo>
                  <a:lnTo>
                    <a:pt x="714" y="349"/>
                  </a:lnTo>
                  <a:lnTo>
                    <a:pt x="714" y="351"/>
                  </a:lnTo>
                  <a:lnTo>
                    <a:pt x="714" y="349"/>
                  </a:lnTo>
                  <a:lnTo>
                    <a:pt x="714" y="351"/>
                  </a:lnTo>
                  <a:lnTo>
                    <a:pt x="714" y="353"/>
                  </a:lnTo>
                  <a:lnTo>
                    <a:pt x="714" y="357"/>
                  </a:lnTo>
                  <a:lnTo>
                    <a:pt x="712" y="357"/>
                  </a:lnTo>
                  <a:lnTo>
                    <a:pt x="712" y="355"/>
                  </a:lnTo>
                  <a:lnTo>
                    <a:pt x="712" y="353"/>
                  </a:lnTo>
                  <a:lnTo>
                    <a:pt x="712" y="351"/>
                  </a:lnTo>
                  <a:lnTo>
                    <a:pt x="712" y="349"/>
                  </a:lnTo>
                  <a:lnTo>
                    <a:pt x="714" y="349"/>
                  </a:lnTo>
                  <a:lnTo>
                    <a:pt x="714" y="351"/>
                  </a:lnTo>
                  <a:close/>
                  <a:moveTo>
                    <a:pt x="718" y="347"/>
                  </a:moveTo>
                  <a:lnTo>
                    <a:pt x="718" y="349"/>
                  </a:lnTo>
                  <a:lnTo>
                    <a:pt x="720" y="349"/>
                  </a:lnTo>
                  <a:lnTo>
                    <a:pt x="720" y="347"/>
                  </a:lnTo>
                  <a:lnTo>
                    <a:pt x="720" y="349"/>
                  </a:lnTo>
                  <a:lnTo>
                    <a:pt x="720" y="351"/>
                  </a:lnTo>
                  <a:lnTo>
                    <a:pt x="720" y="353"/>
                  </a:lnTo>
                  <a:lnTo>
                    <a:pt x="720" y="355"/>
                  </a:lnTo>
                  <a:lnTo>
                    <a:pt x="720" y="357"/>
                  </a:lnTo>
                  <a:lnTo>
                    <a:pt x="718" y="357"/>
                  </a:lnTo>
                  <a:lnTo>
                    <a:pt x="716" y="357"/>
                  </a:lnTo>
                  <a:lnTo>
                    <a:pt x="718" y="357"/>
                  </a:lnTo>
                  <a:lnTo>
                    <a:pt x="716" y="357"/>
                  </a:lnTo>
                  <a:lnTo>
                    <a:pt x="716" y="355"/>
                  </a:lnTo>
                  <a:lnTo>
                    <a:pt x="714" y="355"/>
                  </a:lnTo>
                  <a:lnTo>
                    <a:pt x="714" y="351"/>
                  </a:lnTo>
                  <a:lnTo>
                    <a:pt x="716" y="351"/>
                  </a:lnTo>
                  <a:lnTo>
                    <a:pt x="716" y="349"/>
                  </a:lnTo>
                  <a:lnTo>
                    <a:pt x="716" y="347"/>
                  </a:lnTo>
                  <a:lnTo>
                    <a:pt x="718" y="347"/>
                  </a:lnTo>
                  <a:lnTo>
                    <a:pt x="716" y="347"/>
                  </a:lnTo>
                  <a:lnTo>
                    <a:pt x="718" y="347"/>
                  </a:lnTo>
                  <a:lnTo>
                    <a:pt x="718" y="345"/>
                  </a:lnTo>
                  <a:lnTo>
                    <a:pt x="720" y="347"/>
                  </a:lnTo>
                  <a:lnTo>
                    <a:pt x="718" y="347"/>
                  </a:lnTo>
                  <a:close/>
                  <a:moveTo>
                    <a:pt x="760" y="349"/>
                  </a:moveTo>
                  <a:lnTo>
                    <a:pt x="762" y="351"/>
                  </a:lnTo>
                  <a:lnTo>
                    <a:pt x="762" y="353"/>
                  </a:lnTo>
                  <a:lnTo>
                    <a:pt x="764" y="353"/>
                  </a:lnTo>
                  <a:lnTo>
                    <a:pt x="762" y="353"/>
                  </a:lnTo>
                  <a:lnTo>
                    <a:pt x="762" y="351"/>
                  </a:lnTo>
                  <a:lnTo>
                    <a:pt x="760" y="351"/>
                  </a:lnTo>
                  <a:lnTo>
                    <a:pt x="762" y="351"/>
                  </a:lnTo>
                  <a:lnTo>
                    <a:pt x="762" y="353"/>
                  </a:lnTo>
                  <a:lnTo>
                    <a:pt x="760" y="353"/>
                  </a:lnTo>
                  <a:lnTo>
                    <a:pt x="760" y="351"/>
                  </a:lnTo>
                  <a:lnTo>
                    <a:pt x="758" y="351"/>
                  </a:lnTo>
                  <a:lnTo>
                    <a:pt x="758" y="349"/>
                  </a:lnTo>
                  <a:lnTo>
                    <a:pt x="758" y="351"/>
                  </a:lnTo>
                  <a:lnTo>
                    <a:pt x="758" y="353"/>
                  </a:lnTo>
                  <a:lnTo>
                    <a:pt x="756" y="353"/>
                  </a:lnTo>
                  <a:lnTo>
                    <a:pt x="758" y="355"/>
                  </a:lnTo>
                  <a:lnTo>
                    <a:pt x="760" y="355"/>
                  </a:lnTo>
                  <a:lnTo>
                    <a:pt x="760" y="353"/>
                  </a:lnTo>
                  <a:lnTo>
                    <a:pt x="762" y="353"/>
                  </a:lnTo>
                  <a:lnTo>
                    <a:pt x="762" y="355"/>
                  </a:lnTo>
                  <a:lnTo>
                    <a:pt x="760" y="357"/>
                  </a:lnTo>
                  <a:lnTo>
                    <a:pt x="762" y="357"/>
                  </a:lnTo>
                  <a:lnTo>
                    <a:pt x="764" y="357"/>
                  </a:lnTo>
                  <a:lnTo>
                    <a:pt x="766" y="353"/>
                  </a:lnTo>
                  <a:lnTo>
                    <a:pt x="768" y="355"/>
                  </a:lnTo>
                  <a:lnTo>
                    <a:pt x="770" y="355"/>
                  </a:lnTo>
                  <a:lnTo>
                    <a:pt x="770" y="357"/>
                  </a:lnTo>
                  <a:lnTo>
                    <a:pt x="770" y="355"/>
                  </a:lnTo>
                  <a:lnTo>
                    <a:pt x="770" y="357"/>
                  </a:lnTo>
                  <a:lnTo>
                    <a:pt x="768" y="357"/>
                  </a:lnTo>
                  <a:lnTo>
                    <a:pt x="768" y="355"/>
                  </a:lnTo>
                  <a:lnTo>
                    <a:pt x="768" y="357"/>
                  </a:lnTo>
                  <a:lnTo>
                    <a:pt x="768" y="355"/>
                  </a:lnTo>
                  <a:lnTo>
                    <a:pt x="768" y="357"/>
                  </a:lnTo>
                  <a:lnTo>
                    <a:pt x="768" y="355"/>
                  </a:lnTo>
                  <a:lnTo>
                    <a:pt x="768" y="357"/>
                  </a:lnTo>
                  <a:lnTo>
                    <a:pt x="770" y="357"/>
                  </a:lnTo>
                  <a:lnTo>
                    <a:pt x="768" y="357"/>
                  </a:lnTo>
                  <a:lnTo>
                    <a:pt x="766" y="357"/>
                  </a:lnTo>
                  <a:lnTo>
                    <a:pt x="764" y="357"/>
                  </a:lnTo>
                  <a:lnTo>
                    <a:pt x="766" y="357"/>
                  </a:lnTo>
                  <a:lnTo>
                    <a:pt x="764" y="359"/>
                  </a:lnTo>
                  <a:lnTo>
                    <a:pt x="762" y="359"/>
                  </a:lnTo>
                  <a:lnTo>
                    <a:pt x="760" y="359"/>
                  </a:lnTo>
                  <a:lnTo>
                    <a:pt x="760" y="357"/>
                  </a:lnTo>
                  <a:lnTo>
                    <a:pt x="758" y="357"/>
                  </a:lnTo>
                  <a:lnTo>
                    <a:pt x="758" y="355"/>
                  </a:lnTo>
                  <a:lnTo>
                    <a:pt x="756" y="355"/>
                  </a:lnTo>
                  <a:lnTo>
                    <a:pt x="756" y="353"/>
                  </a:lnTo>
                  <a:lnTo>
                    <a:pt x="756" y="351"/>
                  </a:lnTo>
                  <a:lnTo>
                    <a:pt x="756" y="349"/>
                  </a:lnTo>
                  <a:lnTo>
                    <a:pt x="756" y="347"/>
                  </a:lnTo>
                  <a:lnTo>
                    <a:pt x="758" y="347"/>
                  </a:lnTo>
                  <a:lnTo>
                    <a:pt x="760" y="349"/>
                  </a:lnTo>
                  <a:close/>
                  <a:moveTo>
                    <a:pt x="716" y="345"/>
                  </a:moveTo>
                  <a:lnTo>
                    <a:pt x="714" y="347"/>
                  </a:lnTo>
                  <a:lnTo>
                    <a:pt x="714" y="349"/>
                  </a:lnTo>
                  <a:lnTo>
                    <a:pt x="712" y="349"/>
                  </a:lnTo>
                  <a:lnTo>
                    <a:pt x="712" y="347"/>
                  </a:lnTo>
                  <a:lnTo>
                    <a:pt x="714" y="347"/>
                  </a:lnTo>
                  <a:lnTo>
                    <a:pt x="714" y="344"/>
                  </a:lnTo>
                  <a:lnTo>
                    <a:pt x="714" y="342"/>
                  </a:lnTo>
                  <a:lnTo>
                    <a:pt x="714" y="340"/>
                  </a:lnTo>
                  <a:lnTo>
                    <a:pt x="714" y="338"/>
                  </a:lnTo>
                  <a:lnTo>
                    <a:pt x="712" y="338"/>
                  </a:lnTo>
                  <a:lnTo>
                    <a:pt x="714" y="338"/>
                  </a:lnTo>
                  <a:lnTo>
                    <a:pt x="714" y="336"/>
                  </a:lnTo>
                  <a:lnTo>
                    <a:pt x="714" y="338"/>
                  </a:lnTo>
                  <a:lnTo>
                    <a:pt x="716" y="338"/>
                  </a:lnTo>
                  <a:lnTo>
                    <a:pt x="716" y="340"/>
                  </a:lnTo>
                  <a:lnTo>
                    <a:pt x="716" y="342"/>
                  </a:lnTo>
                  <a:lnTo>
                    <a:pt x="716" y="344"/>
                  </a:lnTo>
                  <a:lnTo>
                    <a:pt x="716" y="345"/>
                  </a:lnTo>
                  <a:close/>
                  <a:moveTo>
                    <a:pt x="770" y="344"/>
                  </a:moveTo>
                  <a:lnTo>
                    <a:pt x="770" y="342"/>
                  </a:lnTo>
                  <a:lnTo>
                    <a:pt x="770" y="340"/>
                  </a:lnTo>
                  <a:lnTo>
                    <a:pt x="770" y="342"/>
                  </a:lnTo>
                  <a:lnTo>
                    <a:pt x="770" y="344"/>
                  </a:lnTo>
                  <a:close/>
                  <a:moveTo>
                    <a:pt x="710" y="334"/>
                  </a:moveTo>
                  <a:lnTo>
                    <a:pt x="710" y="336"/>
                  </a:lnTo>
                  <a:lnTo>
                    <a:pt x="710" y="334"/>
                  </a:lnTo>
                  <a:lnTo>
                    <a:pt x="712" y="336"/>
                  </a:lnTo>
                  <a:lnTo>
                    <a:pt x="714" y="336"/>
                  </a:lnTo>
                  <a:lnTo>
                    <a:pt x="716" y="338"/>
                  </a:lnTo>
                  <a:lnTo>
                    <a:pt x="718" y="340"/>
                  </a:lnTo>
                  <a:lnTo>
                    <a:pt x="718" y="342"/>
                  </a:lnTo>
                  <a:lnTo>
                    <a:pt x="718" y="340"/>
                  </a:lnTo>
                  <a:lnTo>
                    <a:pt x="718" y="342"/>
                  </a:lnTo>
                  <a:lnTo>
                    <a:pt x="720" y="342"/>
                  </a:lnTo>
                  <a:lnTo>
                    <a:pt x="718" y="342"/>
                  </a:lnTo>
                  <a:lnTo>
                    <a:pt x="718" y="344"/>
                  </a:lnTo>
                  <a:lnTo>
                    <a:pt x="716" y="344"/>
                  </a:lnTo>
                  <a:lnTo>
                    <a:pt x="716" y="342"/>
                  </a:lnTo>
                  <a:lnTo>
                    <a:pt x="716" y="340"/>
                  </a:lnTo>
                  <a:lnTo>
                    <a:pt x="716" y="338"/>
                  </a:lnTo>
                  <a:lnTo>
                    <a:pt x="714" y="338"/>
                  </a:lnTo>
                  <a:lnTo>
                    <a:pt x="714" y="336"/>
                  </a:lnTo>
                  <a:lnTo>
                    <a:pt x="714" y="338"/>
                  </a:lnTo>
                  <a:lnTo>
                    <a:pt x="712" y="338"/>
                  </a:lnTo>
                  <a:lnTo>
                    <a:pt x="712" y="336"/>
                  </a:lnTo>
                  <a:lnTo>
                    <a:pt x="710" y="336"/>
                  </a:lnTo>
                  <a:lnTo>
                    <a:pt x="712" y="336"/>
                  </a:lnTo>
                  <a:lnTo>
                    <a:pt x="710" y="336"/>
                  </a:lnTo>
                  <a:lnTo>
                    <a:pt x="710" y="334"/>
                  </a:lnTo>
                  <a:close/>
                  <a:moveTo>
                    <a:pt x="710" y="334"/>
                  </a:moveTo>
                  <a:lnTo>
                    <a:pt x="710" y="336"/>
                  </a:lnTo>
                  <a:lnTo>
                    <a:pt x="708" y="336"/>
                  </a:lnTo>
                  <a:lnTo>
                    <a:pt x="706" y="336"/>
                  </a:lnTo>
                  <a:lnTo>
                    <a:pt x="704" y="336"/>
                  </a:lnTo>
                  <a:lnTo>
                    <a:pt x="702" y="336"/>
                  </a:lnTo>
                  <a:lnTo>
                    <a:pt x="704" y="336"/>
                  </a:lnTo>
                  <a:lnTo>
                    <a:pt x="706" y="336"/>
                  </a:lnTo>
                  <a:lnTo>
                    <a:pt x="706" y="334"/>
                  </a:lnTo>
                  <a:lnTo>
                    <a:pt x="708" y="334"/>
                  </a:lnTo>
                  <a:lnTo>
                    <a:pt x="710" y="334"/>
                  </a:lnTo>
                  <a:close/>
                  <a:moveTo>
                    <a:pt x="700" y="340"/>
                  </a:moveTo>
                  <a:lnTo>
                    <a:pt x="702" y="338"/>
                  </a:lnTo>
                  <a:lnTo>
                    <a:pt x="704" y="336"/>
                  </a:lnTo>
                  <a:lnTo>
                    <a:pt x="706" y="336"/>
                  </a:lnTo>
                  <a:lnTo>
                    <a:pt x="708" y="336"/>
                  </a:lnTo>
                  <a:lnTo>
                    <a:pt x="710" y="336"/>
                  </a:lnTo>
                  <a:lnTo>
                    <a:pt x="712" y="338"/>
                  </a:lnTo>
                  <a:lnTo>
                    <a:pt x="714" y="338"/>
                  </a:lnTo>
                  <a:lnTo>
                    <a:pt x="714" y="340"/>
                  </a:lnTo>
                  <a:lnTo>
                    <a:pt x="714" y="342"/>
                  </a:lnTo>
                  <a:lnTo>
                    <a:pt x="714" y="344"/>
                  </a:lnTo>
                  <a:lnTo>
                    <a:pt x="714" y="345"/>
                  </a:lnTo>
                  <a:lnTo>
                    <a:pt x="714" y="347"/>
                  </a:lnTo>
                  <a:lnTo>
                    <a:pt x="712" y="347"/>
                  </a:lnTo>
                  <a:lnTo>
                    <a:pt x="712" y="349"/>
                  </a:lnTo>
                  <a:lnTo>
                    <a:pt x="710" y="349"/>
                  </a:lnTo>
                  <a:lnTo>
                    <a:pt x="710" y="351"/>
                  </a:lnTo>
                  <a:lnTo>
                    <a:pt x="710" y="349"/>
                  </a:lnTo>
                  <a:lnTo>
                    <a:pt x="712" y="349"/>
                  </a:lnTo>
                  <a:lnTo>
                    <a:pt x="712" y="351"/>
                  </a:lnTo>
                  <a:lnTo>
                    <a:pt x="710" y="351"/>
                  </a:lnTo>
                  <a:lnTo>
                    <a:pt x="712" y="353"/>
                  </a:lnTo>
                  <a:lnTo>
                    <a:pt x="712" y="355"/>
                  </a:lnTo>
                  <a:lnTo>
                    <a:pt x="712" y="357"/>
                  </a:lnTo>
                  <a:lnTo>
                    <a:pt x="714" y="357"/>
                  </a:lnTo>
                  <a:lnTo>
                    <a:pt x="712" y="357"/>
                  </a:lnTo>
                  <a:lnTo>
                    <a:pt x="712" y="355"/>
                  </a:lnTo>
                  <a:lnTo>
                    <a:pt x="712" y="353"/>
                  </a:lnTo>
                  <a:lnTo>
                    <a:pt x="710" y="351"/>
                  </a:lnTo>
                  <a:lnTo>
                    <a:pt x="708" y="349"/>
                  </a:lnTo>
                  <a:lnTo>
                    <a:pt x="706" y="349"/>
                  </a:lnTo>
                  <a:lnTo>
                    <a:pt x="706" y="351"/>
                  </a:lnTo>
                  <a:lnTo>
                    <a:pt x="704" y="351"/>
                  </a:lnTo>
                  <a:lnTo>
                    <a:pt x="704" y="353"/>
                  </a:lnTo>
                  <a:lnTo>
                    <a:pt x="706" y="353"/>
                  </a:lnTo>
                  <a:lnTo>
                    <a:pt x="706" y="355"/>
                  </a:lnTo>
                  <a:lnTo>
                    <a:pt x="708" y="355"/>
                  </a:lnTo>
                  <a:lnTo>
                    <a:pt x="710" y="355"/>
                  </a:lnTo>
                  <a:lnTo>
                    <a:pt x="706" y="355"/>
                  </a:lnTo>
                  <a:lnTo>
                    <a:pt x="704" y="355"/>
                  </a:lnTo>
                  <a:lnTo>
                    <a:pt x="704" y="353"/>
                  </a:lnTo>
                  <a:lnTo>
                    <a:pt x="702" y="353"/>
                  </a:lnTo>
                  <a:lnTo>
                    <a:pt x="702" y="351"/>
                  </a:lnTo>
                  <a:lnTo>
                    <a:pt x="700" y="349"/>
                  </a:lnTo>
                  <a:lnTo>
                    <a:pt x="700" y="347"/>
                  </a:lnTo>
                  <a:lnTo>
                    <a:pt x="700" y="345"/>
                  </a:lnTo>
                  <a:lnTo>
                    <a:pt x="700" y="344"/>
                  </a:lnTo>
                  <a:lnTo>
                    <a:pt x="700" y="342"/>
                  </a:lnTo>
                  <a:lnTo>
                    <a:pt x="700" y="340"/>
                  </a:lnTo>
                  <a:lnTo>
                    <a:pt x="700" y="338"/>
                  </a:lnTo>
                  <a:lnTo>
                    <a:pt x="702" y="336"/>
                  </a:lnTo>
                  <a:lnTo>
                    <a:pt x="704" y="336"/>
                  </a:lnTo>
                  <a:lnTo>
                    <a:pt x="704" y="334"/>
                  </a:lnTo>
                  <a:lnTo>
                    <a:pt x="706" y="334"/>
                  </a:lnTo>
                  <a:lnTo>
                    <a:pt x="708" y="334"/>
                  </a:lnTo>
                  <a:lnTo>
                    <a:pt x="706" y="334"/>
                  </a:lnTo>
                  <a:lnTo>
                    <a:pt x="704" y="334"/>
                  </a:lnTo>
                  <a:lnTo>
                    <a:pt x="704" y="336"/>
                  </a:lnTo>
                  <a:lnTo>
                    <a:pt x="702" y="336"/>
                  </a:lnTo>
                  <a:lnTo>
                    <a:pt x="702" y="338"/>
                  </a:lnTo>
                  <a:lnTo>
                    <a:pt x="700" y="340"/>
                  </a:lnTo>
                  <a:close/>
                  <a:moveTo>
                    <a:pt x="773" y="342"/>
                  </a:moveTo>
                  <a:lnTo>
                    <a:pt x="773" y="344"/>
                  </a:lnTo>
                  <a:lnTo>
                    <a:pt x="775" y="344"/>
                  </a:lnTo>
                  <a:lnTo>
                    <a:pt x="775" y="345"/>
                  </a:lnTo>
                  <a:lnTo>
                    <a:pt x="775" y="347"/>
                  </a:lnTo>
                  <a:lnTo>
                    <a:pt x="775" y="349"/>
                  </a:lnTo>
                  <a:lnTo>
                    <a:pt x="777" y="349"/>
                  </a:lnTo>
                  <a:lnTo>
                    <a:pt x="777" y="347"/>
                  </a:lnTo>
                  <a:lnTo>
                    <a:pt x="777" y="345"/>
                  </a:lnTo>
                  <a:lnTo>
                    <a:pt x="777" y="344"/>
                  </a:lnTo>
                  <a:lnTo>
                    <a:pt x="777" y="345"/>
                  </a:lnTo>
                  <a:lnTo>
                    <a:pt x="777" y="347"/>
                  </a:lnTo>
                  <a:lnTo>
                    <a:pt x="777" y="349"/>
                  </a:lnTo>
                  <a:lnTo>
                    <a:pt x="779" y="351"/>
                  </a:lnTo>
                  <a:lnTo>
                    <a:pt x="779" y="353"/>
                  </a:lnTo>
                  <a:lnTo>
                    <a:pt x="779" y="355"/>
                  </a:lnTo>
                  <a:lnTo>
                    <a:pt x="781" y="355"/>
                  </a:lnTo>
                  <a:lnTo>
                    <a:pt x="779" y="355"/>
                  </a:lnTo>
                  <a:lnTo>
                    <a:pt x="777" y="355"/>
                  </a:lnTo>
                  <a:lnTo>
                    <a:pt x="775" y="355"/>
                  </a:lnTo>
                  <a:lnTo>
                    <a:pt x="775" y="353"/>
                  </a:lnTo>
                  <a:lnTo>
                    <a:pt x="773" y="353"/>
                  </a:lnTo>
                  <a:lnTo>
                    <a:pt x="773" y="351"/>
                  </a:lnTo>
                  <a:lnTo>
                    <a:pt x="773" y="347"/>
                  </a:lnTo>
                  <a:lnTo>
                    <a:pt x="773" y="345"/>
                  </a:lnTo>
                  <a:lnTo>
                    <a:pt x="771" y="344"/>
                  </a:lnTo>
                  <a:lnTo>
                    <a:pt x="771" y="340"/>
                  </a:lnTo>
                  <a:lnTo>
                    <a:pt x="771" y="338"/>
                  </a:lnTo>
                  <a:lnTo>
                    <a:pt x="771" y="340"/>
                  </a:lnTo>
                  <a:lnTo>
                    <a:pt x="773" y="342"/>
                  </a:lnTo>
                  <a:close/>
                  <a:moveTo>
                    <a:pt x="773" y="336"/>
                  </a:moveTo>
                  <a:lnTo>
                    <a:pt x="773" y="338"/>
                  </a:lnTo>
                  <a:lnTo>
                    <a:pt x="773" y="340"/>
                  </a:lnTo>
                  <a:lnTo>
                    <a:pt x="775" y="340"/>
                  </a:lnTo>
                  <a:lnTo>
                    <a:pt x="777" y="342"/>
                  </a:lnTo>
                  <a:lnTo>
                    <a:pt x="777" y="344"/>
                  </a:lnTo>
                  <a:lnTo>
                    <a:pt x="775" y="344"/>
                  </a:lnTo>
                  <a:lnTo>
                    <a:pt x="777" y="344"/>
                  </a:lnTo>
                  <a:lnTo>
                    <a:pt x="775" y="344"/>
                  </a:lnTo>
                  <a:lnTo>
                    <a:pt x="775" y="342"/>
                  </a:lnTo>
                  <a:lnTo>
                    <a:pt x="773" y="342"/>
                  </a:lnTo>
                  <a:lnTo>
                    <a:pt x="775" y="342"/>
                  </a:lnTo>
                  <a:lnTo>
                    <a:pt x="773" y="338"/>
                  </a:lnTo>
                  <a:lnTo>
                    <a:pt x="773" y="336"/>
                  </a:lnTo>
                  <a:lnTo>
                    <a:pt x="771" y="336"/>
                  </a:lnTo>
                  <a:lnTo>
                    <a:pt x="771" y="338"/>
                  </a:lnTo>
                  <a:lnTo>
                    <a:pt x="770" y="338"/>
                  </a:lnTo>
                  <a:lnTo>
                    <a:pt x="771" y="336"/>
                  </a:lnTo>
                  <a:lnTo>
                    <a:pt x="773" y="334"/>
                  </a:lnTo>
                  <a:lnTo>
                    <a:pt x="773" y="336"/>
                  </a:lnTo>
                  <a:close/>
                  <a:moveTo>
                    <a:pt x="766" y="334"/>
                  </a:moveTo>
                  <a:lnTo>
                    <a:pt x="768" y="336"/>
                  </a:lnTo>
                  <a:lnTo>
                    <a:pt x="768" y="338"/>
                  </a:lnTo>
                  <a:lnTo>
                    <a:pt x="770" y="338"/>
                  </a:lnTo>
                  <a:lnTo>
                    <a:pt x="768" y="338"/>
                  </a:lnTo>
                  <a:lnTo>
                    <a:pt x="766" y="336"/>
                  </a:lnTo>
                  <a:lnTo>
                    <a:pt x="764" y="334"/>
                  </a:lnTo>
                  <a:lnTo>
                    <a:pt x="764" y="336"/>
                  </a:lnTo>
                  <a:lnTo>
                    <a:pt x="766" y="338"/>
                  </a:lnTo>
                  <a:lnTo>
                    <a:pt x="764" y="338"/>
                  </a:lnTo>
                  <a:lnTo>
                    <a:pt x="766" y="338"/>
                  </a:lnTo>
                  <a:lnTo>
                    <a:pt x="764" y="338"/>
                  </a:lnTo>
                  <a:lnTo>
                    <a:pt x="764" y="340"/>
                  </a:lnTo>
                  <a:lnTo>
                    <a:pt x="766" y="340"/>
                  </a:lnTo>
                  <a:lnTo>
                    <a:pt x="766" y="342"/>
                  </a:lnTo>
                  <a:lnTo>
                    <a:pt x="766" y="344"/>
                  </a:lnTo>
                  <a:lnTo>
                    <a:pt x="762" y="344"/>
                  </a:lnTo>
                  <a:lnTo>
                    <a:pt x="760" y="342"/>
                  </a:lnTo>
                  <a:lnTo>
                    <a:pt x="758" y="342"/>
                  </a:lnTo>
                  <a:lnTo>
                    <a:pt x="758" y="340"/>
                  </a:lnTo>
                  <a:lnTo>
                    <a:pt x="758" y="338"/>
                  </a:lnTo>
                  <a:lnTo>
                    <a:pt x="758" y="336"/>
                  </a:lnTo>
                  <a:lnTo>
                    <a:pt x="760" y="336"/>
                  </a:lnTo>
                  <a:lnTo>
                    <a:pt x="762" y="334"/>
                  </a:lnTo>
                  <a:lnTo>
                    <a:pt x="764" y="334"/>
                  </a:lnTo>
                  <a:lnTo>
                    <a:pt x="766" y="334"/>
                  </a:lnTo>
                  <a:close/>
                  <a:moveTo>
                    <a:pt x="785" y="336"/>
                  </a:moveTo>
                  <a:lnTo>
                    <a:pt x="785" y="338"/>
                  </a:lnTo>
                  <a:lnTo>
                    <a:pt x="783" y="338"/>
                  </a:lnTo>
                  <a:lnTo>
                    <a:pt x="783" y="340"/>
                  </a:lnTo>
                  <a:lnTo>
                    <a:pt x="781" y="340"/>
                  </a:lnTo>
                  <a:lnTo>
                    <a:pt x="781" y="338"/>
                  </a:lnTo>
                  <a:lnTo>
                    <a:pt x="783" y="338"/>
                  </a:lnTo>
                  <a:lnTo>
                    <a:pt x="785" y="338"/>
                  </a:lnTo>
                  <a:lnTo>
                    <a:pt x="785" y="336"/>
                  </a:lnTo>
                  <a:lnTo>
                    <a:pt x="783" y="336"/>
                  </a:lnTo>
                  <a:lnTo>
                    <a:pt x="785" y="336"/>
                  </a:lnTo>
                  <a:lnTo>
                    <a:pt x="783" y="336"/>
                  </a:lnTo>
                  <a:lnTo>
                    <a:pt x="781" y="336"/>
                  </a:lnTo>
                  <a:lnTo>
                    <a:pt x="781" y="338"/>
                  </a:lnTo>
                  <a:lnTo>
                    <a:pt x="779" y="338"/>
                  </a:lnTo>
                  <a:lnTo>
                    <a:pt x="779" y="340"/>
                  </a:lnTo>
                  <a:lnTo>
                    <a:pt x="779" y="338"/>
                  </a:lnTo>
                  <a:lnTo>
                    <a:pt x="777" y="338"/>
                  </a:lnTo>
                  <a:lnTo>
                    <a:pt x="777" y="340"/>
                  </a:lnTo>
                  <a:lnTo>
                    <a:pt x="779" y="342"/>
                  </a:lnTo>
                  <a:lnTo>
                    <a:pt x="779" y="344"/>
                  </a:lnTo>
                  <a:lnTo>
                    <a:pt x="779" y="342"/>
                  </a:lnTo>
                  <a:lnTo>
                    <a:pt x="779" y="344"/>
                  </a:lnTo>
                  <a:lnTo>
                    <a:pt x="779" y="342"/>
                  </a:lnTo>
                  <a:lnTo>
                    <a:pt x="781" y="342"/>
                  </a:lnTo>
                  <a:lnTo>
                    <a:pt x="779" y="344"/>
                  </a:lnTo>
                  <a:lnTo>
                    <a:pt x="779" y="342"/>
                  </a:lnTo>
                  <a:lnTo>
                    <a:pt x="777" y="340"/>
                  </a:lnTo>
                  <a:lnTo>
                    <a:pt x="777" y="338"/>
                  </a:lnTo>
                  <a:lnTo>
                    <a:pt x="775" y="336"/>
                  </a:lnTo>
                  <a:lnTo>
                    <a:pt x="775" y="334"/>
                  </a:lnTo>
                  <a:lnTo>
                    <a:pt x="777" y="336"/>
                  </a:lnTo>
                  <a:lnTo>
                    <a:pt x="781" y="336"/>
                  </a:lnTo>
                  <a:lnTo>
                    <a:pt x="783" y="336"/>
                  </a:lnTo>
                  <a:lnTo>
                    <a:pt x="785" y="336"/>
                  </a:lnTo>
                  <a:close/>
                  <a:moveTo>
                    <a:pt x="933" y="286"/>
                  </a:moveTo>
                  <a:lnTo>
                    <a:pt x="935" y="286"/>
                  </a:lnTo>
                  <a:lnTo>
                    <a:pt x="937" y="286"/>
                  </a:lnTo>
                  <a:lnTo>
                    <a:pt x="937" y="288"/>
                  </a:lnTo>
                  <a:lnTo>
                    <a:pt x="938" y="288"/>
                  </a:lnTo>
                  <a:lnTo>
                    <a:pt x="938" y="290"/>
                  </a:lnTo>
                  <a:lnTo>
                    <a:pt x="938" y="292"/>
                  </a:lnTo>
                  <a:lnTo>
                    <a:pt x="938" y="294"/>
                  </a:lnTo>
                  <a:lnTo>
                    <a:pt x="937" y="296"/>
                  </a:lnTo>
                  <a:lnTo>
                    <a:pt x="937" y="294"/>
                  </a:lnTo>
                  <a:lnTo>
                    <a:pt x="935" y="294"/>
                  </a:lnTo>
                  <a:lnTo>
                    <a:pt x="933" y="294"/>
                  </a:lnTo>
                  <a:lnTo>
                    <a:pt x="931" y="292"/>
                  </a:lnTo>
                  <a:lnTo>
                    <a:pt x="929" y="290"/>
                  </a:lnTo>
                  <a:lnTo>
                    <a:pt x="929" y="288"/>
                  </a:lnTo>
                  <a:lnTo>
                    <a:pt x="929" y="286"/>
                  </a:lnTo>
                  <a:lnTo>
                    <a:pt x="931" y="286"/>
                  </a:lnTo>
                  <a:lnTo>
                    <a:pt x="933" y="286"/>
                  </a:lnTo>
                  <a:close/>
                  <a:moveTo>
                    <a:pt x="422" y="261"/>
                  </a:moveTo>
                  <a:lnTo>
                    <a:pt x="420" y="261"/>
                  </a:lnTo>
                  <a:lnTo>
                    <a:pt x="420" y="259"/>
                  </a:lnTo>
                  <a:lnTo>
                    <a:pt x="418" y="257"/>
                  </a:lnTo>
                  <a:lnTo>
                    <a:pt x="418" y="255"/>
                  </a:lnTo>
                  <a:lnTo>
                    <a:pt x="416" y="255"/>
                  </a:lnTo>
                  <a:lnTo>
                    <a:pt x="414" y="253"/>
                  </a:lnTo>
                  <a:lnTo>
                    <a:pt x="414" y="251"/>
                  </a:lnTo>
                  <a:lnTo>
                    <a:pt x="413" y="249"/>
                  </a:lnTo>
                  <a:lnTo>
                    <a:pt x="413" y="248"/>
                  </a:lnTo>
                  <a:lnTo>
                    <a:pt x="411" y="248"/>
                  </a:lnTo>
                  <a:lnTo>
                    <a:pt x="411" y="246"/>
                  </a:lnTo>
                  <a:lnTo>
                    <a:pt x="413" y="246"/>
                  </a:lnTo>
                  <a:lnTo>
                    <a:pt x="411" y="246"/>
                  </a:lnTo>
                  <a:lnTo>
                    <a:pt x="411" y="248"/>
                  </a:lnTo>
                  <a:lnTo>
                    <a:pt x="413" y="248"/>
                  </a:lnTo>
                  <a:lnTo>
                    <a:pt x="413" y="249"/>
                  </a:lnTo>
                  <a:lnTo>
                    <a:pt x="414" y="251"/>
                  </a:lnTo>
                  <a:lnTo>
                    <a:pt x="416" y="253"/>
                  </a:lnTo>
                  <a:lnTo>
                    <a:pt x="416" y="255"/>
                  </a:lnTo>
                  <a:lnTo>
                    <a:pt x="418" y="255"/>
                  </a:lnTo>
                  <a:lnTo>
                    <a:pt x="418" y="257"/>
                  </a:lnTo>
                  <a:lnTo>
                    <a:pt x="420" y="257"/>
                  </a:lnTo>
                  <a:lnTo>
                    <a:pt x="420" y="259"/>
                  </a:lnTo>
                  <a:lnTo>
                    <a:pt x="420" y="261"/>
                  </a:lnTo>
                  <a:lnTo>
                    <a:pt x="422" y="261"/>
                  </a:lnTo>
                  <a:close/>
                  <a:moveTo>
                    <a:pt x="376" y="213"/>
                  </a:moveTo>
                  <a:lnTo>
                    <a:pt x="368" y="211"/>
                  </a:lnTo>
                  <a:lnTo>
                    <a:pt x="368" y="209"/>
                  </a:lnTo>
                  <a:lnTo>
                    <a:pt x="367" y="209"/>
                  </a:lnTo>
                  <a:lnTo>
                    <a:pt x="367" y="207"/>
                  </a:lnTo>
                  <a:lnTo>
                    <a:pt x="367" y="205"/>
                  </a:lnTo>
                  <a:lnTo>
                    <a:pt x="367" y="207"/>
                  </a:lnTo>
                  <a:lnTo>
                    <a:pt x="367" y="209"/>
                  </a:lnTo>
                  <a:lnTo>
                    <a:pt x="368" y="209"/>
                  </a:lnTo>
                  <a:lnTo>
                    <a:pt x="368" y="211"/>
                  </a:lnTo>
                  <a:lnTo>
                    <a:pt x="376" y="213"/>
                  </a:lnTo>
                  <a:close/>
                  <a:moveTo>
                    <a:pt x="336" y="190"/>
                  </a:moveTo>
                  <a:lnTo>
                    <a:pt x="338" y="188"/>
                  </a:lnTo>
                  <a:lnTo>
                    <a:pt x="338" y="184"/>
                  </a:lnTo>
                  <a:lnTo>
                    <a:pt x="338" y="180"/>
                  </a:lnTo>
                  <a:lnTo>
                    <a:pt x="338" y="178"/>
                  </a:lnTo>
                  <a:lnTo>
                    <a:pt x="340" y="178"/>
                  </a:lnTo>
                  <a:lnTo>
                    <a:pt x="342" y="176"/>
                  </a:lnTo>
                  <a:lnTo>
                    <a:pt x="347" y="173"/>
                  </a:lnTo>
                  <a:lnTo>
                    <a:pt x="340" y="178"/>
                  </a:lnTo>
                  <a:lnTo>
                    <a:pt x="338" y="178"/>
                  </a:lnTo>
                  <a:lnTo>
                    <a:pt x="338" y="180"/>
                  </a:lnTo>
                  <a:lnTo>
                    <a:pt x="338" y="184"/>
                  </a:lnTo>
                  <a:lnTo>
                    <a:pt x="338" y="188"/>
                  </a:lnTo>
                  <a:lnTo>
                    <a:pt x="340" y="190"/>
                  </a:lnTo>
                  <a:lnTo>
                    <a:pt x="343" y="190"/>
                  </a:lnTo>
                  <a:lnTo>
                    <a:pt x="384" y="211"/>
                  </a:lnTo>
                  <a:lnTo>
                    <a:pt x="386" y="213"/>
                  </a:lnTo>
                  <a:lnTo>
                    <a:pt x="388" y="215"/>
                  </a:lnTo>
                  <a:lnTo>
                    <a:pt x="390" y="217"/>
                  </a:lnTo>
                  <a:lnTo>
                    <a:pt x="393" y="221"/>
                  </a:lnTo>
                  <a:lnTo>
                    <a:pt x="416" y="249"/>
                  </a:lnTo>
                  <a:lnTo>
                    <a:pt x="418" y="251"/>
                  </a:lnTo>
                  <a:lnTo>
                    <a:pt x="420" y="253"/>
                  </a:lnTo>
                  <a:lnTo>
                    <a:pt x="422" y="257"/>
                  </a:lnTo>
                  <a:lnTo>
                    <a:pt x="430" y="271"/>
                  </a:lnTo>
                  <a:lnTo>
                    <a:pt x="430" y="272"/>
                  </a:lnTo>
                  <a:lnTo>
                    <a:pt x="432" y="272"/>
                  </a:lnTo>
                  <a:lnTo>
                    <a:pt x="434" y="272"/>
                  </a:lnTo>
                  <a:lnTo>
                    <a:pt x="434" y="274"/>
                  </a:lnTo>
                  <a:lnTo>
                    <a:pt x="436" y="274"/>
                  </a:lnTo>
                  <a:lnTo>
                    <a:pt x="436" y="276"/>
                  </a:lnTo>
                  <a:lnTo>
                    <a:pt x="434" y="274"/>
                  </a:lnTo>
                  <a:lnTo>
                    <a:pt x="434" y="272"/>
                  </a:lnTo>
                  <a:lnTo>
                    <a:pt x="432" y="274"/>
                  </a:lnTo>
                  <a:lnTo>
                    <a:pt x="434" y="276"/>
                  </a:lnTo>
                  <a:lnTo>
                    <a:pt x="434" y="278"/>
                  </a:lnTo>
                  <a:lnTo>
                    <a:pt x="434" y="280"/>
                  </a:lnTo>
                  <a:lnTo>
                    <a:pt x="459" y="326"/>
                  </a:lnTo>
                  <a:lnTo>
                    <a:pt x="462" y="334"/>
                  </a:lnTo>
                  <a:lnTo>
                    <a:pt x="464" y="336"/>
                  </a:lnTo>
                  <a:lnTo>
                    <a:pt x="464" y="338"/>
                  </a:lnTo>
                  <a:lnTo>
                    <a:pt x="466" y="340"/>
                  </a:lnTo>
                  <a:lnTo>
                    <a:pt x="472" y="367"/>
                  </a:lnTo>
                  <a:lnTo>
                    <a:pt x="472" y="369"/>
                  </a:lnTo>
                  <a:lnTo>
                    <a:pt x="472" y="370"/>
                  </a:lnTo>
                  <a:lnTo>
                    <a:pt x="470" y="372"/>
                  </a:lnTo>
                  <a:lnTo>
                    <a:pt x="470" y="374"/>
                  </a:lnTo>
                  <a:lnTo>
                    <a:pt x="468" y="374"/>
                  </a:lnTo>
                  <a:lnTo>
                    <a:pt x="466" y="374"/>
                  </a:lnTo>
                  <a:lnTo>
                    <a:pt x="461" y="376"/>
                  </a:lnTo>
                  <a:lnTo>
                    <a:pt x="459" y="378"/>
                  </a:lnTo>
                  <a:lnTo>
                    <a:pt x="457" y="378"/>
                  </a:lnTo>
                  <a:lnTo>
                    <a:pt x="455" y="378"/>
                  </a:lnTo>
                  <a:lnTo>
                    <a:pt x="453" y="380"/>
                  </a:lnTo>
                  <a:lnTo>
                    <a:pt x="451" y="382"/>
                  </a:lnTo>
                  <a:lnTo>
                    <a:pt x="449" y="384"/>
                  </a:lnTo>
                  <a:lnTo>
                    <a:pt x="447" y="386"/>
                  </a:lnTo>
                  <a:lnTo>
                    <a:pt x="447" y="388"/>
                  </a:lnTo>
                  <a:lnTo>
                    <a:pt x="445" y="392"/>
                  </a:lnTo>
                  <a:lnTo>
                    <a:pt x="436" y="409"/>
                  </a:lnTo>
                  <a:lnTo>
                    <a:pt x="436" y="411"/>
                  </a:lnTo>
                  <a:lnTo>
                    <a:pt x="434" y="413"/>
                  </a:lnTo>
                  <a:lnTo>
                    <a:pt x="434" y="415"/>
                  </a:lnTo>
                  <a:lnTo>
                    <a:pt x="434" y="417"/>
                  </a:lnTo>
                  <a:lnTo>
                    <a:pt x="432" y="424"/>
                  </a:lnTo>
                  <a:lnTo>
                    <a:pt x="434" y="426"/>
                  </a:lnTo>
                  <a:lnTo>
                    <a:pt x="432" y="426"/>
                  </a:lnTo>
                  <a:lnTo>
                    <a:pt x="432" y="428"/>
                  </a:lnTo>
                  <a:lnTo>
                    <a:pt x="432" y="436"/>
                  </a:lnTo>
                  <a:lnTo>
                    <a:pt x="430" y="436"/>
                  </a:lnTo>
                  <a:lnTo>
                    <a:pt x="432" y="430"/>
                  </a:lnTo>
                  <a:lnTo>
                    <a:pt x="432" y="426"/>
                  </a:lnTo>
                  <a:lnTo>
                    <a:pt x="430" y="426"/>
                  </a:lnTo>
                  <a:lnTo>
                    <a:pt x="430" y="424"/>
                  </a:lnTo>
                  <a:lnTo>
                    <a:pt x="430" y="422"/>
                  </a:lnTo>
                  <a:lnTo>
                    <a:pt x="432" y="422"/>
                  </a:lnTo>
                  <a:lnTo>
                    <a:pt x="434" y="417"/>
                  </a:lnTo>
                  <a:lnTo>
                    <a:pt x="434" y="415"/>
                  </a:lnTo>
                  <a:lnTo>
                    <a:pt x="434" y="413"/>
                  </a:lnTo>
                  <a:lnTo>
                    <a:pt x="434" y="411"/>
                  </a:lnTo>
                  <a:lnTo>
                    <a:pt x="438" y="403"/>
                  </a:lnTo>
                  <a:lnTo>
                    <a:pt x="443" y="393"/>
                  </a:lnTo>
                  <a:lnTo>
                    <a:pt x="445" y="388"/>
                  </a:lnTo>
                  <a:lnTo>
                    <a:pt x="447" y="386"/>
                  </a:lnTo>
                  <a:lnTo>
                    <a:pt x="449" y="384"/>
                  </a:lnTo>
                  <a:lnTo>
                    <a:pt x="449" y="382"/>
                  </a:lnTo>
                  <a:lnTo>
                    <a:pt x="451" y="382"/>
                  </a:lnTo>
                  <a:lnTo>
                    <a:pt x="451" y="380"/>
                  </a:lnTo>
                  <a:lnTo>
                    <a:pt x="455" y="378"/>
                  </a:lnTo>
                  <a:lnTo>
                    <a:pt x="457" y="378"/>
                  </a:lnTo>
                  <a:lnTo>
                    <a:pt x="459" y="376"/>
                  </a:lnTo>
                  <a:lnTo>
                    <a:pt x="461" y="376"/>
                  </a:lnTo>
                  <a:lnTo>
                    <a:pt x="464" y="374"/>
                  </a:lnTo>
                  <a:lnTo>
                    <a:pt x="466" y="374"/>
                  </a:lnTo>
                  <a:lnTo>
                    <a:pt x="468" y="374"/>
                  </a:lnTo>
                  <a:lnTo>
                    <a:pt x="470" y="372"/>
                  </a:lnTo>
                  <a:lnTo>
                    <a:pt x="470" y="370"/>
                  </a:lnTo>
                  <a:lnTo>
                    <a:pt x="470" y="369"/>
                  </a:lnTo>
                  <a:lnTo>
                    <a:pt x="464" y="340"/>
                  </a:lnTo>
                  <a:lnTo>
                    <a:pt x="464" y="338"/>
                  </a:lnTo>
                  <a:lnTo>
                    <a:pt x="462" y="336"/>
                  </a:lnTo>
                  <a:lnTo>
                    <a:pt x="457" y="324"/>
                  </a:lnTo>
                  <a:lnTo>
                    <a:pt x="430" y="272"/>
                  </a:lnTo>
                  <a:lnTo>
                    <a:pt x="426" y="267"/>
                  </a:lnTo>
                  <a:lnTo>
                    <a:pt x="424" y="267"/>
                  </a:lnTo>
                  <a:lnTo>
                    <a:pt x="424" y="263"/>
                  </a:lnTo>
                  <a:lnTo>
                    <a:pt x="422" y="261"/>
                  </a:lnTo>
                  <a:lnTo>
                    <a:pt x="424" y="261"/>
                  </a:lnTo>
                  <a:lnTo>
                    <a:pt x="422" y="261"/>
                  </a:lnTo>
                  <a:lnTo>
                    <a:pt x="424" y="263"/>
                  </a:lnTo>
                  <a:lnTo>
                    <a:pt x="424" y="261"/>
                  </a:lnTo>
                  <a:lnTo>
                    <a:pt x="424" y="263"/>
                  </a:lnTo>
                  <a:lnTo>
                    <a:pt x="426" y="265"/>
                  </a:lnTo>
                  <a:lnTo>
                    <a:pt x="426" y="267"/>
                  </a:lnTo>
                  <a:lnTo>
                    <a:pt x="426" y="265"/>
                  </a:lnTo>
                  <a:lnTo>
                    <a:pt x="420" y="255"/>
                  </a:lnTo>
                  <a:lnTo>
                    <a:pt x="420" y="253"/>
                  </a:lnTo>
                  <a:lnTo>
                    <a:pt x="418" y="251"/>
                  </a:lnTo>
                  <a:lnTo>
                    <a:pt x="390" y="217"/>
                  </a:lnTo>
                  <a:lnTo>
                    <a:pt x="388" y="217"/>
                  </a:lnTo>
                  <a:lnTo>
                    <a:pt x="388" y="215"/>
                  </a:lnTo>
                  <a:lnTo>
                    <a:pt x="386" y="213"/>
                  </a:lnTo>
                  <a:lnTo>
                    <a:pt x="384" y="213"/>
                  </a:lnTo>
                  <a:lnTo>
                    <a:pt x="345" y="192"/>
                  </a:lnTo>
                  <a:lnTo>
                    <a:pt x="343" y="192"/>
                  </a:lnTo>
                  <a:lnTo>
                    <a:pt x="342" y="192"/>
                  </a:lnTo>
                  <a:lnTo>
                    <a:pt x="340" y="192"/>
                  </a:lnTo>
                  <a:lnTo>
                    <a:pt x="338" y="192"/>
                  </a:lnTo>
                  <a:lnTo>
                    <a:pt x="340" y="192"/>
                  </a:lnTo>
                  <a:lnTo>
                    <a:pt x="340" y="194"/>
                  </a:lnTo>
                  <a:lnTo>
                    <a:pt x="340" y="196"/>
                  </a:lnTo>
                  <a:lnTo>
                    <a:pt x="338" y="196"/>
                  </a:lnTo>
                  <a:lnTo>
                    <a:pt x="338" y="198"/>
                  </a:lnTo>
                  <a:lnTo>
                    <a:pt x="336" y="198"/>
                  </a:lnTo>
                  <a:lnTo>
                    <a:pt x="334" y="198"/>
                  </a:lnTo>
                  <a:lnTo>
                    <a:pt x="334" y="199"/>
                  </a:lnTo>
                  <a:lnTo>
                    <a:pt x="332" y="199"/>
                  </a:lnTo>
                  <a:lnTo>
                    <a:pt x="332" y="201"/>
                  </a:lnTo>
                  <a:lnTo>
                    <a:pt x="330" y="201"/>
                  </a:lnTo>
                  <a:lnTo>
                    <a:pt x="328" y="201"/>
                  </a:lnTo>
                  <a:lnTo>
                    <a:pt x="328" y="199"/>
                  </a:lnTo>
                  <a:lnTo>
                    <a:pt x="328" y="201"/>
                  </a:lnTo>
                  <a:lnTo>
                    <a:pt x="326" y="201"/>
                  </a:lnTo>
                  <a:lnTo>
                    <a:pt x="328" y="201"/>
                  </a:lnTo>
                  <a:lnTo>
                    <a:pt x="330" y="203"/>
                  </a:lnTo>
                  <a:lnTo>
                    <a:pt x="332" y="203"/>
                  </a:lnTo>
                  <a:lnTo>
                    <a:pt x="332" y="201"/>
                  </a:lnTo>
                  <a:lnTo>
                    <a:pt x="334" y="203"/>
                  </a:lnTo>
                  <a:lnTo>
                    <a:pt x="336" y="201"/>
                  </a:lnTo>
                  <a:lnTo>
                    <a:pt x="336" y="203"/>
                  </a:lnTo>
                  <a:lnTo>
                    <a:pt x="338" y="203"/>
                  </a:lnTo>
                  <a:lnTo>
                    <a:pt x="338" y="201"/>
                  </a:lnTo>
                  <a:lnTo>
                    <a:pt x="336" y="201"/>
                  </a:lnTo>
                  <a:lnTo>
                    <a:pt x="338" y="201"/>
                  </a:lnTo>
                  <a:lnTo>
                    <a:pt x="338" y="199"/>
                  </a:lnTo>
                  <a:lnTo>
                    <a:pt x="340" y="199"/>
                  </a:lnTo>
                  <a:lnTo>
                    <a:pt x="340" y="198"/>
                  </a:lnTo>
                  <a:lnTo>
                    <a:pt x="342" y="196"/>
                  </a:lnTo>
                  <a:lnTo>
                    <a:pt x="342" y="194"/>
                  </a:lnTo>
                  <a:lnTo>
                    <a:pt x="343" y="194"/>
                  </a:lnTo>
                  <a:lnTo>
                    <a:pt x="342" y="196"/>
                  </a:lnTo>
                  <a:lnTo>
                    <a:pt x="340" y="199"/>
                  </a:lnTo>
                  <a:lnTo>
                    <a:pt x="338" y="201"/>
                  </a:lnTo>
                  <a:lnTo>
                    <a:pt x="338" y="203"/>
                  </a:lnTo>
                  <a:lnTo>
                    <a:pt x="336" y="203"/>
                  </a:lnTo>
                  <a:lnTo>
                    <a:pt x="334" y="203"/>
                  </a:lnTo>
                  <a:lnTo>
                    <a:pt x="332" y="203"/>
                  </a:lnTo>
                  <a:lnTo>
                    <a:pt x="330" y="203"/>
                  </a:lnTo>
                  <a:lnTo>
                    <a:pt x="328" y="203"/>
                  </a:lnTo>
                  <a:lnTo>
                    <a:pt x="328" y="201"/>
                  </a:lnTo>
                  <a:lnTo>
                    <a:pt x="326" y="201"/>
                  </a:lnTo>
                  <a:lnTo>
                    <a:pt x="324" y="199"/>
                  </a:lnTo>
                  <a:lnTo>
                    <a:pt x="324" y="198"/>
                  </a:lnTo>
                  <a:lnTo>
                    <a:pt x="326" y="199"/>
                  </a:lnTo>
                  <a:lnTo>
                    <a:pt x="328" y="199"/>
                  </a:lnTo>
                  <a:lnTo>
                    <a:pt x="330" y="199"/>
                  </a:lnTo>
                  <a:lnTo>
                    <a:pt x="332" y="199"/>
                  </a:lnTo>
                  <a:lnTo>
                    <a:pt x="334" y="198"/>
                  </a:lnTo>
                  <a:lnTo>
                    <a:pt x="336" y="196"/>
                  </a:lnTo>
                  <a:lnTo>
                    <a:pt x="336" y="194"/>
                  </a:lnTo>
                  <a:lnTo>
                    <a:pt x="338" y="194"/>
                  </a:lnTo>
                  <a:lnTo>
                    <a:pt x="338" y="192"/>
                  </a:lnTo>
                  <a:lnTo>
                    <a:pt x="336" y="192"/>
                  </a:lnTo>
                  <a:lnTo>
                    <a:pt x="336" y="190"/>
                  </a:lnTo>
                  <a:close/>
                  <a:moveTo>
                    <a:pt x="240" y="689"/>
                  </a:moveTo>
                  <a:lnTo>
                    <a:pt x="240" y="687"/>
                  </a:lnTo>
                  <a:lnTo>
                    <a:pt x="240" y="685"/>
                  </a:lnTo>
                  <a:lnTo>
                    <a:pt x="238" y="685"/>
                  </a:lnTo>
                  <a:lnTo>
                    <a:pt x="240" y="687"/>
                  </a:lnTo>
                  <a:lnTo>
                    <a:pt x="238" y="687"/>
                  </a:lnTo>
                  <a:lnTo>
                    <a:pt x="238" y="689"/>
                  </a:lnTo>
                  <a:lnTo>
                    <a:pt x="238" y="687"/>
                  </a:lnTo>
                  <a:lnTo>
                    <a:pt x="236" y="689"/>
                  </a:lnTo>
                  <a:lnTo>
                    <a:pt x="238" y="689"/>
                  </a:lnTo>
                  <a:lnTo>
                    <a:pt x="236" y="691"/>
                  </a:lnTo>
                  <a:lnTo>
                    <a:pt x="232" y="689"/>
                  </a:lnTo>
                  <a:lnTo>
                    <a:pt x="232" y="687"/>
                  </a:lnTo>
                  <a:lnTo>
                    <a:pt x="234" y="687"/>
                  </a:lnTo>
                  <a:lnTo>
                    <a:pt x="234" y="685"/>
                  </a:lnTo>
                  <a:lnTo>
                    <a:pt x="232" y="685"/>
                  </a:lnTo>
                  <a:lnTo>
                    <a:pt x="230" y="685"/>
                  </a:lnTo>
                  <a:lnTo>
                    <a:pt x="228" y="685"/>
                  </a:lnTo>
                  <a:lnTo>
                    <a:pt x="226" y="685"/>
                  </a:lnTo>
                  <a:lnTo>
                    <a:pt x="226" y="684"/>
                  </a:lnTo>
                  <a:lnTo>
                    <a:pt x="226" y="682"/>
                  </a:lnTo>
                  <a:lnTo>
                    <a:pt x="224" y="682"/>
                  </a:lnTo>
                  <a:lnTo>
                    <a:pt x="223" y="682"/>
                  </a:lnTo>
                  <a:lnTo>
                    <a:pt x="223" y="680"/>
                  </a:lnTo>
                  <a:lnTo>
                    <a:pt x="221" y="680"/>
                  </a:lnTo>
                  <a:lnTo>
                    <a:pt x="219" y="680"/>
                  </a:lnTo>
                  <a:lnTo>
                    <a:pt x="217" y="680"/>
                  </a:lnTo>
                  <a:lnTo>
                    <a:pt x="215" y="680"/>
                  </a:lnTo>
                  <a:lnTo>
                    <a:pt x="213" y="680"/>
                  </a:lnTo>
                  <a:lnTo>
                    <a:pt x="209" y="682"/>
                  </a:lnTo>
                  <a:lnTo>
                    <a:pt x="203" y="682"/>
                  </a:lnTo>
                  <a:lnTo>
                    <a:pt x="194" y="685"/>
                  </a:lnTo>
                  <a:lnTo>
                    <a:pt x="186" y="687"/>
                  </a:lnTo>
                  <a:lnTo>
                    <a:pt x="184" y="687"/>
                  </a:lnTo>
                  <a:lnTo>
                    <a:pt x="182" y="687"/>
                  </a:lnTo>
                  <a:lnTo>
                    <a:pt x="180" y="687"/>
                  </a:lnTo>
                  <a:lnTo>
                    <a:pt x="180" y="689"/>
                  </a:lnTo>
                  <a:lnTo>
                    <a:pt x="180" y="687"/>
                  </a:lnTo>
                  <a:lnTo>
                    <a:pt x="178" y="687"/>
                  </a:lnTo>
                  <a:lnTo>
                    <a:pt x="176" y="689"/>
                  </a:lnTo>
                  <a:lnTo>
                    <a:pt x="175" y="689"/>
                  </a:lnTo>
                  <a:lnTo>
                    <a:pt x="175" y="691"/>
                  </a:lnTo>
                  <a:lnTo>
                    <a:pt x="175" y="693"/>
                  </a:lnTo>
                  <a:lnTo>
                    <a:pt x="175" y="695"/>
                  </a:lnTo>
                  <a:lnTo>
                    <a:pt x="173" y="693"/>
                  </a:lnTo>
                  <a:lnTo>
                    <a:pt x="171" y="691"/>
                  </a:lnTo>
                  <a:lnTo>
                    <a:pt x="169" y="689"/>
                  </a:lnTo>
                  <a:lnTo>
                    <a:pt x="169" y="687"/>
                  </a:lnTo>
                  <a:lnTo>
                    <a:pt x="169" y="689"/>
                  </a:lnTo>
                  <a:lnTo>
                    <a:pt x="171" y="689"/>
                  </a:lnTo>
                  <a:lnTo>
                    <a:pt x="171" y="687"/>
                  </a:lnTo>
                  <a:lnTo>
                    <a:pt x="171" y="689"/>
                  </a:lnTo>
                  <a:lnTo>
                    <a:pt x="173" y="687"/>
                  </a:lnTo>
                  <a:lnTo>
                    <a:pt x="175" y="685"/>
                  </a:lnTo>
                  <a:lnTo>
                    <a:pt x="175" y="684"/>
                  </a:lnTo>
                  <a:lnTo>
                    <a:pt x="175" y="682"/>
                  </a:lnTo>
                  <a:lnTo>
                    <a:pt x="173" y="682"/>
                  </a:lnTo>
                  <a:lnTo>
                    <a:pt x="173" y="680"/>
                  </a:lnTo>
                  <a:lnTo>
                    <a:pt x="171" y="680"/>
                  </a:lnTo>
                  <a:lnTo>
                    <a:pt x="171" y="678"/>
                  </a:lnTo>
                  <a:lnTo>
                    <a:pt x="169" y="676"/>
                  </a:lnTo>
                  <a:lnTo>
                    <a:pt x="167" y="674"/>
                  </a:lnTo>
                  <a:lnTo>
                    <a:pt x="169" y="674"/>
                  </a:lnTo>
                  <a:lnTo>
                    <a:pt x="169" y="672"/>
                  </a:lnTo>
                  <a:lnTo>
                    <a:pt x="167" y="672"/>
                  </a:lnTo>
                  <a:lnTo>
                    <a:pt x="167" y="674"/>
                  </a:lnTo>
                  <a:lnTo>
                    <a:pt x="165" y="674"/>
                  </a:lnTo>
                  <a:lnTo>
                    <a:pt x="165" y="676"/>
                  </a:lnTo>
                  <a:lnTo>
                    <a:pt x="163" y="674"/>
                  </a:lnTo>
                  <a:lnTo>
                    <a:pt x="165" y="674"/>
                  </a:lnTo>
                  <a:lnTo>
                    <a:pt x="165" y="672"/>
                  </a:lnTo>
                  <a:lnTo>
                    <a:pt x="167" y="670"/>
                  </a:lnTo>
                  <a:lnTo>
                    <a:pt x="165" y="668"/>
                  </a:lnTo>
                  <a:lnTo>
                    <a:pt x="163" y="672"/>
                  </a:lnTo>
                  <a:lnTo>
                    <a:pt x="163" y="674"/>
                  </a:lnTo>
                  <a:lnTo>
                    <a:pt x="163" y="672"/>
                  </a:lnTo>
                  <a:lnTo>
                    <a:pt x="165" y="668"/>
                  </a:lnTo>
                  <a:lnTo>
                    <a:pt x="165" y="666"/>
                  </a:lnTo>
                  <a:lnTo>
                    <a:pt x="167" y="666"/>
                  </a:lnTo>
                  <a:lnTo>
                    <a:pt x="165" y="666"/>
                  </a:lnTo>
                  <a:lnTo>
                    <a:pt x="167" y="666"/>
                  </a:lnTo>
                  <a:lnTo>
                    <a:pt x="167" y="664"/>
                  </a:lnTo>
                  <a:lnTo>
                    <a:pt x="167" y="666"/>
                  </a:lnTo>
                  <a:lnTo>
                    <a:pt x="167" y="664"/>
                  </a:lnTo>
                  <a:lnTo>
                    <a:pt x="167" y="662"/>
                  </a:lnTo>
                  <a:lnTo>
                    <a:pt x="167" y="660"/>
                  </a:lnTo>
                  <a:lnTo>
                    <a:pt x="167" y="647"/>
                  </a:lnTo>
                  <a:lnTo>
                    <a:pt x="167" y="637"/>
                  </a:lnTo>
                  <a:lnTo>
                    <a:pt x="167" y="636"/>
                  </a:lnTo>
                  <a:lnTo>
                    <a:pt x="165" y="634"/>
                  </a:lnTo>
                  <a:lnTo>
                    <a:pt x="161" y="624"/>
                  </a:lnTo>
                  <a:lnTo>
                    <a:pt x="159" y="622"/>
                  </a:lnTo>
                  <a:lnTo>
                    <a:pt x="159" y="620"/>
                  </a:lnTo>
                  <a:lnTo>
                    <a:pt x="159" y="618"/>
                  </a:lnTo>
                  <a:lnTo>
                    <a:pt x="161" y="616"/>
                  </a:lnTo>
                  <a:lnTo>
                    <a:pt x="161" y="614"/>
                  </a:lnTo>
                  <a:lnTo>
                    <a:pt x="163" y="614"/>
                  </a:lnTo>
                  <a:lnTo>
                    <a:pt x="163" y="612"/>
                  </a:lnTo>
                  <a:lnTo>
                    <a:pt x="165" y="612"/>
                  </a:lnTo>
                  <a:lnTo>
                    <a:pt x="165" y="611"/>
                  </a:lnTo>
                  <a:lnTo>
                    <a:pt x="165" y="609"/>
                  </a:lnTo>
                  <a:lnTo>
                    <a:pt x="165" y="611"/>
                  </a:lnTo>
                  <a:lnTo>
                    <a:pt x="167" y="611"/>
                  </a:lnTo>
                  <a:lnTo>
                    <a:pt x="176" y="607"/>
                  </a:lnTo>
                  <a:lnTo>
                    <a:pt x="176" y="605"/>
                  </a:lnTo>
                  <a:lnTo>
                    <a:pt x="176" y="603"/>
                  </a:lnTo>
                  <a:lnTo>
                    <a:pt x="176" y="605"/>
                  </a:lnTo>
                  <a:lnTo>
                    <a:pt x="190" y="599"/>
                  </a:lnTo>
                  <a:lnTo>
                    <a:pt x="192" y="597"/>
                  </a:lnTo>
                  <a:lnTo>
                    <a:pt x="196" y="589"/>
                  </a:lnTo>
                  <a:lnTo>
                    <a:pt x="167" y="605"/>
                  </a:lnTo>
                  <a:lnTo>
                    <a:pt x="161" y="609"/>
                  </a:lnTo>
                  <a:lnTo>
                    <a:pt x="159" y="609"/>
                  </a:lnTo>
                  <a:lnTo>
                    <a:pt x="196" y="589"/>
                  </a:lnTo>
                  <a:lnTo>
                    <a:pt x="198" y="589"/>
                  </a:lnTo>
                  <a:lnTo>
                    <a:pt x="203" y="586"/>
                  </a:lnTo>
                  <a:lnTo>
                    <a:pt x="217" y="578"/>
                  </a:lnTo>
                  <a:lnTo>
                    <a:pt x="234" y="570"/>
                  </a:lnTo>
                  <a:lnTo>
                    <a:pt x="238" y="568"/>
                  </a:lnTo>
                  <a:lnTo>
                    <a:pt x="236" y="568"/>
                  </a:lnTo>
                  <a:lnTo>
                    <a:pt x="238" y="568"/>
                  </a:lnTo>
                  <a:lnTo>
                    <a:pt x="240" y="566"/>
                  </a:lnTo>
                  <a:lnTo>
                    <a:pt x="253" y="561"/>
                  </a:lnTo>
                  <a:lnTo>
                    <a:pt x="240" y="568"/>
                  </a:lnTo>
                  <a:lnTo>
                    <a:pt x="236" y="568"/>
                  </a:lnTo>
                  <a:lnTo>
                    <a:pt x="244" y="570"/>
                  </a:lnTo>
                  <a:lnTo>
                    <a:pt x="248" y="568"/>
                  </a:lnTo>
                  <a:lnTo>
                    <a:pt x="248" y="566"/>
                  </a:lnTo>
                  <a:lnTo>
                    <a:pt x="248" y="568"/>
                  </a:lnTo>
                  <a:lnTo>
                    <a:pt x="249" y="568"/>
                  </a:lnTo>
                  <a:lnTo>
                    <a:pt x="249" y="566"/>
                  </a:lnTo>
                  <a:lnTo>
                    <a:pt x="249" y="568"/>
                  </a:lnTo>
                  <a:lnTo>
                    <a:pt x="251" y="568"/>
                  </a:lnTo>
                  <a:lnTo>
                    <a:pt x="251" y="566"/>
                  </a:lnTo>
                  <a:lnTo>
                    <a:pt x="255" y="564"/>
                  </a:lnTo>
                  <a:lnTo>
                    <a:pt x="259" y="559"/>
                  </a:lnTo>
                  <a:lnTo>
                    <a:pt x="257" y="559"/>
                  </a:lnTo>
                  <a:lnTo>
                    <a:pt x="255" y="559"/>
                  </a:lnTo>
                  <a:lnTo>
                    <a:pt x="276" y="547"/>
                  </a:lnTo>
                  <a:lnTo>
                    <a:pt x="282" y="545"/>
                  </a:lnTo>
                  <a:lnTo>
                    <a:pt x="391" y="478"/>
                  </a:lnTo>
                  <a:lnTo>
                    <a:pt x="393" y="476"/>
                  </a:lnTo>
                  <a:lnTo>
                    <a:pt x="395" y="474"/>
                  </a:lnTo>
                  <a:lnTo>
                    <a:pt x="397" y="472"/>
                  </a:lnTo>
                  <a:lnTo>
                    <a:pt x="397" y="474"/>
                  </a:lnTo>
                  <a:lnTo>
                    <a:pt x="395" y="476"/>
                  </a:lnTo>
                  <a:lnTo>
                    <a:pt x="397" y="476"/>
                  </a:lnTo>
                  <a:lnTo>
                    <a:pt x="401" y="476"/>
                  </a:lnTo>
                  <a:lnTo>
                    <a:pt x="403" y="476"/>
                  </a:lnTo>
                  <a:lnTo>
                    <a:pt x="403" y="474"/>
                  </a:lnTo>
                  <a:lnTo>
                    <a:pt x="405" y="474"/>
                  </a:lnTo>
                  <a:lnTo>
                    <a:pt x="407" y="472"/>
                  </a:lnTo>
                  <a:lnTo>
                    <a:pt x="413" y="466"/>
                  </a:lnTo>
                  <a:lnTo>
                    <a:pt x="411" y="465"/>
                  </a:lnTo>
                  <a:lnTo>
                    <a:pt x="413" y="466"/>
                  </a:lnTo>
                  <a:lnTo>
                    <a:pt x="416" y="463"/>
                  </a:lnTo>
                  <a:lnTo>
                    <a:pt x="420" y="461"/>
                  </a:lnTo>
                  <a:lnTo>
                    <a:pt x="422" y="461"/>
                  </a:lnTo>
                  <a:lnTo>
                    <a:pt x="422" y="459"/>
                  </a:lnTo>
                  <a:lnTo>
                    <a:pt x="420" y="457"/>
                  </a:lnTo>
                  <a:lnTo>
                    <a:pt x="422" y="459"/>
                  </a:lnTo>
                  <a:lnTo>
                    <a:pt x="424" y="459"/>
                  </a:lnTo>
                  <a:lnTo>
                    <a:pt x="426" y="459"/>
                  </a:lnTo>
                  <a:lnTo>
                    <a:pt x="424" y="457"/>
                  </a:lnTo>
                  <a:lnTo>
                    <a:pt x="426" y="457"/>
                  </a:lnTo>
                  <a:lnTo>
                    <a:pt x="428" y="455"/>
                  </a:lnTo>
                  <a:lnTo>
                    <a:pt x="430" y="455"/>
                  </a:lnTo>
                  <a:lnTo>
                    <a:pt x="432" y="453"/>
                  </a:lnTo>
                  <a:lnTo>
                    <a:pt x="432" y="451"/>
                  </a:lnTo>
                  <a:lnTo>
                    <a:pt x="432" y="449"/>
                  </a:lnTo>
                  <a:lnTo>
                    <a:pt x="432" y="451"/>
                  </a:lnTo>
                  <a:lnTo>
                    <a:pt x="432" y="453"/>
                  </a:lnTo>
                  <a:lnTo>
                    <a:pt x="436" y="451"/>
                  </a:lnTo>
                  <a:lnTo>
                    <a:pt x="438" y="449"/>
                  </a:lnTo>
                  <a:lnTo>
                    <a:pt x="439" y="447"/>
                  </a:lnTo>
                  <a:lnTo>
                    <a:pt x="441" y="445"/>
                  </a:lnTo>
                  <a:lnTo>
                    <a:pt x="441" y="443"/>
                  </a:lnTo>
                  <a:lnTo>
                    <a:pt x="443" y="442"/>
                  </a:lnTo>
                  <a:lnTo>
                    <a:pt x="443" y="440"/>
                  </a:lnTo>
                  <a:lnTo>
                    <a:pt x="443" y="438"/>
                  </a:lnTo>
                  <a:lnTo>
                    <a:pt x="443" y="440"/>
                  </a:lnTo>
                  <a:lnTo>
                    <a:pt x="441" y="438"/>
                  </a:lnTo>
                  <a:lnTo>
                    <a:pt x="441" y="440"/>
                  </a:lnTo>
                  <a:lnTo>
                    <a:pt x="439" y="440"/>
                  </a:lnTo>
                  <a:lnTo>
                    <a:pt x="441" y="442"/>
                  </a:lnTo>
                  <a:lnTo>
                    <a:pt x="441" y="440"/>
                  </a:lnTo>
                  <a:lnTo>
                    <a:pt x="439" y="440"/>
                  </a:lnTo>
                  <a:lnTo>
                    <a:pt x="441" y="442"/>
                  </a:lnTo>
                  <a:lnTo>
                    <a:pt x="439" y="442"/>
                  </a:lnTo>
                  <a:lnTo>
                    <a:pt x="439" y="440"/>
                  </a:lnTo>
                  <a:lnTo>
                    <a:pt x="441" y="438"/>
                  </a:lnTo>
                  <a:lnTo>
                    <a:pt x="439" y="436"/>
                  </a:lnTo>
                  <a:lnTo>
                    <a:pt x="439" y="434"/>
                  </a:lnTo>
                  <a:lnTo>
                    <a:pt x="439" y="432"/>
                  </a:lnTo>
                  <a:lnTo>
                    <a:pt x="439" y="430"/>
                  </a:lnTo>
                  <a:lnTo>
                    <a:pt x="439" y="428"/>
                  </a:lnTo>
                  <a:lnTo>
                    <a:pt x="439" y="426"/>
                  </a:lnTo>
                  <a:lnTo>
                    <a:pt x="439" y="428"/>
                  </a:lnTo>
                  <a:lnTo>
                    <a:pt x="439" y="426"/>
                  </a:lnTo>
                  <a:lnTo>
                    <a:pt x="439" y="428"/>
                  </a:lnTo>
                  <a:lnTo>
                    <a:pt x="438" y="430"/>
                  </a:lnTo>
                  <a:lnTo>
                    <a:pt x="436" y="436"/>
                  </a:lnTo>
                  <a:lnTo>
                    <a:pt x="438" y="430"/>
                  </a:lnTo>
                  <a:lnTo>
                    <a:pt x="436" y="430"/>
                  </a:lnTo>
                  <a:lnTo>
                    <a:pt x="436" y="428"/>
                  </a:lnTo>
                  <a:lnTo>
                    <a:pt x="436" y="426"/>
                  </a:lnTo>
                  <a:lnTo>
                    <a:pt x="436" y="424"/>
                  </a:lnTo>
                  <a:lnTo>
                    <a:pt x="438" y="424"/>
                  </a:lnTo>
                  <a:lnTo>
                    <a:pt x="438" y="420"/>
                  </a:lnTo>
                  <a:lnTo>
                    <a:pt x="438" y="418"/>
                  </a:lnTo>
                  <a:lnTo>
                    <a:pt x="439" y="418"/>
                  </a:lnTo>
                  <a:lnTo>
                    <a:pt x="441" y="413"/>
                  </a:lnTo>
                  <a:lnTo>
                    <a:pt x="439" y="418"/>
                  </a:lnTo>
                  <a:lnTo>
                    <a:pt x="439" y="420"/>
                  </a:lnTo>
                  <a:lnTo>
                    <a:pt x="438" y="420"/>
                  </a:lnTo>
                  <a:lnTo>
                    <a:pt x="438" y="422"/>
                  </a:lnTo>
                  <a:lnTo>
                    <a:pt x="439" y="422"/>
                  </a:lnTo>
                  <a:lnTo>
                    <a:pt x="439" y="424"/>
                  </a:lnTo>
                  <a:lnTo>
                    <a:pt x="439" y="426"/>
                  </a:lnTo>
                  <a:lnTo>
                    <a:pt x="439" y="424"/>
                  </a:lnTo>
                  <a:lnTo>
                    <a:pt x="439" y="422"/>
                  </a:lnTo>
                  <a:lnTo>
                    <a:pt x="439" y="424"/>
                  </a:lnTo>
                  <a:lnTo>
                    <a:pt x="439" y="426"/>
                  </a:lnTo>
                  <a:lnTo>
                    <a:pt x="439" y="424"/>
                  </a:lnTo>
                  <a:lnTo>
                    <a:pt x="439" y="422"/>
                  </a:lnTo>
                  <a:lnTo>
                    <a:pt x="441" y="422"/>
                  </a:lnTo>
                  <a:lnTo>
                    <a:pt x="443" y="418"/>
                  </a:lnTo>
                  <a:lnTo>
                    <a:pt x="445" y="418"/>
                  </a:lnTo>
                  <a:lnTo>
                    <a:pt x="441" y="422"/>
                  </a:lnTo>
                  <a:lnTo>
                    <a:pt x="443" y="422"/>
                  </a:lnTo>
                  <a:lnTo>
                    <a:pt x="445" y="422"/>
                  </a:lnTo>
                  <a:lnTo>
                    <a:pt x="445" y="420"/>
                  </a:lnTo>
                  <a:lnTo>
                    <a:pt x="445" y="418"/>
                  </a:lnTo>
                  <a:lnTo>
                    <a:pt x="447" y="420"/>
                  </a:lnTo>
                  <a:lnTo>
                    <a:pt x="449" y="418"/>
                  </a:lnTo>
                  <a:lnTo>
                    <a:pt x="449" y="417"/>
                  </a:lnTo>
                  <a:lnTo>
                    <a:pt x="451" y="417"/>
                  </a:lnTo>
                  <a:lnTo>
                    <a:pt x="449" y="417"/>
                  </a:lnTo>
                  <a:lnTo>
                    <a:pt x="449" y="415"/>
                  </a:lnTo>
                  <a:lnTo>
                    <a:pt x="447" y="415"/>
                  </a:lnTo>
                  <a:lnTo>
                    <a:pt x="447" y="417"/>
                  </a:lnTo>
                  <a:lnTo>
                    <a:pt x="445" y="418"/>
                  </a:lnTo>
                  <a:lnTo>
                    <a:pt x="447" y="417"/>
                  </a:lnTo>
                  <a:lnTo>
                    <a:pt x="447" y="415"/>
                  </a:lnTo>
                  <a:lnTo>
                    <a:pt x="449" y="415"/>
                  </a:lnTo>
                  <a:lnTo>
                    <a:pt x="451" y="417"/>
                  </a:lnTo>
                  <a:lnTo>
                    <a:pt x="453" y="415"/>
                  </a:lnTo>
                  <a:lnTo>
                    <a:pt x="453" y="413"/>
                  </a:lnTo>
                  <a:lnTo>
                    <a:pt x="457" y="407"/>
                  </a:lnTo>
                  <a:lnTo>
                    <a:pt x="457" y="403"/>
                  </a:lnTo>
                  <a:lnTo>
                    <a:pt x="459" y="401"/>
                  </a:lnTo>
                  <a:lnTo>
                    <a:pt x="457" y="399"/>
                  </a:lnTo>
                  <a:lnTo>
                    <a:pt x="459" y="399"/>
                  </a:lnTo>
                  <a:lnTo>
                    <a:pt x="459" y="397"/>
                  </a:lnTo>
                  <a:lnTo>
                    <a:pt x="461" y="395"/>
                  </a:lnTo>
                  <a:lnTo>
                    <a:pt x="459" y="395"/>
                  </a:lnTo>
                  <a:lnTo>
                    <a:pt x="459" y="393"/>
                  </a:lnTo>
                  <a:lnTo>
                    <a:pt x="461" y="392"/>
                  </a:lnTo>
                  <a:lnTo>
                    <a:pt x="462" y="390"/>
                  </a:lnTo>
                  <a:lnTo>
                    <a:pt x="464" y="390"/>
                  </a:lnTo>
                  <a:lnTo>
                    <a:pt x="466" y="390"/>
                  </a:lnTo>
                  <a:lnTo>
                    <a:pt x="466" y="392"/>
                  </a:lnTo>
                  <a:lnTo>
                    <a:pt x="466" y="390"/>
                  </a:lnTo>
                  <a:lnTo>
                    <a:pt x="462" y="390"/>
                  </a:lnTo>
                  <a:lnTo>
                    <a:pt x="461" y="392"/>
                  </a:lnTo>
                  <a:lnTo>
                    <a:pt x="459" y="393"/>
                  </a:lnTo>
                  <a:lnTo>
                    <a:pt x="459" y="395"/>
                  </a:lnTo>
                  <a:lnTo>
                    <a:pt x="461" y="395"/>
                  </a:lnTo>
                  <a:lnTo>
                    <a:pt x="462" y="395"/>
                  </a:lnTo>
                  <a:lnTo>
                    <a:pt x="462" y="393"/>
                  </a:lnTo>
                  <a:lnTo>
                    <a:pt x="464" y="393"/>
                  </a:lnTo>
                  <a:lnTo>
                    <a:pt x="466" y="393"/>
                  </a:lnTo>
                  <a:lnTo>
                    <a:pt x="466" y="392"/>
                  </a:lnTo>
                  <a:lnTo>
                    <a:pt x="466" y="393"/>
                  </a:lnTo>
                  <a:lnTo>
                    <a:pt x="478" y="393"/>
                  </a:lnTo>
                  <a:lnTo>
                    <a:pt x="489" y="393"/>
                  </a:lnTo>
                  <a:lnTo>
                    <a:pt x="491" y="393"/>
                  </a:lnTo>
                  <a:lnTo>
                    <a:pt x="493" y="393"/>
                  </a:lnTo>
                  <a:lnTo>
                    <a:pt x="495" y="392"/>
                  </a:lnTo>
                  <a:lnTo>
                    <a:pt x="497" y="392"/>
                  </a:lnTo>
                  <a:lnTo>
                    <a:pt x="499" y="390"/>
                  </a:lnTo>
                  <a:lnTo>
                    <a:pt x="516" y="374"/>
                  </a:lnTo>
                  <a:lnTo>
                    <a:pt x="526" y="365"/>
                  </a:lnTo>
                  <a:lnTo>
                    <a:pt x="530" y="361"/>
                  </a:lnTo>
                  <a:lnTo>
                    <a:pt x="547" y="345"/>
                  </a:lnTo>
                  <a:lnTo>
                    <a:pt x="551" y="344"/>
                  </a:lnTo>
                  <a:lnTo>
                    <a:pt x="553" y="342"/>
                  </a:lnTo>
                  <a:lnTo>
                    <a:pt x="553" y="340"/>
                  </a:lnTo>
                  <a:lnTo>
                    <a:pt x="557" y="340"/>
                  </a:lnTo>
                  <a:lnTo>
                    <a:pt x="558" y="338"/>
                  </a:lnTo>
                  <a:lnTo>
                    <a:pt x="562" y="338"/>
                  </a:lnTo>
                  <a:lnTo>
                    <a:pt x="568" y="336"/>
                  </a:lnTo>
                  <a:lnTo>
                    <a:pt x="593" y="332"/>
                  </a:lnTo>
                  <a:lnTo>
                    <a:pt x="608" y="328"/>
                  </a:lnTo>
                  <a:lnTo>
                    <a:pt x="610" y="328"/>
                  </a:lnTo>
                  <a:lnTo>
                    <a:pt x="612" y="326"/>
                  </a:lnTo>
                  <a:lnTo>
                    <a:pt x="614" y="326"/>
                  </a:lnTo>
                  <a:lnTo>
                    <a:pt x="616" y="326"/>
                  </a:lnTo>
                  <a:lnTo>
                    <a:pt x="618" y="324"/>
                  </a:lnTo>
                  <a:lnTo>
                    <a:pt x="622" y="320"/>
                  </a:lnTo>
                  <a:lnTo>
                    <a:pt x="622" y="322"/>
                  </a:lnTo>
                  <a:lnTo>
                    <a:pt x="624" y="322"/>
                  </a:lnTo>
                  <a:lnTo>
                    <a:pt x="622" y="322"/>
                  </a:lnTo>
                  <a:lnTo>
                    <a:pt x="622" y="324"/>
                  </a:lnTo>
                  <a:lnTo>
                    <a:pt x="622" y="326"/>
                  </a:lnTo>
                  <a:lnTo>
                    <a:pt x="624" y="328"/>
                  </a:lnTo>
                  <a:lnTo>
                    <a:pt x="624" y="330"/>
                  </a:lnTo>
                  <a:lnTo>
                    <a:pt x="629" y="336"/>
                  </a:lnTo>
                  <a:lnTo>
                    <a:pt x="629" y="338"/>
                  </a:lnTo>
                  <a:lnTo>
                    <a:pt x="631" y="340"/>
                  </a:lnTo>
                  <a:lnTo>
                    <a:pt x="633" y="340"/>
                  </a:lnTo>
                  <a:lnTo>
                    <a:pt x="633" y="342"/>
                  </a:lnTo>
                  <a:lnTo>
                    <a:pt x="635" y="342"/>
                  </a:lnTo>
                  <a:lnTo>
                    <a:pt x="641" y="344"/>
                  </a:lnTo>
                  <a:lnTo>
                    <a:pt x="651" y="347"/>
                  </a:lnTo>
                  <a:lnTo>
                    <a:pt x="666" y="351"/>
                  </a:lnTo>
                  <a:lnTo>
                    <a:pt x="676" y="353"/>
                  </a:lnTo>
                  <a:lnTo>
                    <a:pt x="679" y="355"/>
                  </a:lnTo>
                  <a:lnTo>
                    <a:pt x="691" y="359"/>
                  </a:lnTo>
                  <a:lnTo>
                    <a:pt x="718" y="367"/>
                  </a:lnTo>
                  <a:lnTo>
                    <a:pt x="718" y="369"/>
                  </a:lnTo>
                  <a:lnTo>
                    <a:pt x="718" y="370"/>
                  </a:lnTo>
                  <a:lnTo>
                    <a:pt x="720" y="369"/>
                  </a:lnTo>
                  <a:lnTo>
                    <a:pt x="720" y="367"/>
                  </a:lnTo>
                  <a:lnTo>
                    <a:pt x="722" y="367"/>
                  </a:lnTo>
                  <a:lnTo>
                    <a:pt x="720" y="369"/>
                  </a:lnTo>
                  <a:lnTo>
                    <a:pt x="718" y="370"/>
                  </a:lnTo>
                  <a:lnTo>
                    <a:pt x="720" y="370"/>
                  </a:lnTo>
                  <a:lnTo>
                    <a:pt x="718" y="370"/>
                  </a:lnTo>
                  <a:lnTo>
                    <a:pt x="720" y="370"/>
                  </a:lnTo>
                  <a:lnTo>
                    <a:pt x="722" y="369"/>
                  </a:lnTo>
                  <a:lnTo>
                    <a:pt x="723" y="369"/>
                  </a:lnTo>
                  <a:lnTo>
                    <a:pt x="722" y="369"/>
                  </a:lnTo>
                  <a:lnTo>
                    <a:pt x="722" y="370"/>
                  </a:lnTo>
                  <a:lnTo>
                    <a:pt x="723" y="370"/>
                  </a:lnTo>
                  <a:lnTo>
                    <a:pt x="723" y="369"/>
                  </a:lnTo>
                  <a:lnTo>
                    <a:pt x="723" y="370"/>
                  </a:lnTo>
                  <a:lnTo>
                    <a:pt x="727" y="370"/>
                  </a:lnTo>
                  <a:lnTo>
                    <a:pt x="733" y="372"/>
                  </a:lnTo>
                  <a:lnTo>
                    <a:pt x="739" y="370"/>
                  </a:lnTo>
                  <a:lnTo>
                    <a:pt x="741" y="370"/>
                  </a:lnTo>
                  <a:lnTo>
                    <a:pt x="756" y="372"/>
                  </a:lnTo>
                  <a:lnTo>
                    <a:pt x="760" y="372"/>
                  </a:lnTo>
                  <a:lnTo>
                    <a:pt x="762" y="374"/>
                  </a:lnTo>
                  <a:lnTo>
                    <a:pt x="764" y="374"/>
                  </a:lnTo>
                  <a:lnTo>
                    <a:pt x="766" y="376"/>
                  </a:lnTo>
                  <a:lnTo>
                    <a:pt x="775" y="390"/>
                  </a:lnTo>
                  <a:lnTo>
                    <a:pt x="795" y="411"/>
                  </a:lnTo>
                  <a:lnTo>
                    <a:pt x="795" y="413"/>
                  </a:lnTo>
                  <a:lnTo>
                    <a:pt x="796" y="415"/>
                  </a:lnTo>
                  <a:lnTo>
                    <a:pt x="796" y="417"/>
                  </a:lnTo>
                  <a:lnTo>
                    <a:pt x="796" y="418"/>
                  </a:lnTo>
                  <a:lnTo>
                    <a:pt x="798" y="422"/>
                  </a:lnTo>
                  <a:lnTo>
                    <a:pt x="798" y="424"/>
                  </a:lnTo>
                  <a:lnTo>
                    <a:pt x="798" y="426"/>
                  </a:lnTo>
                  <a:lnTo>
                    <a:pt x="798" y="428"/>
                  </a:lnTo>
                  <a:lnTo>
                    <a:pt x="798" y="430"/>
                  </a:lnTo>
                  <a:lnTo>
                    <a:pt x="798" y="432"/>
                  </a:lnTo>
                  <a:lnTo>
                    <a:pt x="798" y="434"/>
                  </a:lnTo>
                  <a:lnTo>
                    <a:pt x="798" y="436"/>
                  </a:lnTo>
                  <a:lnTo>
                    <a:pt x="798" y="438"/>
                  </a:lnTo>
                  <a:lnTo>
                    <a:pt x="798" y="440"/>
                  </a:lnTo>
                  <a:lnTo>
                    <a:pt x="798" y="442"/>
                  </a:lnTo>
                  <a:lnTo>
                    <a:pt x="798" y="443"/>
                  </a:lnTo>
                  <a:lnTo>
                    <a:pt x="798" y="445"/>
                  </a:lnTo>
                  <a:lnTo>
                    <a:pt x="798" y="447"/>
                  </a:lnTo>
                  <a:lnTo>
                    <a:pt x="798" y="449"/>
                  </a:lnTo>
                  <a:lnTo>
                    <a:pt x="798" y="451"/>
                  </a:lnTo>
                  <a:lnTo>
                    <a:pt x="798" y="453"/>
                  </a:lnTo>
                  <a:lnTo>
                    <a:pt x="798" y="455"/>
                  </a:lnTo>
                  <a:lnTo>
                    <a:pt x="796" y="455"/>
                  </a:lnTo>
                  <a:lnTo>
                    <a:pt x="798" y="455"/>
                  </a:lnTo>
                  <a:lnTo>
                    <a:pt x="798" y="457"/>
                  </a:lnTo>
                  <a:lnTo>
                    <a:pt x="798" y="459"/>
                  </a:lnTo>
                  <a:lnTo>
                    <a:pt x="798" y="461"/>
                  </a:lnTo>
                  <a:lnTo>
                    <a:pt x="796" y="461"/>
                  </a:lnTo>
                  <a:lnTo>
                    <a:pt x="796" y="463"/>
                  </a:lnTo>
                  <a:lnTo>
                    <a:pt x="796" y="465"/>
                  </a:lnTo>
                  <a:lnTo>
                    <a:pt x="796" y="466"/>
                  </a:lnTo>
                  <a:lnTo>
                    <a:pt x="795" y="466"/>
                  </a:lnTo>
                  <a:lnTo>
                    <a:pt x="795" y="468"/>
                  </a:lnTo>
                  <a:lnTo>
                    <a:pt x="795" y="470"/>
                  </a:lnTo>
                  <a:lnTo>
                    <a:pt x="795" y="472"/>
                  </a:lnTo>
                  <a:lnTo>
                    <a:pt x="793" y="474"/>
                  </a:lnTo>
                  <a:lnTo>
                    <a:pt x="795" y="476"/>
                  </a:lnTo>
                  <a:lnTo>
                    <a:pt x="795" y="478"/>
                  </a:lnTo>
                  <a:lnTo>
                    <a:pt x="793" y="478"/>
                  </a:lnTo>
                  <a:lnTo>
                    <a:pt x="793" y="480"/>
                  </a:lnTo>
                  <a:lnTo>
                    <a:pt x="793" y="482"/>
                  </a:lnTo>
                  <a:lnTo>
                    <a:pt x="793" y="484"/>
                  </a:lnTo>
                  <a:lnTo>
                    <a:pt x="791" y="484"/>
                  </a:lnTo>
                  <a:lnTo>
                    <a:pt x="791" y="486"/>
                  </a:lnTo>
                  <a:lnTo>
                    <a:pt x="791" y="488"/>
                  </a:lnTo>
                  <a:lnTo>
                    <a:pt x="791" y="490"/>
                  </a:lnTo>
                  <a:lnTo>
                    <a:pt x="791" y="491"/>
                  </a:lnTo>
                  <a:lnTo>
                    <a:pt x="789" y="493"/>
                  </a:lnTo>
                  <a:lnTo>
                    <a:pt x="789" y="495"/>
                  </a:lnTo>
                  <a:lnTo>
                    <a:pt x="787" y="495"/>
                  </a:lnTo>
                  <a:lnTo>
                    <a:pt x="787" y="497"/>
                  </a:lnTo>
                  <a:lnTo>
                    <a:pt x="785" y="499"/>
                  </a:lnTo>
                  <a:lnTo>
                    <a:pt x="785" y="501"/>
                  </a:lnTo>
                  <a:lnTo>
                    <a:pt x="783" y="503"/>
                  </a:lnTo>
                  <a:lnTo>
                    <a:pt x="783" y="505"/>
                  </a:lnTo>
                  <a:lnTo>
                    <a:pt x="781" y="505"/>
                  </a:lnTo>
                  <a:lnTo>
                    <a:pt x="783" y="505"/>
                  </a:lnTo>
                  <a:lnTo>
                    <a:pt x="781" y="507"/>
                  </a:lnTo>
                  <a:lnTo>
                    <a:pt x="779" y="509"/>
                  </a:lnTo>
                  <a:lnTo>
                    <a:pt x="779" y="511"/>
                  </a:lnTo>
                  <a:lnTo>
                    <a:pt x="777" y="511"/>
                  </a:lnTo>
                  <a:lnTo>
                    <a:pt x="777" y="513"/>
                  </a:lnTo>
                  <a:lnTo>
                    <a:pt x="773" y="518"/>
                  </a:lnTo>
                  <a:lnTo>
                    <a:pt x="762" y="538"/>
                  </a:lnTo>
                  <a:lnTo>
                    <a:pt x="760" y="539"/>
                  </a:lnTo>
                  <a:lnTo>
                    <a:pt x="758" y="541"/>
                  </a:lnTo>
                  <a:lnTo>
                    <a:pt x="758" y="543"/>
                  </a:lnTo>
                  <a:lnTo>
                    <a:pt x="758" y="545"/>
                  </a:lnTo>
                  <a:lnTo>
                    <a:pt x="756" y="545"/>
                  </a:lnTo>
                  <a:lnTo>
                    <a:pt x="758" y="545"/>
                  </a:lnTo>
                  <a:lnTo>
                    <a:pt x="756" y="545"/>
                  </a:lnTo>
                  <a:lnTo>
                    <a:pt x="754" y="545"/>
                  </a:lnTo>
                  <a:lnTo>
                    <a:pt x="754" y="547"/>
                  </a:lnTo>
                  <a:lnTo>
                    <a:pt x="752" y="547"/>
                  </a:lnTo>
                  <a:lnTo>
                    <a:pt x="752" y="549"/>
                  </a:lnTo>
                  <a:lnTo>
                    <a:pt x="752" y="551"/>
                  </a:lnTo>
                  <a:lnTo>
                    <a:pt x="750" y="551"/>
                  </a:lnTo>
                  <a:lnTo>
                    <a:pt x="752" y="551"/>
                  </a:lnTo>
                  <a:lnTo>
                    <a:pt x="750" y="553"/>
                  </a:lnTo>
                  <a:lnTo>
                    <a:pt x="748" y="555"/>
                  </a:lnTo>
                  <a:lnTo>
                    <a:pt x="748" y="557"/>
                  </a:lnTo>
                  <a:lnTo>
                    <a:pt x="747" y="559"/>
                  </a:lnTo>
                  <a:lnTo>
                    <a:pt x="748" y="559"/>
                  </a:lnTo>
                  <a:lnTo>
                    <a:pt x="748" y="561"/>
                  </a:lnTo>
                  <a:lnTo>
                    <a:pt x="747" y="559"/>
                  </a:lnTo>
                  <a:lnTo>
                    <a:pt x="748" y="559"/>
                  </a:lnTo>
                  <a:lnTo>
                    <a:pt x="747" y="559"/>
                  </a:lnTo>
                  <a:lnTo>
                    <a:pt x="745" y="561"/>
                  </a:lnTo>
                  <a:lnTo>
                    <a:pt x="747" y="563"/>
                  </a:lnTo>
                  <a:lnTo>
                    <a:pt x="747" y="561"/>
                  </a:lnTo>
                  <a:lnTo>
                    <a:pt x="747" y="563"/>
                  </a:lnTo>
                  <a:lnTo>
                    <a:pt x="745" y="561"/>
                  </a:lnTo>
                  <a:lnTo>
                    <a:pt x="745" y="563"/>
                  </a:lnTo>
                  <a:lnTo>
                    <a:pt x="743" y="564"/>
                  </a:lnTo>
                  <a:lnTo>
                    <a:pt x="743" y="566"/>
                  </a:lnTo>
                  <a:lnTo>
                    <a:pt x="741" y="566"/>
                  </a:lnTo>
                  <a:lnTo>
                    <a:pt x="741" y="568"/>
                  </a:lnTo>
                  <a:lnTo>
                    <a:pt x="741" y="570"/>
                  </a:lnTo>
                  <a:lnTo>
                    <a:pt x="739" y="570"/>
                  </a:lnTo>
                  <a:lnTo>
                    <a:pt x="737" y="570"/>
                  </a:lnTo>
                  <a:lnTo>
                    <a:pt x="737" y="572"/>
                  </a:lnTo>
                  <a:lnTo>
                    <a:pt x="735" y="572"/>
                  </a:lnTo>
                  <a:lnTo>
                    <a:pt x="733" y="574"/>
                  </a:lnTo>
                  <a:lnTo>
                    <a:pt x="733" y="576"/>
                  </a:lnTo>
                  <a:lnTo>
                    <a:pt x="731" y="576"/>
                  </a:lnTo>
                  <a:lnTo>
                    <a:pt x="729" y="576"/>
                  </a:lnTo>
                  <a:lnTo>
                    <a:pt x="729" y="578"/>
                  </a:lnTo>
                  <a:lnTo>
                    <a:pt x="731" y="578"/>
                  </a:lnTo>
                  <a:lnTo>
                    <a:pt x="729" y="578"/>
                  </a:lnTo>
                  <a:lnTo>
                    <a:pt x="727" y="578"/>
                  </a:lnTo>
                  <a:lnTo>
                    <a:pt x="727" y="580"/>
                  </a:lnTo>
                  <a:lnTo>
                    <a:pt x="725" y="580"/>
                  </a:lnTo>
                  <a:lnTo>
                    <a:pt x="727" y="580"/>
                  </a:lnTo>
                  <a:lnTo>
                    <a:pt x="725" y="580"/>
                  </a:lnTo>
                  <a:lnTo>
                    <a:pt x="725" y="582"/>
                  </a:lnTo>
                  <a:lnTo>
                    <a:pt x="723" y="582"/>
                  </a:lnTo>
                  <a:lnTo>
                    <a:pt x="723" y="584"/>
                  </a:lnTo>
                  <a:lnTo>
                    <a:pt x="722" y="584"/>
                  </a:lnTo>
                  <a:lnTo>
                    <a:pt x="720" y="584"/>
                  </a:lnTo>
                  <a:lnTo>
                    <a:pt x="722" y="584"/>
                  </a:lnTo>
                  <a:lnTo>
                    <a:pt x="720" y="584"/>
                  </a:lnTo>
                  <a:lnTo>
                    <a:pt x="720" y="586"/>
                  </a:lnTo>
                  <a:lnTo>
                    <a:pt x="720" y="584"/>
                  </a:lnTo>
                  <a:lnTo>
                    <a:pt x="720" y="586"/>
                  </a:lnTo>
                  <a:lnTo>
                    <a:pt x="718" y="586"/>
                  </a:lnTo>
                  <a:lnTo>
                    <a:pt x="718" y="587"/>
                  </a:lnTo>
                  <a:lnTo>
                    <a:pt x="718" y="586"/>
                  </a:lnTo>
                  <a:lnTo>
                    <a:pt x="718" y="587"/>
                  </a:lnTo>
                  <a:lnTo>
                    <a:pt x="718" y="586"/>
                  </a:lnTo>
                  <a:lnTo>
                    <a:pt x="716" y="587"/>
                  </a:lnTo>
                  <a:lnTo>
                    <a:pt x="714" y="587"/>
                  </a:lnTo>
                  <a:lnTo>
                    <a:pt x="714" y="589"/>
                  </a:lnTo>
                  <a:lnTo>
                    <a:pt x="714" y="587"/>
                  </a:lnTo>
                  <a:lnTo>
                    <a:pt x="714" y="589"/>
                  </a:lnTo>
                  <a:lnTo>
                    <a:pt x="712" y="589"/>
                  </a:lnTo>
                  <a:lnTo>
                    <a:pt x="710" y="591"/>
                  </a:lnTo>
                  <a:lnTo>
                    <a:pt x="708" y="591"/>
                  </a:lnTo>
                  <a:lnTo>
                    <a:pt x="708" y="593"/>
                  </a:lnTo>
                  <a:lnTo>
                    <a:pt x="706" y="593"/>
                  </a:lnTo>
                  <a:lnTo>
                    <a:pt x="706" y="595"/>
                  </a:lnTo>
                  <a:lnTo>
                    <a:pt x="704" y="595"/>
                  </a:lnTo>
                  <a:lnTo>
                    <a:pt x="704" y="597"/>
                  </a:lnTo>
                  <a:lnTo>
                    <a:pt x="702" y="597"/>
                  </a:lnTo>
                  <a:lnTo>
                    <a:pt x="700" y="597"/>
                  </a:lnTo>
                  <a:lnTo>
                    <a:pt x="697" y="599"/>
                  </a:lnTo>
                  <a:lnTo>
                    <a:pt x="699" y="599"/>
                  </a:lnTo>
                  <a:lnTo>
                    <a:pt x="697" y="599"/>
                  </a:lnTo>
                  <a:lnTo>
                    <a:pt x="697" y="601"/>
                  </a:lnTo>
                  <a:lnTo>
                    <a:pt x="695" y="601"/>
                  </a:lnTo>
                  <a:lnTo>
                    <a:pt x="697" y="601"/>
                  </a:lnTo>
                  <a:lnTo>
                    <a:pt x="695" y="601"/>
                  </a:lnTo>
                  <a:lnTo>
                    <a:pt x="693" y="601"/>
                  </a:lnTo>
                  <a:lnTo>
                    <a:pt x="695" y="599"/>
                  </a:lnTo>
                  <a:lnTo>
                    <a:pt x="693" y="599"/>
                  </a:lnTo>
                  <a:lnTo>
                    <a:pt x="691" y="599"/>
                  </a:lnTo>
                  <a:lnTo>
                    <a:pt x="691" y="601"/>
                  </a:lnTo>
                  <a:lnTo>
                    <a:pt x="693" y="601"/>
                  </a:lnTo>
                  <a:lnTo>
                    <a:pt x="691" y="601"/>
                  </a:lnTo>
                  <a:lnTo>
                    <a:pt x="691" y="599"/>
                  </a:lnTo>
                  <a:lnTo>
                    <a:pt x="689" y="599"/>
                  </a:lnTo>
                  <a:lnTo>
                    <a:pt x="687" y="599"/>
                  </a:lnTo>
                  <a:lnTo>
                    <a:pt x="685" y="599"/>
                  </a:lnTo>
                  <a:lnTo>
                    <a:pt x="685" y="597"/>
                  </a:lnTo>
                  <a:lnTo>
                    <a:pt x="685" y="599"/>
                  </a:lnTo>
                  <a:lnTo>
                    <a:pt x="685" y="597"/>
                  </a:lnTo>
                  <a:lnTo>
                    <a:pt x="683" y="597"/>
                  </a:lnTo>
                  <a:lnTo>
                    <a:pt x="681" y="597"/>
                  </a:lnTo>
                  <a:lnTo>
                    <a:pt x="679" y="597"/>
                  </a:lnTo>
                  <a:lnTo>
                    <a:pt x="679" y="595"/>
                  </a:lnTo>
                  <a:lnTo>
                    <a:pt x="677" y="595"/>
                  </a:lnTo>
                  <a:lnTo>
                    <a:pt x="674" y="597"/>
                  </a:lnTo>
                  <a:lnTo>
                    <a:pt x="672" y="597"/>
                  </a:lnTo>
                  <a:lnTo>
                    <a:pt x="670" y="597"/>
                  </a:lnTo>
                  <a:lnTo>
                    <a:pt x="660" y="603"/>
                  </a:lnTo>
                  <a:lnTo>
                    <a:pt x="624" y="618"/>
                  </a:lnTo>
                  <a:lnTo>
                    <a:pt x="622" y="620"/>
                  </a:lnTo>
                  <a:lnTo>
                    <a:pt x="618" y="622"/>
                  </a:lnTo>
                  <a:lnTo>
                    <a:pt x="606" y="628"/>
                  </a:lnTo>
                  <a:lnTo>
                    <a:pt x="606" y="630"/>
                  </a:lnTo>
                  <a:lnTo>
                    <a:pt x="606" y="632"/>
                  </a:lnTo>
                  <a:lnTo>
                    <a:pt x="606" y="630"/>
                  </a:lnTo>
                  <a:lnTo>
                    <a:pt x="606" y="632"/>
                  </a:lnTo>
                  <a:lnTo>
                    <a:pt x="604" y="632"/>
                  </a:lnTo>
                  <a:lnTo>
                    <a:pt x="603" y="632"/>
                  </a:lnTo>
                  <a:lnTo>
                    <a:pt x="603" y="634"/>
                  </a:lnTo>
                  <a:lnTo>
                    <a:pt x="601" y="634"/>
                  </a:lnTo>
                  <a:lnTo>
                    <a:pt x="601" y="636"/>
                  </a:lnTo>
                  <a:lnTo>
                    <a:pt x="601" y="637"/>
                  </a:lnTo>
                  <a:lnTo>
                    <a:pt x="599" y="637"/>
                  </a:lnTo>
                  <a:lnTo>
                    <a:pt x="601" y="637"/>
                  </a:lnTo>
                  <a:lnTo>
                    <a:pt x="599" y="634"/>
                  </a:lnTo>
                  <a:lnTo>
                    <a:pt x="599" y="636"/>
                  </a:lnTo>
                  <a:lnTo>
                    <a:pt x="599" y="637"/>
                  </a:lnTo>
                  <a:lnTo>
                    <a:pt x="597" y="636"/>
                  </a:lnTo>
                  <a:lnTo>
                    <a:pt x="597" y="637"/>
                  </a:lnTo>
                  <a:lnTo>
                    <a:pt x="595" y="637"/>
                  </a:lnTo>
                  <a:lnTo>
                    <a:pt x="597" y="637"/>
                  </a:lnTo>
                  <a:lnTo>
                    <a:pt x="597" y="639"/>
                  </a:lnTo>
                  <a:lnTo>
                    <a:pt x="599" y="639"/>
                  </a:lnTo>
                  <a:lnTo>
                    <a:pt x="597" y="639"/>
                  </a:lnTo>
                  <a:lnTo>
                    <a:pt x="595" y="637"/>
                  </a:lnTo>
                  <a:lnTo>
                    <a:pt x="593" y="639"/>
                  </a:lnTo>
                  <a:lnTo>
                    <a:pt x="591" y="639"/>
                  </a:lnTo>
                  <a:lnTo>
                    <a:pt x="591" y="641"/>
                  </a:lnTo>
                  <a:lnTo>
                    <a:pt x="589" y="641"/>
                  </a:lnTo>
                  <a:lnTo>
                    <a:pt x="591" y="641"/>
                  </a:lnTo>
                  <a:lnTo>
                    <a:pt x="589" y="643"/>
                  </a:lnTo>
                  <a:lnTo>
                    <a:pt x="589" y="641"/>
                  </a:lnTo>
                  <a:lnTo>
                    <a:pt x="589" y="643"/>
                  </a:lnTo>
                  <a:lnTo>
                    <a:pt x="587" y="643"/>
                  </a:lnTo>
                  <a:lnTo>
                    <a:pt x="587" y="645"/>
                  </a:lnTo>
                  <a:lnTo>
                    <a:pt x="587" y="647"/>
                  </a:lnTo>
                  <a:lnTo>
                    <a:pt x="585" y="647"/>
                  </a:lnTo>
                  <a:lnTo>
                    <a:pt x="585" y="649"/>
                  </a:lnTo>
                  <a:lnTo>
                    <a:pt x="583" y="649"/>
                  </a:lnTo>
                  <a:lnTo>
                    <a:pt x="583" y="651"/>
                  </a:lnTo>
                  <a:lnTo>
                    <a:pt x="581" y="653"/>
                  </a:lnTo>
                  <a:lnTo>
                    <a:pt x="580" y="653"/>
                  </a:lnTo>
                  <a:lnTo>
                    <a:pt x="580" y="655"/>
                  </a:lnTo>
                  <a:lnTo>
                    <a:pt x="581" y="655"/>
                  </a:lnTo>
                  <a:lnTo>
                    <a:pt x="580" y="655"/>
                  </a:lnTo>
                  <a:lnTo>
                    <a:pt x="580" y="657"/>
                  </a:lnTo>
                  <a:lnTo>
                    <a:pt x="581" y="657"/>
                  </a:lnTo>
                  <a:lnTo>
                    <a:pt x="580" y="659"/>
                  </a:lnTo>
                  <a:lnTo>
                    <a:pt x="580" y="657"/>
                  </a:lnTo>
                  <a:lnTo>
                    <a:pt x="580" y="655"/>
                  </a:lnTo>
                  <a:lnTo>
                    <a:pt x="580" y="657"/>
                  </a:lnTo>
                  <a:lnTo>
                    <a:pt x="578" y="659"/>
                  </a:lnTo>
                  <a:lnTo>
                    <a:pt x="576" y="659"/>
                  </a:lnTo>
                  <a:lnTo>
                    <a:pt x="576" y="660"/>
                  </a:lnTo>
                  <a:lnTo>
                    <a:pt x="576" y="662"/>
                  </a:lnTo>
                  <a:lnTo>
                    <a:pt x="580" y="659"/>
                  </a:lnTo>
                  <a:lnTo>
                    <a:pt x="578" y="660"/>
                  </a:lnTo>
                  <a:lnTo>
                    <a:pt x="578" y="662"/>
                  </a:lnTo>
                  <a:lnTo>
                    <a:pt x="576" y="664"/>
                  </a:lnTo>
                  <a:lnTo>
                    <a:pt x="578" y="664"/>
                  </a:lnTo>
                  <a:lnTo>
                    <a:pt x="580" y="666"/>
                  </a:lnTo>
                  <a:lnTo>
                    <a:pt x="581" y="668"/>
                  </a:lnTo>
                  <a:lnTo>
                    <a:pt x="583" y="668"/>
                  </a:lnTo>
                  <a:lnTo>
                    <a:pt x="583" y="670"/>
                  </a:lnTo>
                  <a:lnTo>
                    <a:pt x="585" y="670"/>
                  </a:lnTo>
                  <a:lnTo>
                    <a:pt x="585" y="672"/>
                  </a:lnTo>
                  <a:lnTo>
                    <a:pt x="587" y="674"/>
                  </a:lnTo>
                  <a:lnTo>
                    <a:pt x="589" y="674"/>
                  </a:lnTo>
                  <a:lnTo>
                    <a:pt x="591" y="674"/>
                  </a:lnTo>
                  <a:lnTo>
                    <a:pt x="591" y="672"/>
                  </a:lnTo>
                  <a:lnTo>
                    <a:pt x="589" y="674"/>
                  </a:lnTo>
                  <a:lnTo>
                    <a:pt x="589" y="672"/>
                  </a:lnTo>
                  <a:lnTo>
                    <a:pt x="589" y="670"/>
                  </a:lnTo>
                  <a:lnTo>
                    <a:pt x="589" y="668"/>
                  </a:lnTo>
                  <a:lnTo>
                    <a:pt x="591" y="664"/>
                  </a:lnTo>
                  <a:lnTo>
                    <a:pt x="591" y="668"/>
                  </a:lnTo>
                  <a:lnTo>
                    <a:pt x="593" y="668"/>
                  </a:lnTo>
                  <a:lnTo>
                    <a:pt x="591" y="666"/>
                  </a:lnTo>
                  <a:lnTo>
                    <a:pt x="593" y="666"/>
                  </a:lnTo>
                  <a:lnTo>
                    <a:pt x="593" y="668"/>
                  </a:lnTo>
                  <a:lnTo>
                    <a:pt x="595" y="668"/>
                  </a:lnTo>
                  <a:lnTo>
                    <a:pt x="599" y="668"/>
                  </a:lnTo>
                  <a:lnTo>
                    <a:pt x="601" y="668"/>
                  </a:lnTo>
                  <a:lnTo>
                    <a:pt x="601" y="666"/>
                  </a:lnTo>
                  <a:lnTo>
                    <a:pt x="599" y="666"/>
                  </a:lnTo>
                  <a:lnTo>
                    <a:pt x="595" y="666"/>
                  </a:lnTo>
                  <a:lnTo>
                    <a:pt x="593" y="664"/>
                  </a:lnTo>
                  <a:lnTo>
                    <a:pt x="593" y="662"/>
                  </a:lnTo>
                  <a:lnTo>
                    <a:pt x="591" y="664"/>
                  </a:lnTo>
                  <a:lnTo>
                    <a:pt x="591" y="662"/>
                  </a:lnTo>
                  <a:lnTo>
                    <a:pt x="593" y="662"/>
                  </a:lnTo>
                  <a:lnTo>
                    <a:pt x="595" y="662"/>
                  </a:lnTo>
                  <a:lnTo>
                    <a:pt x="601" y="662"/>
                  </a:lnTo>
                  <a:lnTo>
                    <a:pt x="603" y="662"/>
                  </a:lnTo>
                  <a:lnTo>
                    <a:pt x="604" y="660"/>
                  </a:lnTo>
                  <a:lnTo>
                    <a:pt x="608" y="660"/>
                  </a:lnTo>
                  <a:lnTo>
                    <a:pt x="608" y="662"/>
                  </a:lnTo>
                  <a:lnTo>
                    <a:pt x="610" y="664"/>
                  </a:lnTo>
                  <a:lnTo>
                    <a:pt x="608" y="662"/>
                  </a:lnTo>
                  <a:lnTo>
                    <a:pt x="610" y="664"/>
                  </a:lnTo>
                  <a:lnTo>
                    <a:pt x="612" y="666"/>
                  </a:lnTo>
                  <a:lnTo>
                    <a:pt x="612" y="664"/>
                  </a:lnTo>
                  <a:lnTo>
                    <a:pt x="612" y="666"/>
                  </a:lnTo>
                  <a:lnTo>
                    <a:pt x="612" y="664"/>
                  </a:lnTo>
                  <a:lnTo>
                    <a:pt x="614" y="664"/>
                  </a:lnTo>
                  <a:lnTo>
                    <a:pt x="614" y="662"/>
                  </a:lnTo>
                  <a:lnTo>
                    <a:pt x="614" y="664"/>
                  </a:lnTo>
                  <a:lnTo>
                    <a:pt x="614" y="662"/>
                  </a:lnTo>
                  <a:lnTo>
                    <a:pt x="616" y="662"/>
                  </a:lnTo>
                  <a:lnTo>
                    <a:pt x="616" y="660"/>
                  </a:lnTo>
                  <a:lnTo>
                    <a:pt x="618" y="660"/>
                  </a:lnTo>
                  <a:lnTo>
                    <a:pt x="620" y="660"/>
                  </a:lnTo>
                  <a:lnTo>
                    <a:pt x="622" y="659"/>
                  </a:lnTo>
                  <a:lnTo>
                    <a:pt x="622" y="657"/>
                  </a:lnTo>
                  <a:lnTo>
                    <a:pt x="624" y="657"/>
                  </a:lnTo>
                  <a:lnTo>
                    <a:pt x="624" y="655"/>
                  </a:lnTo>
                  <a:lnTo>
                    <a:pt x="626" y="655"/>
                  </a:lnTo>
                  <a:lnTo>
                    <a:pt x="628" y="655"/>
                  </a:lnTo>
                  <a:lnTo>
                    <a:pt x="628" y="653"/>
                  </a:lnTo>
                  <a:lnTo>
                    <a:pt x="629" y="653"/>
                  </a:lnTo>
                  <a:lnTo>
                    <a:pt x="631" y="651"/>
                  </a:lnTo>
                  <a:lnTo>
                    <a:pt x="633" y="651"/>
                  </a:lnTo>
                  <a:lnTo>
                    <a:pt x="633" y="649"/>
                  </a:lnTo>
                  <a:lnTo>
                    <a:pt x="633" y="647"/>
                  </a:lnTo>
                  <a:lnTo>
                    <a:pt x="635" y="647"/>
                  </a:lnTo>
                  <a:lnTo>
                    <a:pt x="637" y="647"/>
                  </a:lnTo>
                  <a:lnTo>
                    <a:pt x="639" y="649"/>
                  </a:lnTo>
                  <a:lnTo>
                    <a:pt x="639" y="647"/>
                  </a:lnTo>
                  <a:lnTo>
                    <a:pt x="641" y="647"/>
                  </a:lnTo>
                  <a:lnTo>
                    <a:pt x="643" y="647"/>
                  </a:lnTo>
                  <a:lnTo>
                    <a:pt x="645" y="647"/>
                  </a:lnTo>
                  <a:lnTo>
                    <a:pt x="647" y="647"/>
                  </a:lnTo>
                  <a:lnTo>
                    <a:pt x="647" y="645"/>
                  </a:lnTo>
                  <a:lnTo>
                    <a:pt x="649" y="645"/>
                  </a:lnTo>
                  <a:lnTo>
                    <a:pt x="649" y="643"/>
                  </a:lnTo>
                  <a:lnTo>
                    <a:pt x="649" y="645"/>
                  </a:lnTo>
                  <a:lnTo>
                    <a:pt x="651" y="645"/>
                  </a:lnTo>
                  <a:lnTo>
                    <a:pt x="652" y="645"/>
                  </a:lnTo>
                  <a:lnTo>
                    <a:pt x="654" y="643"/>
                  </a:lnTo>
                  <a:lnTo>
                    <a:pt x="654" y="641"/>
                  </a:lnTo>
                  <a:lnTo>
                    <a:pt x="654" y="643"/>
                  </a:lnTo>
                  <a:lnTo>
                    <a:pt x="656" y="641"/>
                  </a:lnTo>
                  <a:lnTo>
                    <a:pt x="656" y="639"/>
                  </a:lnTo>
                  <a:lnTo>
                    <a:pt x="656" y="641"/>
                  </a:lnTo>
                  <a:lnTo>
                    <a:pt x="656" y="639"/>
                  </a:lnTo>
                  <a:lnTo>
                    <a:pt x="658" y="641"/>
                  </a:lnTo>
                  <a:lnTo>
                    <a:pt x="658" y="639"/>
                  </a:lnTo>
                  <a:lnTo>
                    <a:pt x="660" y="639"/>
                  </a:lnTo>
                  <a:lnTo>
                    <a:pt x="658" y="637"/>
                  </a:lnTo>
                  <a:lnTo>
                    <a:pt x="660" y="639"/>
                  </a:lnTo>
                  <a:lnTo>
                    <a:pt x="660" y="637"/>
                  </a:lnTo>
                  <a:lnTo>
                    <a:pt x="662" y="637"/>
                  </a:lnTo>
                  <a:lnTo>
                    <a:pt x="664" y="637"/>
                  </a:lnTo>
                  <a:lnTo>
                    <a:pt x="664" y="636"/>
                  </a:lnTo>
                  <a:lnTo>
                    <a:pt x="666" y="637"/>
                  </a:lnTo>
                  <a:lnTo>
                    <a:pt x="666" y="636"/>
                  </a:lnTo>
                  <a:lnTo>
                    <a:pt x="668" y="636"/>
                  </a:lnTo>
                  <a:lnTo>
                    <a:pt x="668" y="637"/>
                  </a:lnTo>
                  <a:lnTo>
                    <a:pt x="668" y="636"/>
                  </a:lnTo>
                  <a:lnTo>
                    <a:pt x="670" y="636"/>
                  </a:lnTo>
                  <a:lnTo>
                    <a:pt x="670" y="634"/>
                  </a:lnTo>
                  <a:lnTo>
                    <a:pt x="672" y="634"/>
                  </a:lnTo>
                  <a:lnTo>
                    <a:pt x="674" y="634"/>
                  </a:lnTo>
                  <a:lnTo>
                    <a:pt x="672" y="634"/>
                  </a:lnTo>
                  <a:lnTo>
                    <a:pt x="674" y="632"/>
                  </a:lnTo>
                  <a:lnTo>
                    <a:pt x="676" y="632"/>
                  </a:lnTo>
                  <a:lnTo>
                    <a:pt x="676" y="630"/>
                  </a:lnTo>
                  <a:lnTo>
                    <a:pt x="677" y="630"/>
                  </a:lnTo>
                  <a:lnTo>
                    <a:pt x="677" y="628"/>
                  </a:lnTo>
                  <a:lnTo>
                    <a:pt x="677" y="630"/>
                  </a:lnTo>
                  <a:lnTo>
                    <a:pt x="677" y="628"/>
                  </a:lnTo>
                  <a:lnTo>
                    <a:pt x="679" y="628"/>
                  </a:lnTo>
                  <a:lnTo>
                    <a:pt x="679" y="626"/>
                  </a:lnTo>
                  <a:lnTo>
                    <a:pt x="681" y="628"/>
                  </a:lnTo>
                  <a:lnTo>
                    <a:pt x="683" y="626"/>
                  </a:lnTo>
                  <a:lnTo>
                    <a:pt x="685" y="626"/>
                  </a:lnTo>
                  <a:lnTo>
                    <a:pt x="683" y="624"/>
                  </a:lnTo>
                  <a:lnTo>
                    <a:pt x="685" y="626"/>
                  </a:lnTo>
                  <a:lnTo>
                    <a:pt x="683" y="624"/>
                  </a:lnTo>
                  <a:lnTo>
                    <a:pt x="685" y="624"/>
                  </a:lnTo>
                  <a:lnTo>
                    <a:pt x="685" y="626"/>
                  </a:lnTo>
                  <a:lnTo>
                    <a:pt x="685" y="624"/>
                  </a:lnTo>
                  <a:lnTo>
                    <a:pt x="687" y="624"/>
                  </a:lnTo>
                  <a:lnTo>
                    <a:pt x="685" y="626"/>
                  </a:lnTo>
                  <a:lnTo>
                    <a:pt x="687" y="624"/>
                  </a:lnTo>
                  <a:lnTo>
                    <a:pt x="689" y="624"/>
                  </a:lnTo>
                  <a:lnTo>
                    <a:pt x="689" y="622"/>
                  </a:lnTo>
                  <a:lnTo>
                    <a:pt x="691" y="622"/>
                  </a:lnTo>
                  <a:lnTo>
                    <a:pt x="691" y="620"/>
                  </a:lnTo>
                  <a:lnTo>
                    <a:pt x="693" y="620"/>
                  </a:lnTo>
                  <a:lnTo>
                    <a:pt x="693" y="618"/>
                  </a:lnTo>
                  <a:lnTo>
                    <a:pt x="695" y="618"/>
                  </a:lnTo>
                  <a:lnTo>
                    <a:pt x="697" y="618"/>
                  </a:lnTo>
                  <a:lnTo>
                    <a:pt x="695" y="616"/>
                  </a:lnTo>
                  <a:lnTo>
                    <a:pt x="697" y="616"/>
                  </a:lnTo>
                  <a:lnTo>
                    <a:pt x="699" y="616"/>
                  </a:lnTo>
                  <a:lnTo>
                    <a:pt x="699" y="614"/>
                  </a:lnTo>
                  <a:lnTo>
                    <a:pt x="700" y="614"/>
                  </a:lnTo>
                  <a:lnTo>
                    <a:pt x="702" y="614"/>
                  </a:lnTo>
                  <a:lnTo>
                    <a:pt x="702" y="612"/>
                  </a:lnTo>
                  <a:lnTo>
                    <a:pt x="704" y="612"/>
                  </a:lnTo>
                  <a:lnTo>
                    <a:pt x="704" y="611"/>
                  </a:lnTo>
                  <a:lnTo>
                    <a:pt x="706" y="609"/>
                  </a:lnTo>
                  <a:lnTo>
                    <a:pt x="708" y="609"/>
                  </a:lnTo>
                  <a:lnTo>
                    <a:pt x="710" y="609"/>
                  </a:lnTo>
                  <a:lnTo>
                    <a:pt x="710" y="607"/>
                  </a:lnTo>
                  <a:lnTo>
                    <a:pt x="710" y="609"/>
                  </a:lnTo>
                  <a:lnTo>
                    <a:pt x="710" y="607"/>
                  </a:lnTo>
                  <a:lnTo>
                    <a:pt x="712" y="607"/>
                  </a:lnTo>
                  <a:lnTo>
                    <a:pt x="712" y="605"/>
                  </a:lnTo>
                  <a:lnTo>
                    <a:pt x="714" y="607"/>
                  </a:lnTo>
                  <a:lnTo>
                    <a:pt x="714" y="605"/>
                  </a:lnTo>
                  <a:lnTo>
                    <a:pt x="716" y="605"/>
                  </a:lnTo>
                  <a:lnTo>
                    <a:pt x="716" y="603"/>
                  </a:lnTo>
                  <a:lnTo>
                    <a:pt x="716" y="605"/>
                  </a:lnTo>
                  <a:lnTo>
                    <a:pt x="716" y="603"/>
                  </a:lnTo>
                  <a:lnTo>
                    <a:pt x="718" y="603"/>
                  </a:lnTo>
                  <a:lnTo>
                    <a:pt x="716" y="603"/>
                  </a:lnTo>
                  <a:lnTo>
                    <a:pt x="718" y="601"/>
                  </a:lnTo>
                  <a:lnTo>
                    <a:pt x="720" y="601"/>
                  </a:lnTo>
                  <a:lnTo>
                    <a:pt x="720" y="599"/>
                  </a:lnTo>
                  <a:lnTo>
                    <a:pt x="720" y="601"/>
                  </a:lnTo>
                  <a:lnTo>
                    <a:pt x="720" y="599"/>
                  </a:lnTo>
                  <a:lnTo>
                    <a:pt x="722" y="599"/>
                  </a:lnTo>
                  <a:lnTo>
                    <a:pt x="722" y="597"/>
                  </a:lnTo>
                  <a:lnTo>
                    <a:pt x="722" y="599"/>
                  </a:lnTo>
                  <a:lnTo>
                    <a:pt x="722" y="597"/>
                  </a:lnTo>
                  <a:lnTo>
                    <a:pt x="723" y="597"/>
                  </a:lnTo>
                  <a:lnTo>
                    <a:pt x="725" y="597"/>
                  </a:lnTo>
                  <a:lnTo>
                    <a:pt x="725" y="595"/>
                  </a:lnTo>
                  <a:lnTo>
                    <a:pt x="727" y="595"/>
                  </a:lnTo>
                  <a:lnTo>
                    <a:pt x="727" y="597"/>
                  </a:lnTo>
                  <a:lnTo>
                    <a:pt x="727" y="595"/>
                  </a:lnTo>
                  <a:lnTo>
                    <a:pt x="725" y="595"/>
                  </a:lnTo>
                  <a:lnTo>
                    <a:pt x="727" y="595"/>
                  </a:lnTo>
                  <a:lnTo>
                    <a:pt x="727" y="593"/>
                  </a:lnTo>
                  <a:lnTo>
                    <a:pt x="729" y="593"/>
                  </a:lnTo>
                  <a:lnTo>
                    <a:pt x="731" y="591"/>
                  </a:lnTo>
                  <a:lnTo>
                    <a:pt x="733" y="591"/>
                  </a:lnTo>
                  <a:lnTo>
                    <a:pt x="731" y="591"/>
                  </a:lnTo>
                  <a:lnTo>
                    <a:pt x="733" y="591"/>
                  </a:lnTo>
                  <a:lnTo>
                    <a:pt x="733" y="589"/>
                  </a:lnTo>
                  <a:lnTo>
                    <a:pt x="733" y="591"/>
                  </a:lnTo>
                  <a:lnTo>
                    <a:pt x="733" y="589"/>
                  </a:lnTo>
                  <a:lnTo>
                    <a:pt x="733" y="591"/>
                  </a:lnTo>
                  <a:lnTo>
                    <a:pt x="733" y="589"/>
                  </a:lnTo>
                  <a:lnTo>
                    <a:pt x="735" y="589"/>
                  </a:lnTo>
                  <a:lnTo>
                    <a:pt x="733" y="589"/>
                  </a:lnTo>
                  <a:lnTo>
                    <a:pt x="735" y="589"/>
                  </a:lnTo>
                  <a:lnTo>
                    <a:pt x="735" y="587"/>
                  </a:lnTo>
                  <a:lnTo>
                    <a:pt x="737" y="587"/>
                  </a:lnTo>
                  <a:lnTo>
                    <a:pt x="737" y="586"/>
                  </a:lnTo>
                  <a:lnTo>
                    <a:pt x="739" y="586"/>
                  </a:lnTo>
                  <a:lnTo>
                    <a:pt x="739" y="584"/>
                  </a:lnTo>
                  <a:lnTo>
                    <a:pt x="739" y="586"/>
                  </a:lnTo>
                  <a:lnTo>
                    <a:pt x="741" y="584"/>
                  </a:lnTo>
                  <a:lnTo>
                    <a:pt x="743" y="582"/>
                  </a:lnTo>
                  <a:lnTo>
                    <a:pt x="745" y="582"/>
                  </a:lnTo>
                  <a:lnTo>
                    <a:pt x="745" y="580"/>
                  </a:lnTo>
                  <a:lnTo>
                    <a:pt x="745" y="582"/>
                  </a:lnTo>
                  <a:lnTo>
                    <a:pt x="745" y="580"/>
                  </a:lnTo>
                  <a:lnTo>
                    <a:pt x="747" y="580"/>
                  </a:lnTo>
                  <a:lnTo>
                    <a:pt x="745" y="580"/>
                  </a:lnTo>
                  <a:lnTo>
                    <a:pt x="747" y="580"/>
                  </a:lnTo>
                  <a:lnTo>
                    <a:pt x="747" y="578"/>
                  </a:lnTo>
                  <a:lnTo>
                    <a:pt x="748" y="578"/>
                  </a:lnTo>
                  <a:lnTo>
                    <a:pt x="748" y="576"/>
                  </a:lnTo>
                  <a:lnTo>
                    <a:pt x="750" y="576"/>
                  </a:lnTo>
                  <a:lnTo>
                    <a:pt x="752" y="574"/>
                  </a:lnTo>
                  <a:lnTo>
                    <a:pt x="752" y="572"/>
                  </a:lnTo>
                  <a:lnTo>
                    <a:pt x="754" y="572"/>
                  </a:lnTo>
                  <a:lnTo>
                    <a:pt x="754" y="570"/>
                  </a:lnTo>
                  <a:lnTo>
                    <a:pt x="756" y="568"/>
                  </a:lnTo>
                  <a:lnTo>
                    <a:pt x="756" y="566"/>
                  </a:lnTo>
                  <a:lnTo>
                    <a:pt x="758" y="566"/>
                  </a:lnTo>
                  <a:lnTo>
                    <a:pt x="758" y="564"/>
                  </a:lnTo>
                  <a:lnTo>
                    <a:pt x="760" y="564"/>
                  </a:lnTo>
                  <a:lnTo>
                    <a:pt x="760" y="563"/>
                  </a:lnTo>
                  <a:lnTo>
                    <a:pt x="762" y="561"/>
                  </a:lnTo>
                  <a:lnTo>
                    <a:pt x="760" y="559"/>
                  </a:lnTo>
                  <a:lnTo>
                    <a:pt x="760" y="557"/>
                  </a:lnTo>
                  <a:lnTo>
                    <a:pt x="762" y="557"/>
                  </a:lnTo>
                  <a:lnTo>
                    <a:pt x="764" y="559"/>
                  </a:lnTo>
                  <a:lnTo>
                    <a:pt x="764" y="557"/>
                  </a:lnTo>
                  <a:lnTo>
                    <a:pt x="764" y="555"/>
                  </a:lnTo>
                  <a:lnTo>
                    <a:pt x="764" y="557"/>
                  </a:lnTo>
                  <a:lnTo>
                    <a:pt x="762" y="557"/>
                  </a:lnTo>
                  <a:lnTo>
                    <a:pt x="764" y="555"/>
                  </a:lnTo>
                  <a:lnTo>
                    <a:pt x="764" y="553"/>
                  </a:lnTo>
                  <a:lnTo>
                    <a:pt x="766" y="553"/>
                  </a:lnTo>
                  <a:lnTo>
                    <a:pt x="764" y="555"/>
                  </a:lnTo>
                  <a:lnTo>
                    <a:pt x="766" y="553"/>
                  </a:lnTo>
                  <a:lnTo>
                    <a:pt x="766" y="551"/>
                  </a:lnTo>
                  <a:lnTo>
                    <a:pt x="764" y="551"/>
                  </a:lnTo>
                  <a:lnTo>
                    <a:pt x="762" y="549"/>
                  </a:lnTo>
                  <a:lnTo>
                    <a:pt x="760" y="547"/>
                  </a:lnTo>
                  <a:lnTo>
                    <a:pt x="758" y="547"/>
                  </a:lnTo>
                  <a:lnTo>
                    <a:pt x="758" y="545"/>
                  </a:lnTo>
                  <a:lnTo>
                    <a:pt x="760" y="545"/>
                  </a:lnTo>
                  <a:lnTo>
                    <a:pt x="760" y="543"/>
                  </a:lnTo>
                  <a:lnTo>
                    <a:pt x="762" y="543"/>
                  </a:lnTo>
                  <a:lnTo>
                    <a:pt x="768" y="551"/>
                  </a:lnTo>
                  <a:lnTo>
                    <a:pt x="768" y="553"/>
                  </a:lnTo>
                  <a:lnTo>
                    <a:pt x="770" y="553"/>
                  </a:lnTo>
                  <a:lnTo>
                    <a:pt x="770" y="555"/>
                  </a:lnTo>
                  <a:lnTo>
                    <a:pt x="770" y="553"/>
                  </a:lnTo>
                  <a:lnTo>
                    <a:pt x="768" y="551"/>
                  </a:lnTo>
                  <a:lnTo>
                    <a:pt x="768" y="549"/>
                  </a:lnTo>
                  <a:lnTo>
                    <a:pt x="766" y="549"/>
                  </a:lnTo>
                  <a:lnTo>
                    <a:pt x="766" y="547"/>
                  </a:lnTo>
                  <a:lnTo>
                    <a:pt x="764" y="547"/>
                  </a:lnTo>
                  <a:lnTo>
                    <a:pt x="764" y="545"/>
                  </a:lnTo>
                  <a:lnTo>
                    <a:pt x="762" y="545"/>
                  </a:lnTo>
                  <a:lnTo>
                    <a:pt x="762" y="543"/>
                  </a:lnTo>
                  <a:lnTo>
                    <a:pt x="762" y="541"/>
                  </a:lnTo>
                  <a:lnTo>
                    <a:pt x="770" y="528"/>
                  </a:lnTo>
                  <a:lnTo>
                    <a:pt x="770" y="530"/>
                  </a:lnTo>
                  <a:lnTo>
                    <a:pt x="768" y="530"/>
                  </a:lnTo>
                  <a:lnTo>
                    <a:pt x="768" y="532"/>
                  </a:lnTo>
                  <a:lnTo>
                    <a:pt x="768" y="534"/>
                  </a:lnTo>
                  <a:lnTo>
                    <a:pt x="766" y="534"/>
                  </a:lnTo>
                  <a:lnTo>
                    <a:pt x="768" y="534"/>
                  </a:lnTo>
                  <a:lnTo>
                    <a:pt x="768" y="536"/>
                  </a:lnTo>
                  <a:lnTo>
                    <a:pt x="768" y="534"/>
                  </a:lnTo>
                  <a:lnTo>
                    <a:pt x="766" y="534"/>
                  </a:lnTo>
                  <a:lnTo>
                    <a:pt x="766" y="536"/>
                  </a:lnTo>
                  <a:lnTo>
                    <a:pt x="764" y="538"/>
                  </a:lnTo>
                  <a:lnTo>
                    <a:pt x="766" y="538"/>
                  </a:lnTo>
                  <a:lnTo>
                    <a:pt x="766" y="539"/>
                  </a:lnTo>
                  <a:lnTo>
                    <a:pt x="764" y="539"/>
                  </a:lnTo>
                  <a:lnTo>
                    <a:pt x="764" y="541"/>
                  </a:lnTo>
                  <a:lnTo>
                    <a:pt x="766" y="541"/>
                  </a:lnTo>
                  <a:lnTo>
                    <a:pt x="768" y="541"/>
                  </a:lnTo>
                  <a:lnTo>
                    <a:pt x="768" y="543"/>
                  </a:lnTo>
                  <a:lnTo>
                    <a:pt x="768" y="545"/>
                  </a:lnTo>
                  <a:lnTo>
                    <a:pt x="768" y="543"/>
                  </a:lnTo>
                  <a:lnTo>
                    <a:pt x="770" y="543"/>
                  </a:lnTo>
                  <a:lnTo>
                    <a:pt x="771" y="541"/>
                  </a:lnTo>
                  <a:lnTo>
                    <a:pt x="771" y="539"/>
                  </a:lnTo>
                  <a:lnTo>
                    <a:pt x="773" y="538"/>
                  </a:lnTo>
                  <a:lnTo>
                    <a:pt x="773" y="536"/>
                  </a:lnTo>
                  <a:lnTo>
                    <a:pt x="775" y="534"/>
                  </a:lnTo>
                  <a:lnTo>
                    <a:pt x="775" y="532"/>
                  </a:lnTo>
                  <a:lnTo>
                    <a:pt x="777" y="532"/>
                  </a:lnTo>
                  <a:lnTo>
                    <a:pt x="777" y="534"/>
                  </a:lnTo>
                  <a:lnTo>
                    <a:pt x="779" y="534"/>
                  </a:lnTo>
                  <a:lnTo>
                    <a:pt x="779" y="532"/>
                  </a:lnTo>
                  <a:lnTo>
                    <a:pt x="781" y="532"/>
                  </a:lnTo>
                  <a:lnTo>
                    <a:pt x="781" y="530"/>
                  </a:lnTo>
                  <a:lnTo>
                    <a:pt x="781" y="528"/>
                  </a:lnTo>
                  <a:lnTo>
                    <a:pt x="781" y="526"/>
                  </a:lnTo>
                  <a:lnTo>
                    <a:pt x="783" y="524"/>
                  </a:lnTo>
                  <a:lnTo>
                    <a:pt x="783" y="522"/>
                  </a:lnTo>
                  <a:lnTo>
                    <a:pt x="785" y="520"/>
                  </a:lnTo>
                  <a:lnTo>
                    <a:pt x="785" y="518"/>
                  </a:lnTo>
                  <a:lnTo>
                    <a:pt x="785" y="516"/>
                  </a:lnTo>
                  <a:lnTo>
                    <a:pt x="787" y="516"/>
                  </a:lnTo>
                  <a:lnTo>
                    <a:pt x="787" y="514"/>
                  </a:lnTo>
                  <a:lnTo>
                    <a:pt x="789" y="511"/>
                  </a:lnTo>
                  <a:lnTo>
                    <a:pt x="789" y="509"/>
                  </a:lnTo>
                  <a:lnTo>
                    <a:pt x="789" y="507"/>
                  </a:lnTo>
                  <a:lnTo>
                    <a:pt x="789" y="505"/>
                  </a:lnTo>
                  <a:lnTo>
                    <a:pt x="791" y="505"/>
                  </a:lnTo>
                  <a:lnTo>
                    <a:pt x="789" y="505"/>
                  </a:lnTo>
                  <a:lnTo>
                    <a:pt x="791" y="505"/>
                  </a:lnTo>
                  <a:lnTo>
                    <a:pt x="791" y="503"/>
                  </a:lnTo>
                  <a:lnTo>
                    <a:pt x="791" y="501"/>
                  </a:lnTo>
                  <a:lnTo>
                    <a:pt x="791" y="499"/>
                  </a:lnTo>
                  <a:lnTo>
                    <a:pt x="793" y="499"/>
                  </a:lnTo>
                  <a:lnTo>
                    <a:pt x="791" y="499"/>
                  </a:lnTo>
                  <a:lnTo>
                    <a:pt x="791" y="497"/>
                  </a:lnTo>
                  <a:lnTo>
                    <a:pt x="791" y="495"/>
                  </a:lnTo>
                  <a:lnTo>
                    <a:pt x="793" y="495"/>
                  </a:lnTo>
                  <a:lnTo>
                    <a:pt x="791" y="493"/>
                  </a:lnTo>
                  <a:lnTo>
                    <a:pt x="793" y="493"/>
                  </a:lnTo>
                  <a:lnTo>
                    <a:pt x="793" y="491"/>
                  </a:lnTo>
                  <a:lnTo>
                    <a:pt x="795" y="491"/>
                  </a:lnTo>
                  <a:lnTo>
                    <a:pt x="793" y="491"/>
                  </a:lnTo>
                  <a:lnTo>
                    <a:pt x="795" y="491"/>
                  </a:lnTo>
                  <a:lnTo>
                    <a:pt x="795" y="490"/>
                  </a:lnTo>
                  <a:lnTo>
                    <a:pt x="796" y="490"/>
                  </a:lnTo>
                  <a:lnTo>
                    <a:pt x="796" y="488"/>
                  </a:lnTo>
                  <a:lnTo>
                    <a:pt x="798" y="488"/>
                  </a:lnTo>
                  <a:lnTo>
                    <a:pt x="798" y="486"/>
                  </a:lnTo>
                  <a:lnTo>
                    <a:pt x="796" y="486"/>
                  </a:lnTo>
                  <a:lnTo>
                    <a:pt x="798" y="486"/>
                  </a:lnTo>
                  <a:lnTo>
                    <a:pt x="798" y="484"/>
                  </a:lnTo>
                  <a:lnTo>
                    <a:pt x="798" y="482"/>
                  </a:lnTo>
                  <a:lnTo>
                    <a:pt x="798" y="480"/>
                  </a:lnTo>
                  <a:lnTo>
                    <a:pt x="800" y="480"/>
                  </a:lnTo>
                  <a:lnTo>
                    <a:pt x="800" y="478"/>
                  </a:lnTo>
                  <a:lnTo>
                    <a:pt x="800" y="476"/>
                  </a:lnTo>
                  <a:lnTo>
                    <a:pt x="800" y="474"/>
                  </a:lnTo>
                  <a:lnTo>
                    <a:pt x="802" y="474"/>
                  </a:lnTo>
                  <a:lnTo>
                    <a:pt x="802" y="472"/>
                  </a:lnTo>
                  <a:lnTo>
                    <a:pt x="802" y="470"/>
                  </a:lnTo>
                  <a:lnTo>
                    <a:pt x="802" y="468"/>
                  </a:lnTo>
                  <a:lnTo>
                    <a:pt x="804" y="466"/>
                  </a:lnTo>
                  <a:lnTo>
                    <a:pt x="804" y="465"/>
                  </a:lnTo>
                  <a:lnTo>
                    <a:pt x="804" y="463"/>
                  </a:lnTo>
                  <a:lnTo>
                    <a:pt x="806" y="463"/>
                  </a:lnTo>
                  <a:lnTo>
                    <a:pt x="808" y="461"/>
                  </a:lnTo>
                  <a:lnTo>
                    <a:pt x="806" y="463"/>
                  </a:lnTo>
                  <a:lnTo>
                    <a:pt x="806" y="461"/>
                  </a:lnTo>
                  <a:lnTo>
                    <a:pt x="806" y="459"/>
                  </a:lnTo>
                  <a:lnTo>
                    <a:pt x="804" y="459"/>
                  </a:lnTo>
                  <a:lnTo>
                    <a:pt x="806" y="459"/>
                  </a:lnTo>
                  <a:lnTo>
                    <a:pt x="804" y="459"/>
                  </a:lnTo>
                  <a:lnTo>
                    <a:pt x="804" y="457"/>
                  </a:lnTo>
                  <a:lnTo>
                    <a:pt x="802" y="457"/>
                  </a:lnTo>
                  <a:lnTo>
                    <a:pt x="804" y="455"/>
                  </a:lnTo>
                  <a:lnTo>
                    <a:pt x="804" y="453"/>
                  </a:lnTo>
                  <a:lnTo>
                    <a:pt x="802" y="453"/>
                  </a:lnTo>
                  <a:lnTo>
                    <a:pt x="804" y="451"/>
                  </a:lnTo>
                  <a:lnTo>
                    <a:pt x="804" y="449"/>
                  </a:lnTo>
                  <a:lnTo>
                    <a:pt x="802" y="449"/>
                  </a:lnTo>
                  <a:lnTo>
                    <a:pt x="804" y="449"/>
                  </a:lnTo>
                  <a:lnTo>
                    <a:pt x="802" y="449"/>
                  </a:lnTo>
                  <a:lnTo>
                    <a:pt x="804" y="449"/>
                  </a:lnTo>
                  <a:lnTo>
                    <a:pt x="802" y="447"/>
                  </a:lnTo>
                  <a:lnTo>
                    <a:pt x="802" y="445"/>
                  </a:lnTo>
                  <a:lnTo>
                    <a:pt x="804" y="445"/>
                  </a:lnTo>
                  <a:lnTo>
                    <a:pt x="802" y="445"/>
                  </a:lnTo>
                  <a:lnTo>
                    <a:pt x="804" y="445"/>
                  </a:lnTo>
                  <a:lnTo>
                    <a:pt x="804" y="443"/>
                  </a:lnTo>
                  <a:lnTo>
                    <a:pt x="802" y="443"/>
                  </a:lnTo>
                  <a:lnTo>
                    <a:pt x="804" y="443"/>
                  </a:lnTo>
                  <a:lnTo>
                    <a:pt x="802" y="443"/>
                  </a:lnTo>
                  <a:lnTo>
                    <a:pt x="804" y="443"/>
                  </a:lnTo>
                  <a:lnTo>
                    <a:pt x="802" y="443"/>
                  </a:lnTo>
                  <a:lnTo>
                    <a:pt x="802" y="442"/>
                  </a:lnTo>
                  <a:lnTo>
                    <a:pt x="804" y="442"/>
                  </a:lnTo>
                  <a:lnTo>
                    <a:pt x="804" y="443"/>
                  </a:lnTo>
                  <a:lnTo>
                    <a:pt x="804" y="442"/>
                  </a:lnTo>
                  <a:lnTo>
                    <a:pt x="802" y="442"/>
                  </a:lnTo>
                  <a:lnTo>
                    <a:pt x="802" y="440"/>
                  </a:lnTo>
                  <a:lnTo>
                    <a:pt x="802" y="438"/>
                  </a:lnTo>
                  <a:lnTo>
                    <a:pt x="802" y="436"/>
                  </a:lnTo>
                  <a:lnTo>
                    <a:pt x="804" y="434"/>
                  </a:lnTo>
                  <a:lnTo>
                    <a:pt x="802" y="436"/>
                  </a:lnTo>
                  <a:lnTo>
                    <a:pt x="802" y="434"/>
                  </a:lnTo>
                  <a:lnTo>
                    <a:pt x="804" y="434"/>
                  </a:lnTo>
                  <a:lnTo>
                    <a:pt x="802" y="432"/>
                  </a:lnTo>
                  <a:lnTo>
                    <a:pt x="802" y="434"/>
                  </a:lnTo>
                  <a:lnTo>
                    <a:pt x="802" y="432"/>
                  </a:lnTo>
                  <a:lnTo>
                    <a:pt x="802" y="430"/>
                  </a:lnTo>
                  <a:lnTo>
                    <a:pt x="802" y="428"/>
                  </a:lnTo>
                  <a:lnTo>
                    <a:pt x="800" y="426"/>
                  </a:lnTo>
                  <a:lnTo>
                    <a:pt x="800" y="424"/>
                  </a:lnTo>
                  <a:lnTo>
                    <a:pt x="798" y="424"/>
                  </a:lnTo>
                  <a:lnTo>
                    <a:pt x="800" y="424"/>
                  </a:lnTo>
                  <a:lnTo>
                    <a:pt x="800" y="426"/>
                  </a:lnTo>
                  <a:lnTo>
                    <a:pt x="798" y="426"/>
                  </a:lnTo>
                  <a:lnTo>
                    <a:pt x="798" y="424"/>
                  </a:lnTo>
                  <a:lnTo>
                    <a:pt x="798" y="422"/>
                  </a:lnTo>
                  <a:lnTo>
                    <a:pt x="798" y="424"/>
                  </a:lnTo>
                  <a:lnTo>
                    <a:pt x="800" y="422"/>
                  </a:lnTo>
                  <a:lnTo>
                    <a:pt x="802" y="422"/>
                  </a:lnTo>
                  <a:lnTo>
                    <a:pt x="800" y="422"/>
                  </a:lnTo>
                  <a:lnTo>
                    <a:pt x="800" y="420"/>
                  </a:lnTo>
                  <a:lnTo>
                    <a:pt x="802" y="420"/>
                  </a:lnTo>
                  <a:lnTo>
                    <a:pt x="800" y="420"/>
                  </a:lnTo>
                  <a:lnTo>
                    <a:pt x="800" y="418"/>
                  </a:lnTo>
                  <a:lnTo>
                    <a:pt x="800" y="417"/>
                  </a:lnTo>
                  <a:lnTo>
                    <a:pt x="800" y="415"/>
                  </a:lnTo>
                  <a:lnTo>
                    <a:pt x="800" y="413"/>
                  </a:lnTo>
                  <a:lnTo>
                    <a:pt x="800" y="415"/>
                  </a:lnTo>
                  <a:lnTo>
                    <a:pt x="798" y="415"/>
                  </a:lnTo>
                  <a:lnTo>
                    <a:pt x="798" y="413"/>
                  </a:lnTo>
                  <a:lnTo>
                    <a:pt x="796" y="413"/>
                  </a:lnTo>
                  <a:lnTo>
                    <a:pt x="796" y="411"/>
                  </a:lnTo>
                  <a:lnTo>
                    <a:pt x="796" y="409"/>
                  </a:lnTo>
                  <a:lnTo>
                    <a:pt x="796" y="407"/>
                  </a:lnTo>
                  <a:lnTo>
                    <a:pt x="796" y="405"/>
                  </a:lnTo>
                  <a:lnTo>
                    <a:pt x="795" y="405"/>
                  </a:lnTo>
                  <a:lnTo>
                    <a:pt x="793" y="405"/>
                  </a:lnTo>
                  <a:lnTo>
                    <a:pt x="793" y="403"/>
                  </a:lnTo>
                  <a:lnTo>
                    <a:pt x="795" y="403"/>
                  </a:lnTo>
                  <a:lnTo>
                    <a:pt x="793" y="403"/>
                  </a:lnTo>
                  <a:lnTo>
                    <a:pt x="793" y="401"/>
                  </a:lnTo>
                  <a:lnTo>
                    <a:pt x="791" y="401"/>
                  </a:lnTo>
                  <a:lnTo>
                    <a:pt x="791" y="399"/>
                  </a:lnTo>
                  <a:lnTo>
                    <a:pt x="789" y="399"/>
                  </a:lnTo>
                  <a:lnTo>
                    <a:pt x="789" y="397"/>
                  </a:lnTo>
                  <a:lnTo>
                    <a:pt x="789" y="395"/>
                  </a:lnTo>
                  <a:lnTo>
                    <a:pt x="787" y="395"/>
                  </a:lnTo>
                  <a:lnTo>
                    <a:pt x="787" y="393"/>
                  </a:lnTo>
                  <a:lnTo>
                    <a:pt x="789" y="393"/>
                  </a:lnTo>
                  <a:lnTo>
                    <a:pt x="787" y="393"/>
                  </a:lnTo>
                  <a:lnTo>
                    <a:pt x="789" y="393"/>
                  </a:lnTo>
                  <a:lnTo>
                    <a:pt x="789" y="392"/>
                  </a:lnTo>
                  <a:lnTo>
                    <a:pt x="787" y="392"/>
                  </a:lnTo>
                  <a:lnTo>
                    <a:pt x="787" y="390"/>
                  </a:lnTo>
                  <a:lnTo>
                    <a:pt x="787" y="388"/>
                  </a:lnTo>
                  <a:lnTo>
                    <a:pt x="787" y="386"/>
                  </a:lnTo>
                  <a:lnTo>
                    <a:pt x="785" y="386"/>
                  </a:lnTo>
                  <a:lnTo>
                    <a:pt x="785" y="384"/>
                  </a:lnTo>
                  <a:lnTo>
                    <a:pt x="785" y="382"/>
                  </a:lnTo>
                  <a:lnTo>
                    <a:pt x="783" y="382"/>
                  </a:lnTo>
                  <a:lnTo>
                    <a:pt x="783" y="380"/>
                  </a:lnTo>
                  <a:lnTo>
                    <a:pt x="781" y="378"/>
                  </a:lnTo>
                  <a:lnTo>
                    <a:pt x="779" y="378"/>
                  </a:lnTo>
                  <a:lnTo>
                    <a:pt x="779" y="376"/>
                  </a:lnTo>
                  <a:lnTo>
                    <a:pt x="777" y="376"/>
                  </a:lnTo>
                  <a:lnTo>
                    <a:pt x="777" y="374"/>
                  </a:lnTo>
                  <a:lnTo>
                    <a:pt x="775" y="374"/>
                  </a:lnTo>
                  <a:lnTo>
                    <a:pt x="775" y="372"/>
                  </a:lnTo>
                  <a:lnTo>
                    <a:pt x="775" y="374"/>
                  </a:lnTo>
                  <a:lnTo>
                    <a:pt x="773" y="374"/>
                  </a:lnTo>
                  <a:lnTo>
                    <a:pt x="773" y="372"/>
                  </a:lnTo>
                  <a:lnTo>
                    <a:pt x="771" y="372"/>
                  </a:lnTo>
                  <a:lnTo>
                    <a:pt x="770" y="372"/>
                  </a:lnTo>
                  <a:lnTo>
                    <a:pt x="770" y="370"/>
                  </a:lnTo>
                  <a:lnTo>
                    <a:pt x="768" y="370"/>
                  </a:lnTo>
                  <a:lnTo>
                    <a:pt x="766" y="370"/>
                  </a:lnTo>
                  <a:lnTo>
                    <a:pt x="766" y="369"/>
                  </a:lnTo>
                  <a:lnTo>
                    <a:pt x="768" y="369"/>
                  </a:lnTo>
                  <a:lnTo>
                    <a:pt x="766" y="369"/>
                  </a:lnTo>
                  <a:lnTo>
                    <a:pt x="764" y="369"/>
                  </a:lnTo>
                  <a:lnTo>
                    <a:pt x="762" y="369"/>
                  </a:lnTo>
                  <a:lnTo>
                    <a:pt x="760" y="369"/>
                  </a:lnTo>
                  <a:lnTo>
                    <a:pt x="758" y="369"/>
                  </a:lnTo>
                  <a:lnTo>
                    <a:pt x="756" y="369"/>
                  </a:lnTo>
                  <a:lnTo>
                    <a:pt x="743" y="367"/>
                  </a:lnTo>
                  <a:lnTo>
                    <a:pt x="741" y="367"/>
                  </a:lnTo>
                  <a:lnTo>
                    <a:pt x="739" y="367"/>
                  </a:lnTo>
                  <a:lnTo>
                    <a:pt x="735" y="367"/>
                  </a:lnTo>
                  <a:lnTo>
                    <a:pt x="737" y="367"/>
                  </a:lnTo>
                  <a:lnTo>
                    <a:pt x="741" y="367"/>
                  </a:lnTo>
                  <a:lnTo>
                    <a:pt x="739" y="367"/>
                  </a:lnTo>
                  <a:lnTo>
                    <a:pt x="743" y="367"/>
                  </a:lnTo>
                  <a:lnTo>
                    <a:pt x="741" y="367"/>
                  </a:lnTo>
                  <a:lnTo>
                    <a:pt x="756" y="369"/>
                  </a:lnTo>
                  <a:lnTo>
                    <a:pt x="770" y="369"/>
                  </a:lnTo>
                  <a:lnTo>
                    <a:pt x="779" y="370"/>
                  </a:lnTo>
                  <a:lnTo>
                    <a:pt x="785" y="370"/>
                  </a:lnTo>
                  <a:lnTo>
                    <a:pt x="789" y="372"/>
                  </a:lnTo>
                  <a:lnTo>
                    <a:pt x="789" y="370"/>
                  </a:lnTo>
                  <a:lnTo>
                    <a:pt x="787" y="369"/>
                  </a:lnTo>
                  <a:lnTo>
                    <a:pt x="783" y="369"/>
                  </a:lnTo>
                  <a:lnTo>
                    <a:pt x="779" y="369"/>
                  </a:lnTo>
                  <a:lnTo>
                    <a:pt x="758" y="367"/>
                  </a:lnTo>
                  <a:lnTo>
                    <a:pt x="747" y="367"/>
                  </a:lnTo>
                  <a:lnTo>
                    <a:pt x="737" y="365"/>
                  </a:lnTo>
                  <a:lnTo>
                    <a:pt x="737" y="363"/>
                  </a:lnTo>
                  <a:lnTo>
                    <a:pt x="737" y="361"/>
                  </a:lnTo>
                  <a:lnTo>
                    <a:pt x="737" y="359"/>
                  </a:lnTo>
                  <a:lnTo>
                    <a:pt x="739" y="361"/>
                  </a:lnTo>
                  <a:lnTo>
                    <a:pt x="739" y="363"/>
                  </a:lnTo>
                  <a:lnTo>
                    <a:pt x="741" y="365"/>
                  </a:lnTo>
                  <a:lnTo>
                    <a:pt x="743" y="365"/>
                  </a:lnTo>
                  <a:lnTo>
                    <a:pt x="745" y="365"/>
                  </a:lnTo>
                  <a:lnTo>
                    <a:pt x="747" y="365"/>
                  </a:lnTo>
                  <a:lnTo>
                    <a:pt x="747" y="367"/>
                  </a:lnTo>
                  <a:lnTo>
                    <a:pt x="748" y="367"/>
                  </a:lnTo>
                  <a:lnTo>
                    <a:pt x="756" y="367"/>
                  </a:lnTo>
                  <a:lnTo>
                    <a:pt x="758" y="365"/>
                  </a:lnTo>
                  <a:lnTo>
                    <a:pt x="758" y="367"/>
                  </a:lnTo>
                  <a:lnTo>
                    <a:pt x="760" y="367"/>
                  </a:lnTo>
                  <a:lnTo>
                    <a:pt x="760" y="365"/>
                  </a:lnTo>
                  <a:lnTo>
                    <a:pt x="762" y="365"/>
                  </a:lnTo>
                  <a:lnTo>
                    <a:pt x="764" y="367"/>
                  </a:lnTo>
                  <a:lnTo>
                    <a:pt x="764" y="365"/>
                  </a:lnTo>
                  <a:lnTo>
                    <a:pt x="766" y="363"/>
                  </a:lnTo>
                  <a:lnTo>
                    <a:pt x="768" y="361"/>
                  </a:lnTo>
                  <a:lnTo>
                    <a:pt x="770" y="361"/>
                  </a:lnTo>
                  <a:lnTo>
                    <a:pt x="771" y="361"/>
                  </a:lnTo>
                  <a:lnTo>
                    <a:pt x="771" y="363"/>
                  </a:lnTo>
                  <a:lnTo>
                    <a:pt x="770" y="363"/>
                  </a:lnTo>
                  <a:lnTo>
                    <a:pt x="768" y="363"/>
                  </a:lnTo>
                  <a:lnTo>
                    <a:pt x="766" y="363"/>
                  </a:lnTo>
                  <a:lnTo>
                    <a:pt x="768" y="365"/>
                  </a:lnTo>
                  <a:lnTo>
                    <a:pt x="768" y="367"/>
                  </a:lnTo>
                  <a:lnTo>
                    <a:pt x="770" y="367"/>
                  </a:lnTo>
                  <a:lnTo>
                    <a:pt x="771" y="365"/>
                  </a:lnTo>
                  <a:lnTo>
                    <a:pt x="771" y="363"/>
                  </a:lnTo>
                  <a:lnTo>
                    <a:pt x="773" y="363"/>
                  </a:lnTo>
                  <a:lnTo>
                    <a:pt x="775" y="365"/>
                  </a:lnTo>
                  <a:lnTo>
                    <a:pt x="775" y="363"/>
                  </a:lnTo>
                  <a:lnTo>
                    <a:pt x="777" y="363"/>
                  </a:lnTo>
                  <a:lnTo>
                    <a:pt x="779" y="363"/>
                  </a:lnTo>
                  <a:lnTo>
                    <a:pt x="779" y="365"/>
                  </a:lnTo>
                  <a:lnTo>
                    <a:pt x="781" y="365"/>
                  </a:lnTo>
                  <a:lnTo>
                    <a:pt x="783" y="365"/>
                  </a:lnTo>
                  <a:lnTo>
                    <a:pt x="781" y="367"/>
                  </a:lnTo>
                  <a:lnTo>
                    <a:pt x="783" y="365"/>
                  </a:lnTo>
                  <a:lnTo>
                    <a:pt x="787" y="369"/>
                  </a:lnTo>
                  <a:lnTo>
                    <a:pt x="789" y="370"/>
                  </a:lnTo>
                  <a:lnTo>
                    <a:pt x="791" y="369"/>
                  </a:lnTo>
                  <a:lnTo>
                    <a:pt x="787" y="365"/>
                  </a:lnTo>
                  <a:lnTo>
                    <a:pt x="785" y="363"/>
                  </a:lnTo>
                  <a:lnTo>
                    <a:pt x="783" y="361"/>
                  </a:lnTo>
                  <a:lnTo>
                    <a:pt x="785" y="361"/>
                  </a:lnTo>
                  <a:lnTo>
                    <a:pt x="785" y="359"/>
                  </a:lnTo>
                  <a:lnTo>
                    <a:pt x="783" y="359"/>
                  </a:lnTo>
                  <a:lnTo>
                    <a:pt x="781" y="357"/>
                  </a:lnTo>
                  <a:lnTo>
                    <a:pt x="783" y="357"/>
                  </a:lnTo>
                  <a:lnTo>
                    <a:pt x="783" y="355"/>
                  </a:lnTo>
                  <a:lnTo>
                    <a:pt x="783" y="353"/>
                  </a:lnTo>
                  <a:lnTo>
                    <a:pt x="785" y="353"/>
                  </a:lnTo>
                  <a:lnTo>
                    <a:pt x="785" y="351"/>
                  </a:lnTo>
                  <a:lnTo>
                    <a:pt x="787" y="351"/>
                  </a:lnTo>
                  <a:lnTo>
                    <a:pt x="785" y="351"/>
                  </a:lnTo>
                  <a:lnTo>
                    <a:pt x="785" y="349"/>
                  </a:lnTo>
                  <a:lnTo>
                    <a:pt x="783" y="349"/>
                  </a:lnTo>
                  <a:lnTo>
                    <a:pt x="783" y="347"/>
                  </a:lnTo>
                  <a:lnTo>
                    <a:pt x="783" y="345"/>
                  </a:lnTo>
                  <a:lnTo>
                    <a:pt x="783" y="344"/>
                  </a:lnTo>
                  <a:lnTo>
                    <a:pt x="785" y="344"/>
                  </a:lnTo>
                  <a:lnTo>
                    <a:pt x="785" y="342"/>
                  </a:lnTo>
                  <a:lnTo>
                    <a:pt x="785" y="344"/>
                  </a:lnTo>
                  <a:lnTo>
                    <a:pt x="787" y="344"/>
                  </a:lnTo>
                  <a:lnTo>
                    <a:pt x="787" y="342"/>
                  </a:lnTo>
                  <a:lnTo>
                    <a:pt x="785" y="342"/>
                  </a:lnTo>
                  <a:lnTo>
                    <a:pt x="787" y="342"/>
                  </a:lnTo>
                  <a:lnTo>
                    <a:pt x="787" y="340"/>
                  </a:lnTo>
                  <a:lnTo>
                    <a:pt x="787" y="338"/>
                  </a:lnTo>
                  <a:lnTo>
                    <a:pt x="787" y="340"/>
                  </a:lnTo>
                  <a:lnTo>
                    <a:pt x="787" y="338"/>
                  </a:lnTo>
                  <a:lnTo>
                    <a:pt x="787" y="336"/>
                  </a:lnTo>
                  <a:lnTo>
                    <a:pt x="787" y="338"/>
                  </a:lnTo>
                  <a:lnTo>
                    <a:pt x="789" y="338"/>
                  </a:lnTo>
                  <a:lnTo>
                    <a:pt x="791" y="338"/>
                  </a:lnTo>
                  <a:lnTo>
                    <a:pt x="789" y="338"/>
                  </a:lnTo>
                  <a:lnTo>
                    <a:pt x="789" y="336"/>
                  </a:lnTo>
                  <a:lnTo>
                    <a:pt x="791" y="336"/>
                  </a:lnTo>
                  <a:lnTo>
                    <a:pt x="793" y="336"/>
                  </a:lnTo>
                  <a:lnTo>
                    <a:pt x="791" y="336"/>
                  </a:lnTo>
                  <a:lnTo>
                    <a:pt x="791" y="334"/>
                  </a:lnTo>
                  <a:lnTo>
                    <a:pt x="791" y="332"/>
                  </a:lnTo>
                  <a:lnTo>
                    <a:pt x="791" y="330"/>
                  </a:lnTo>
                  <a:lnTo>
                    <a:pt x="793" y="330"/>
                  </a:lnTo>
                  <a:lnTo>
                    <a:pt x="793" y="332"/>
                  </a:lnTo>
                  <a:lnTo>
                    <a:pt x="795" y="330"/>
                  </a:lnTo>
                  <a:lnTo>
                    <a:pt x="796" y="330"/>
                  </a:lnTo>
                  <a:lnTo>
                    <a:pt x="798" y="330"/>
                  </a:lnTo>
                  <a:lnTo>
                    <a:pt x="800" y="330"/>
                  </a:lnTo>
                  <a:lnTo>
                    <a:pt x="800" y="328"/>
                  </a:lnTo>
                  <a:lnTo>
                    <a:pt x="802" y="328"/>
                  </a:lnTo>
                  <a:lnTo>
                    <a:pt x="804" y="328"/>
                  </a:lnTo>
                  <a:lnTo>
                    <a:pt x="806" y="328"/>
                  </a:lnTo>
                  <a:lnTo>
                    <a:pt x="806" y="326"/>
                  </a:lnTo>
                  <a:lnTo>
                    <a:pt x="808" y="326"/>
                  </a:lnTo>
                  <a:lnTo>
                    <a:pt x="810" y="326"/>
                  </a:lnTo>
                  <a:lnTo>
                    <a:pt x="812" y="326"/>
                  </a:lnTo>
                  <a:lnTo>
                    <a:pt x="812" y="324"/>
                  </a:lnTo>
                  <a:lnTo>
                    <a:pt x="812" y="326"/>
                  </a:lnTo>
                  <a:lnTo>
                    <a:pt x="814" y="326"/>
                  </a:lnTo>
                  <a:lnTo>
                    <a:pt x="814" y="324"/>
                  </a:lnTo>
                  <a:lnTo>
                    <a:pt x="816" y="324"/>
                  </a:lnTo>
                  <a:lnTo>
                    <a:pt x="816" y="326"/>
                  </a:lnTo>
                  <a:lnTo>
                    <a:pt x="818" y="326"/>
                  </a:lnTo>
                  <a:lnTo>
                    <a:pt x="818" y="324"/>
                  </a:lnTo>
                  <a:lnTo>
                    <a:pt x="819" y="324"/>
                  </a:lnTo>
                  <a:lnTo>
                    <a:pt x="819" y="322"/>
                  </a:lnTo>
                  <a:lnTo>
                    <a:pt x="821" y="324"/>
                  </a:lnTo>
                  <a:lnTo>
                    <a:pt x="821" y="322"/>
                  </a:lnTo>
                  <a:lnTo>
                    <a:pt x="823" y="322"/>
                  </a:lnTo>
                  <a:lnTo>
                    <a:pt x="825" y="322"/>
                  </a:lnTo>
                  <a:lnTo>
                    <a:pt x="827" y="322"/>
                  </a:lnTo>
                  <a:lnTo>
                    <a:pt x="827" y="320"/>
                  </a:lnTo>
                  <a:lnTo>
                    <a:pt x="829" y="320"/>
                  </a:lnTo>
                  <a:lnTo>
                    <a:pt x="831" y="320"/>
                  </a:lnTo>
                  <a:lnTo>
                    <a:pt x="833" y="320"/>
                  </a:lnTo>
                  <a:lnTo>
                    <a:pt x="831" y="320"/>
                  </a:lnTo>
                  <a:lnTo>
                    <a:pt x="833" y="322"/>
                  </a:lnTo>
                  <a:lnTo>
                    <a:pt x="833" y="320"/>
                  </a:lnTo>
                  <a:lnTo>
                    <a:pt x="835" y="320"/>
                  </a:lnTo>
                  <a:lnTo>
                    <a:pt x="837" y="320"/>
                  </a:lnTo>
                  <a:lnTo>
                    <a:pt x="837" y="322"/>
                  </a:lnTo>
                  <a:lnTo>
                    <a:pt x="839" y="322"/>
                  </a:lnTo>
                  <a:lnTo>
                    <a:pt x="841" y="324"/>
                  </a:lnTo>
                  <a:lnTo>
                    <a:pt x="841" y="322"/>
                  </a:lnTo>
                  <a:lnTo>
                    <a:pt x="842" y="322"/>
                  </a:lnTo>
                  <a:lnTo>
                    <a:pt x="842" y="324"/>
                  </a:lnTo>
                  <a:lnTo>
                    <a:pt x="842" y="322"/>
                  </a:lnTo>
                  <a:lnTo>
                    <a:pt x="844" y="324"/>
                  </a:lnTo>
                  <a:lnTo>
                    <a:pt x="844" y="322"/>
                  </a:lnTo>
                  <a:lnTo>
                    <a:pt x="846" y="322"/>
                  </a:lnTo>
                  <a:lnTo>
                    <a:pt x="846" y="324"/>
                  </a:lnTo>
                  <a:lnTo>
                    <a:pt x="846" y="322"/>
                  </a:lnTo>
                  <a:lnTo>
                    <a:pt x="846" y="324"/>
                  </a:lnTo>
                  <a:lnTo>
                    <a:pt x="848" y="324"/>
                  </a:lnTo>
                  <a:lnTo>
                    <a:pt x="846" y="324"/>
                  </a:lnTo>
                  <a:lnTo>
                    <a:pt x="846" y="326"/>
                  </a:lnTo>
                  <a:lnTo>
                    <a:pt x="848" y="326"/>
                  </a:lnTo>
                  <a:lnTo>
                    <a:pt x="846" y="328"/>
                  </a:lnTo>
                  <a:lnTo>
                    <a:pt x="848" y="328"/>
                  </a:lnTo>
                  <a:lnTo>
                    <a:pt x="848" y="326"/>
                  </a:lnTo>
                  <a:lnTo>
                    <a:pt x="848" y="328"/>
                  </a:lnTo>
                  <a:lnTo>
                    <a:pt x="850" y="328"/>
                  </a:lnTo>
                  <a:lnTo>
                    <a:pt x="850" y="326"/>
                  </a:lnTo>
                  <a:lnTo>
                    <a:pt x="850" y="328"/>
                  </a:lnTo>
                  <a:lnTo>
                    <a:pt x="852" y="328"/>
                  </a:lnTo>
                  <a:lnTo>
                    <a:pt x="854" y="328"/>
                  </a:lnTo>
                  <a:lnTo>
                    <a:pt x="854" y="330"/>
                  </a:lnTo>
                  <a:lnTo>
                    <a:pt x="856" y="332"/>
                  </a:lnTo>
                  <a:lnTo>
                    <a:pt x="858" y="332"/>
                  </a:lnTo>
                  <a:lnTo>
                    <a:pt x="860" y="332"/>
                  </a:lnTo>
                  <a:lnTo>
                    <a:pt x="860" y="330"/>
                  </a:lnTo>
                  <a:lnTo>
                    <a:pt x="860" y="334"/>
                  </a:lnTo>
                  <a:lnTo>
                    <a:pt x="860" y="330"/>
                  </a:lnTo>
                  <a:lnTo>
                    <a:pt x="862" y="330"/>
                  </a:lnTo>
                  <a:lnTo>
                    <a:pt x="862" y="332"/>
                  </a:lnTo>
                  <a:lnTo>
                    <a:pt x="864" y="332"/>
                  </a:lnTo>
                  <a:lnTo>
                    <a:pt x="866" y="332"/>
                  </a:lnTo>
                  <a:lnTo>
                    <a:pt x="864" y="332"/>
                  </a:lnTo>
                  <a:lnTo>
                    <a:pt x="866" y="332"/>
                  </a:lnTo>
                  <a:lnTo>
                    <a:pt x="866" y="330"/>
                  </a:lnTo>
                  <a:lnTo>
                    <a:pt x="864" y="330"/>
                  </a:lnTo>
                  <a:lnTo>
                    <a:pt x="866" y="330"/>
                  </a:lnTo>
                  <a:lnTo>
                    <a:pt x="866" y="332"/>
                  </a:lnTo>
                  <a:lnTo>
                    <a:pt x="867" y="330"/>
                  </a:lnTo>
                  <a:lnTo>
                    <a:pt x="867" y="332"/>
                  </a:lnTo>
                  <a:lnTo>
                    <a:pt x="867" y="330"/>
                  </a:lnTo>
                  <a:lnTo>
                    <a:pt x="869" y="332"/>
                  </a:lnTo>
                  <a:lnTo>
                    <a:pt x="869" y="330"/>
                  </a:lnTo>
                  <a:lnTo>
                    <a:pt x="871" y="330"/>
                  </a:lnTo>
                  <a:lnTo>
                    <a:pt x="873" y="328"/>
                  </a:lnTo>
                  <a:lnTo>
                    <a:pt x="875" y="328"/>
                  </a:lnTo>
                  <a:lnTo>
                    <a:pt x="877" y="328"/>
                  </a:lnTo>
                  <a:lnTo>
                    <a:pt x="877" y="326"/>
                  </a:lnTo>
                  <a:lnTo>
                    <a:pt x="879" y="326"/>
                  </a:lnTo>
                  <a:lnTo>
                    <a:pt x="879" y="324"/>
                  </a:lnTo>
                  <a:lnTo>
                    <a:pt x="881" y="324"/>
                  </a:lnTo>
                  <a:lnTo>
                    <a:pt x="883" y="324"/>
                  </a:lnTo>
                  <a:lnTo>
                    <a:pt x="885" y="324"/>
                  </a:lnTo>
                  <a:lnTo>
                    <a:pt x="885" y="322"/>
                  </a:lnTo>
                  <a:lnTo>
                    <a:pt x="887" y="322"/>
                  </a:lnTo>
                  <a:lnTo>
                    <a:pt x="889" y="322"/>
                  </a:lnTo>
                  <a:lnTo>
                    <a:pt x="889" y="320"/>
                  </a:lnTo>
                  <a:lnTo>
                    <a:pt x="889" y="322"/>
                  </a:lnTo>
                  <a:lnTo>
                    <a:pt x="889" y="320"/>
                  </a:lnTo>
                  <a:lnTo>
                    <a:pt x="890" y="320"/>
                  </a:lnTo>
                  <a:lnTo>
                    <a:pt x="889" y="320"/>
                  </a:lnTo>
                  <a:lnTo>
                    <a:pt x="890" y="320"/>
                  </a:lnTo>
                  <a:lnTo>
                    <a:pt x="890" y="319"/>
                  </a:lnTo>
                  <a:lnTo>
                    <a:pt x="890" y="317"/>
                  </a:lnTo>
                  <a:lnTo>
                    <a:pt x="892" y="317"/>
                  </a:lnTo>
                  <a:lnTo>
                    <a:pt x="894" y="317"/>
                  </a:lnTo>
                  <a:lnTo>
                    <a:pt x="894" y="319"/>
                  </a:lnTo>
                  <a:lnTo>
                    <a:pt x="894" y="317"/>
                  </a:lnTo>
                  <a:lnTo>
                    <a:pt x="896" y="317"/>
                  </a:lnTo>
                  <a:lnTo>
                    <a:pt x="896" y="319"/>
                  </a:lnTo>
                  <a:lnTo>
                    <a:pt x="898" y="319"/>
                  </a:lnTo>
                  <a:lnTo>
                    <a:pt x="900" y="320"/>
                  </a:lnTo>
                  <a:lnTo>
                    <a:pt x="902" y="320"/>
                  </a:lnTo>
                  <a:lnTo>
                    <a:pt x="904" y="320"/>
                  </a:lnTo>
                  <a:lnTo>
                    <a:pt x="906" y="320"/>
                  </a:lnTo>
                  <a:lnTo>
                    <a:pt x="908" y="320"/>
                  </a:lnTo>
                  <a:lnTo>
                    <a:pt x="910" y="322"/>
                  </a:lnTo>
                  <a:lnTo>
                    <a:pt x="908" y="320"/>
                  </a:lnTo>
                  <a:lnTo>
                    <a:pt x="910" y="320"/>
                  </a:lnTo>
                  <a:lnTo>
                    <a:pt x="912" y="320"/>
                  </a:lnTo>
                  <a:lnTo>
                    <a:pt x="910" y="320"/>
                  </a:lnTo>
                  <a:lnTo>
                    <a:pt x="908" y="320"/>
                  </a:lnTo>
                  <a:lnTo>
                    <a:pt x="906" y="320"/>
                  </a:lnTo>
                  <a:lnTo>
                    <a:pt x="908" y="320"/>
                  </a:lnTo>
                  <a:lnTo>
                    <a:pt x="910" y="320"/>
                  </a:lnTo>
                  <a:lnTo>
                    <a:pt x="912" y="320"/>
                  </a:lnTo>
                  <a:lnTo>
                    <a:pt x="912" y="319"/>
                  </a:lnTo>
                  <a:lnTo>
                    <a:pt x="914" y="320"/>
                  </a:lnTo>
                  <a:lnTo>
                    <a:pt x="914" y="319"/>
                  </a:lnTo>
                  <a:lnTo>
                    <a:pt x="912" y="319"/>
                  </a:lnTo>
                  <a:lnTo>
                    <a:pt x="914" y="319"/>
                  </a:lnTo>
                  <a:lnTo>
                    <a:pt x="915" y="319"/>
                  </a:lnTo>
                  <a:lnTo>
                    <a:pt x="917" y="319"/>
                  </a:lnTo>
                  <a:lnTo>
                    <a:pt x="917" y="317"/>
                  </a:lnTo>
                  <a:lnTo>
                    <a:pt x="917" y="315"/>
                  </a:lnTo>
                  <a:lnTo>
                    <a:pt x="917" y="317"/>
                  </a:lnTo>
                  <a:lnTo>
                    <a:pt x="919" y="317"/>
                  </a:lnTo>
                  <a:lnTo>
                    <a:pt x="931" y="307"/>
                  </a:lnTo>
                  <a:lnTo>
                    <a:pt x="935" y="305"/>
                  </a:lnTo>
                  <a:lnTo>
                    <a:pt x="938" y="301"/>
                  </a:lnTo>
                  <a:lnTo>
                    <a:pt x="938" y="303"/>
                  </a:lnTo>
                  <a:lnTo>
                    <a:pt x="938" y="307"/>
                  </a:lnTo>
                  <a:lnTo>
                    <a:pt x="938" y="301"/>
                  </a:lnTo>
                  <a:lnTo>
                    <a:pt x="940" y="303"/>
                  </a:lnTo>
                  <a:lnTo>
                    <a:pt x="944" y="305"/>
                  </a:lnTo>
                  <a:lnTo>
                    <a:pt x="946" y="303"/>
                  </a:lnTo>
                  <a:lnTo>
                    <a:pt x="946" y="301"/>
                  </a:lnTo>
                  <a:lnTo>
                    <a:pt x="944" y="301"/>
                  </a:lnTo>
                  <a:lnTo>
                    <a:pt x="940" y="299"/>
                  </a:lnTo>
                  <a:lnTo>
                    <a:pt x="938" y="299"/>
                  </a:lnTo>
                  <a:lnTo>
                    <a:pt x="937" y="297"/>
                  </a:lnTo>
                  <a:lnTo>
                    <a:pt x="935" y="296"/>
                  </a:lnTo>
                  <a:lnTo>
                    <a:pt x="937" y="297"/>
                  </a:lnTo>
                  <a:lnTo>
                    <a:pt x="938" y="297"/>
                  </a:lnTo>
                  <a:lnTo>
                    <a:pt x="938" y="299"/>
                  </a:lnTo>
                  <a:lnTo>
                    <a:pt x="940" y="299"/>
                  </a:lnTo>
                  <a:lnTo>
                    <a:pt x="942" y="299"/>
                  </a:lnTo>
                  <a:lnTo>
                    <a:pt x="944" y="299"/>
                  </a:lnTo>
                  <a:lnTo>
                    <a:pt x="944" y="301"/>
                  </a:lnTo>
                  <a:lnTo>
                    <a:pt x="946" y="301"/>
                  </a:lnTo>
                  <a:lnTo>
                    <a:pt x="946" y="299"/>
                  </a:lnTo>
                  <a:lnTo>
                    <a:pt x="948" y="299"/>
                  </a:lnTo>
                  <a:lnTo>
                    <a:pt x="948" y="297"/>
                  </a:lnTo>
                  <a:lnTo>
                    <a:pt x="946" y="297"/>
                  </a:lnTo>
                  <a:lnTo>
                    <a:pt x="948" y="296"/>
                  </a:lnTo>
                  <a:lnTo>
                    <a:pt x="950" y="296"/>
                  </a:lnTo>
                  <a:lnTo>
                    <a:pt x="948" y="296"/>
                  </a:lnTo>
                  <a:lnTo>
                    <a:pt x="946" y="297"/>
                  </a:lnTo>
                  <a:lnTo>
                    <a:pt x="946" y="296"/>
                  </a:lnTo>
                  <a:lnTo>
                    <a:pt x="944" y="296"/>
                  </a:lnTo>
                  <a:lnTo>
                    <a:pt x="944" y="294"/>
                  </a:lnTo>
                  <a:lnTo>
                    <a:pt x="942" y="294"/>
                  </a:lnTo>
                  <a:lnTo>
                    <a:pt x="942" y="292"/>
                  </a:lnTo>
                  <a:lnTo>
                    <a:pt x="942" y="294"/>
                  </a:lnTo>
                  <a:lnTo>
                    <a:pt x="942" y="292"/>
                  </a:lnTo>
                  <a:lnTo>
                    <a:pt x="942" y="290"/>
                  </a:lnTo>
                  <a:lnTo>
                    <a:pt x="940" y="290"/>
                  </a:lnTo>
                  <a:lnTo>
                    <a:pt x="940" y="292"/>
                  </a:lnTo>
                  <a:lnTo>
                    <a:pt x="938" y="292"/>
                  </a:lnTo>
                  <a:lnTo>
                    <a:pt x="938" y="290"/>
                  </a:lnTo>
                  <a:lnTo>
                    <a:pt x="940" y="290"/>
                  </a:lnTo>
                  <a:lnTo>
                    <a:pt x="940" y="288"/>
                  </a:lnTo>
                  <a:lnTo>
                    <a:pt x="938" y="288"/>
                  </a:lnTo>
                  <a:lnTo>
                    <a:pt x="938" y="286"/>
                  </a:lnTo>
                  <a:lnTo>
                    <a:pt x="937" y="286"/>
                  </a:lnTo>
                  <a:lnTo>
                    <a:pt x="937" y="284"/>
                  </a:lnTo>
                  <a:lnTo>
                    <a:pt x="937" y="282"/>
                  </a:lnTo>
                  <a:lnTo>
                    <a:pt x="935" y="282"/>
                  </a:lnTo>
                  <a:lnTo>
                    <a:pt x="935" y="280"/>
                  </a:lnTo>
                  <a:lnTo>
                    <a:pt x="933" y="280"/>
                  </a:lnTo>
                  <a:lnTo>
                    <a:pt x="931" y="278"/>
                  </a:lnTo>
                  <a:lnTo>
                    <a:pt x="929" y="278"/>
                  </a:lnTo>
                  <a:lnTo>
                    <a:pt x="929" y="276"/>
                  </a:lnTo>
                  <a:lnTo>
                    <a:pt x="927" y="276"/>
                  </a:lnTo>
                  <a:lnTo>
                    <a:pt x="925" y="276"/>
                  </a:lnTo>
                  <a:lnTo>
                    <a:pt x="925" y="274"/>
                  </a:lnTo>
                  <a:lnTo>
                    <a:pt x="923" y="274"/>
                  </a:lnTo>
                  <a:lnTo>
                    <a:pt x="921" y="274"/>
                  </a:lnTo>
                  <a:lnTo>
                    <a:pt x="919" y="274"/>
                  </a:lnTo>
                  <a:lnTo>
                    <a:pt x="919" y="272"/>
                  </a:lnTo>
                  <a:lnTo>
                    <a:pt x="919" y="274"/>
                  </a:lnTo>
                  <a:lnTo>
                    <a:pt x="919" y="272"/>
                  </a:lnTo>
                  <a:lnTo>
                    <a:pt x="917" y="274"/>
                  </a:lnTo>
                  <a:lnTo>
                    <a:pt x="917" y="272"/>
                  </a:lnTo>
                  <a:lnTo>
                    <a:pt x="915" y="272"/>
                  </a:lnTo>
                  <a:lnTo>
                    <a:pt x="915" y="271"/>
                  </a:lnTo>
                  <a:lnTo>
                    <a:pt x="914" y="271"/>
                  </a:lnTo>
                  <a:lnTo>
                    <a:pt x="914" y="272"/>
                  </a:lnTo>
                  <a:lnTo>
                    <a:pt x="915" y="274"/>
                  </a:lnTo>
                  <a:lnTo>
                    <a:pt x="917" y="274"/>
                  </a:lnTo>
                  <a:lnTo>
                    <a:pt x="915" y="274"/>
                  </a:lnTo>
                  <a:lnTo>
                    <a:pt x="915" y="276"/>
                  </a:lnTo>
                  <a:lnTo>
                    <a:pt x="910" y="284"/>
                  </a:lnTo>
                  <a:lnTo>
                    <a:pt x="908" y="286"/>
                  </a:lnTo>
                  <a:lnTo>
                    <a:pt x="902" y="294"/>
                  </a:lnTo>
                  <a:lnTo>
                    <a:pt x="900" y="296"/>
                  </a:lnTo>
                  <a:lnTo>
                    <a:pt x="898" y="297"/>
                  </a:lnTo>
                  <a:lnTo>
                    <a:pt x="896" y="297"/>
                  </a:lnTo>
                  <a:lnTo>
                    <a:pt x="883" y="301"/>
                  </a:lnTo>
                  <a:lnTo>
                    <a:pt x="856" y="309"/>
                  </a:lnTo>
                  <a:lnTo>
                    <a:pt x="841" y="313"/>
                  </a:lnTo>
                  <a:lnTo>
                    <a:pt x="839" y="313"/>
                  </a:lnTo>
                  <a:lnTo>
                    <a:pt x="829" y="317"/>
                  </a:lnTo>
                  <a:lnTo>
                    <a:pt x="800" y="324"/>
                  </a:lnTo>
                  <a:lnTo>
                    <a:pt x="796" y="324"/>
                  </a:lnTo>
                  <a:lnTo>
                    <a:pt x="796" y="326"/>
                  </a:lnTo>
                  <a:lnTo>
                    <a:pt x="795" y="326"/>
                  </a:lnTo>
                  <a:lnTo>
                    <a:pt x="793" y="326"/>
                  </a:lnTo>
                  <a:lnTo>
                    <a:pt x="795" y="326"/>
                  </a:lnTo>
                  <a:lnTo>
                    <a:pt x="798" y="326"/>
                  </a:lnTo>
                  <a:lnTo>
                    <a:pt x="800" y="326"/>
                  </a:lnTo>
                  <a:lnTo>
                    <a:pt x="806" y="324"/>
                  </a:lnTo>
                  <a:lnTo>
                    <a:pt x="804" y="324"/>
                  </a:lnTo>
                  <a:lnTo>
                    <a:pt x="802" y="324"/>
                  </a:lnTo>
                  <a:lnTo>
                    <a:pt x="802" y="326"/>
                  </a:lnTo>
                  <a:lnTo>
                    <a:pt x="800" y="326"/>
                  </a:lnTo>
                  <a:lnTo>
                    <a:pt x="798" y="326"/>
                  </a:lnTo>
                  <a:lnTo>
                    <a:pt x="796" y="326"/>
                  </a:lnTo>
                  <a:lnTo>
                    <a:pt x="795" y="326"/>
                  </a:lnTo>
                  <a:lnTo>
                    <a:pt x="795" y="328"/>
                  </a:lnTo>
                  <a:lnTo>
                    <a:pt x="793" y="328"/>
                  </a:lnTo>
                  <a:lnTo>
                    <a:pt x="791" y="328"/>
                  </a:lnTo>
                  <a:lnTo>
                    <a:pt x="791" y="330"/>
                  </a:lnTo>
                  <a:lnTo>
                    <a:pt x="791" y="328"/>
                  </a:lnTo>
                  <a:lnTo>
                    <a:pt x="787" y="330"/>
                  </a:lnTo>
                  <a:lnTo>
                    <a:pt x="785" y="330"/>
                  </a:lnTo>
                  <a:lnTo>
                    <a:pt x="783" y="330"/>
                  </a:lnTo>
                  <a:lnTo>
                    <a:pt x="722" y="326"/>
                  </a:lnTo>
                  <a:lnTo>
                    <a:pt x="720" y="326"/>
                  </a:lnTo>
                  <a:lnTo>
                    <a:pt x="718" y="328"/>
                  </a:lnTo>
                  <a:lnTo>
                    <a:pt x="720" y="326"/>
                  </a:lnTo>
                  <a:lnTo>
                    <a:pt x="722" y="326"/>
                  </a:lnTo>
                  <a:lnTo>
                    <a:pt x="785" y="330"/>
                  </a:lnTo>
                  <a:lnTo>
                    <a:pt x="787" y="328"/>
                  </a:lnTo>
                  <a:lnTo>
                    <a:pt x="791" y="328"/>
                  </a:lnTo>
                  <a:lnTo>
                    <a:pt x="793" y="328"/>
                  </a:lnTo>
                  <a:lnTo>
                    <a:pt x="793" y="326"/>
                  </a:lnTo>
                  <a:lnTo>
                    <a:pt x="795" y="326"/>
                  </a:lnTo>
                  <a:lnTo>
                    <a:pt x="793" y="326"/>
                  </a:lnTo>
                  <a:lnTo>
                    <a:pt x="791" y="326"/>
                  </a:lnTo>
                  <a:lnTo>
                    <a:pt x="785" y="328"/>
                  </a:lnTo>
                  <a:lnTo>
                    <a:pt x="781" y="328"/>
                  </a:lnTo>
                  <a:lnTo>
                    <a:pt x="777" y="328"/>
                  </a:lnTo>
                  <a:lnTo>
                    <a:pt x="773" y="328"/>
                  </a:lnTo>
                  <a:lnTo>
                    <a:pt x="770" y="326"/>
                  </a:lnTo>
                  <a:lnTo>
                    <a:pt x="766" y="326"/>
                  </a:lnTo>
                  <a:lnTo>
                    <a:pt x="762" y="326"/>
                  </a:lnTo>
                  <a:lnTo>
                    <a:pt x="758" y="326"/>
                  </a:lnTo>
                  <a:lnTo>
                    <a:pt x="756" y="326"/>
                  </a:lnTo>
                  <a:lnTo>
                    <a:pt x="752" y="326"/>
                  </a:lnTo>
                  <a:lnTo>
                    <a:pt x="748" y="326"/>
                  </a:lnTo>
                  <a:lnTo>
                    <a:pt x="743" y="324"/>
                  </a:lnTo>
                  <a:lnTo>
                    <a:pt x="741" y="324"/>
                  </a:lnTo>
                  <a:lnTo>
                    <a:pt x="737" y="324"/>
                  </a:lnTo>
                  <a:lnTo>
                    <a:pt x="733" y="324"/>
                  </a:lnTo>
                  <a:lnTo>
                    <a:pt x="716" y="324"/>
                  </a:lnTo>
                  <a:lnTo>
                    <a:pt x="714" y="324"/>
                  </a:lnTo>
                  <a:lnTo>
                    <a:pt x="712" y="324"/>
                  </a:lnTo>
                  <a:lnTo>
                    <a:pt x="710" y="324"/>
                  </a:lnTo>
                  <a:lnTo>
                    <a:pt x="710" y="326"/>
                  </a:lnTo>
                  <a:lnTo>
                    <a:pt x="714" y="326"/>
                  </a:lnTo>
                  <a:lnTo>
                    <a:pt x="714" y="328"/>
                  </a:lnTo>
                  <a:lnTo>
                    <a:pt x="716" y="328"/>
                  </a:lnTo>
                  <a:lnTo>
                    <a:pt x="716" y="330"/>
                  </a:lnTo>
                  <a:lnTo>
                    <a:pt x="718" y="330"/>
                  </a:lnTo>
                  <a:lnTo>
                    <a:pt x="716" y="330"/>
                  </a:lnTo>
                  <a:lnTo>
                    <a:pt x="714" y="328"/>
                  </a:lnTo>
                  <a:lnTo>
                    <a:pt x="714" y="326"/>
                  </a:lnTo>
                  <a:lnTo>
                    <a:pt x="710" y="326"/>
                  </a:lnTo>
                  <a:lnTo>
                    <a:pt x="708" y="326"/>
                  </a:lnTo>
                  <a:lnTo>
                    <a:pt x="710" y="324"/>
                  </a:lnTo>
                  <a:lnTo>
                    <a:pt x="708" y="324"/>
                  </a:lnTo>
                  <a:lnTo>
                    <a:pt x="706" y="324"/>
                  </a:lnTo>
                  <a:lnTo>
                    <a:pt x="706" y="322"/>
                  </a:lnTo>
                  <a:lnTo>
                    <a:pt x="704" y="322"/>
                  </a:lnTo>
                  <a:lnTo>
                    <a:pt x="693" y="322"/>
                  </a:lnTo>
                  <a:lnTo>
                    <a:pt x="685" y="322"/>
                  </a:lnTo>
                  <a:lnTo>
                    <a:pt x="641" y="319"/>
                  </a:lnTo>
                  <a:lnTo>
                    <a:pt x="639" y="319"/>
                  </a:lnTo>
                  <a:lnTo>
                    <a:pt x="637" y="317"/>
                  </a:lnTo>
                  <a:lnTo>
                    <a:pt x="635" y="317"/>
                  </a:lnTo>
                  <a:lnTo>
                    <a:pt x="633" y="317"/>
                  </a:lnTo>
                  <a:lnTo>
                    <a:pt x="633" y="315"/>
                  </a:lnTo>
                  <a:lnTo>
                    <a:pt x="631" y="315"/>
                  </a:lnTo>
                  <a:lnTo>
                    <a:pt x="631" y="317"/>
                  </a:lnTo>
                  <a:lnTo>
                    <a:pt x="629" y="317"/>
                  </a:lnTo>
                  <a:lnTo>
                    <a:pt x="629" y="315"/>
                  </a:lnTo>
                  <a:lnTo>
                    <a:pt x="631" y="313"/>
                  </a:lnTo>
                  <a:lnTo>
                    <a:pt x="614" y="282"/>
                  </a:lnTo>
                  <a:lnTo>
                    <a:pt x="614" y="280"/>
                  </a:lnTo>
                  <a:lnTo>
                    <a:pt x="606" y="267"/>
                  </a:lnTo>
                  <a:lnTo>
                    <a:pt x="604" y="265"/>
                  </a:lnTo>
                  <a:lnTo>
                    <a:pt x="604" y="263"/>
                  </a:lnTo>
                  <a:lnTo>
                    <a:pt x="603" y="263"/>
                  </a:lnTo>
                  <a:lnTo>
                    <a:pt x="601" y="261"/>
                  </a:lnTo>
                  <a:lnTo>
                    <a:pt x="599" y="259"/>
                  </a:lnTo>
                  <a:lnTo>
                    <a:pt x="597" y="257"/>
                  </a:lnTo>
                  <a:lnTo>
                    <a:pt x="595" y="257"/>
                  </a:lnTo>
                  <a:lnTo>
                    <a:pt x="593" y="255"/>
                  </a:lnTo>
                  <a:lnTo>
                    <a:pt x="593" y="253"/>
                  </a:lnTo>
                  <a:lnTo>
                    <a:pt x="591" y="253"/>
                  </a:lnTo>
                  <a:lnTo>
                    <a:pt x="589" y="253"/>
                  </a:lnTo>
                  <a:lnTo>
                    <a:pt x="593" y="253"/>
                  </a:lnTo>
                  <a:lnTo>
                    <a:pt x="595" y="253"/>
                  </a:lnTo>
                  <a:lnTo>
                    <a:pt x="593" y="253"/>
                  </a:lnTo>
                  <a:lnTo>
                    <a:pt x="593" y="251"/>
                  </a:lnTo>
                  <a:lnTo>
                    <a:pt x="593" y="249"/>
                  </a:lnTo>
                  <a:lnTo>
                    <a:pt x="591" y="249"/>
                  </a:lnTo>
                  <a:lnTo>
                    <a:pt x="591" y="251"/>
                  </a:lnTo>
                  <a:lnTo>
                    <a:pt x="589" y="251"/>
                  </a:lnTo>
                  <a:lnTo>
                    <a:pt x="589" y="249"/>
                  </a:lnTo>
                  <a:lnTo>
                    <a:pt x="591" y="249"/>
                  </a:lnTo>
                  <a:lnTo>
                    <a:pt x="591" y="248"/>
                  </a:lnTo>
                  <a:lnTo>
                    <a:pt x="589" y="249"/>
                  </a:lnTo>
                  <a:lnTo>
                    <a:pt x="587" y="249"/>
                  </a:lnTo>
                  <a:lnTo>
                    <a:pt x="585" y="248"/>
                  </a:lnTo>
                  <a:lnTo>
                    <a:pt x="585" y="249"/>
                  </a:lnTo>
                  <a:lnTo>
                    <a:pt x="587" y="249"/>
                  </a:lnTo>
                  <a:lnTo>
                    <a:pt x="587" y="251"/>
                  </a:lnTo>
                  <a:lnTo>
                    <a:pt x="589" y="251"/>
                  </a:lnTo>
                  <a:lnTo>
                    <a:pt x="589" y="255"/>
                  </a:lnTo>
                  <a:lnTo>
                    <a:pt x="589" y="251"/>
                  </a:lnTo>
                  <a:lnTo>
                    <a:pt x="587" y="251"/>
                  </a:lnTo>
                  <a:lnTo>
                    <a:pt x="587" y="249"/>
                  </a:lnTo>
                  <a:lnTo>
                    <a:pt x="585" y="249"/>
                  </a:lnTo>
                  <a:lnTo>
                    <a:pt x="585" y="248"/>
                  </a:lnTo>
                  <a:lnTo>
                    <a:pt x="583" y="248"/>
                  </a:lnTo>
                  <a:lnTo>
                    <a:pt x="585" y="248"/>
                  </a:lnTo>
                  <a:lnTo>
                    <a:pt x="585" y="246"/>
                  </a:lnTo>
                  <a:lnTo>
                    <a:pt x="585" y="244"/>
                  </a:lnTo>
                  <a:lnTo>
                    <a:pt x="585" y="240"/>
                  </a:lnTo>
                  <a:lnTo>
                    <a:pt x="587" y="238"/>
                  </a:lnTo>
                  <a:lnTo>
                    <a:pt x="587" y="236"/>
                  </a:lnTo>
                  <a:lnTo>
                    <a:pt x="587" y="226"/>
                  </a:lnTo>
                  <a:lnTo>
                    <a:pt x="587" y="221"/>
                  </a:lnTo>
                  <a:lnTo>
                    <a:pt x="587" y="211"/>
                  </a:lnTo>
                  <a:lnTo>
                    <a:pt x="589" y="190"/>
                  </a:lnTo>
                  <a:lnTo>
                    <a:pt x="593" y="140"/>
                  </a:lnTo>
                  <a:lnTo>
                    <a:pt x="595" y="126"/>
                  </a:lnTo>
                  <a:lnTo>
                    <a:pt x="597" y="107"/>
                  </a:lnTo>
                  <a:lnTo>
                    <a:pt x="597" y="105"/>
                  </a:lnTo>
                  <a:lnTo>
                    <a:pt x="597" y="103"/>
                  </a:lnTo>
                  <a:lnTo>
                    <a:pt x="597" y="102"/>
                  </a:lnTo>
                  <a:lnTo>
                    <a:pt x="599" y="100"/>
                  </a:lnTo>
                  <a:lnTo>
                    <a:pt x="601" y="98"/>
                  </a:lnTo>
                  <a:lnTo>
                    <a:pt x="618" y="73"/>
                  </a:lnTo>
                  <a:lnTo>
                    <a:pt x="626" y="63"/>
                  </a:lnTo>
                  <a:lnTo>
                    <a:pt x="631" y="53"/>
                  </a:lnTo>
                  <a:lnTo>
                    <a:pt x="639" y="42"/>
                  </a:lnTo>
                  <a:lnTo>
                    <a:pt x="649" y="29"/>
                  </a:lnTo>
                  <a:lnTo>
                    <a:pt x="656" y="19"/>
                  </a:lnTo>
                  <a:lnTo>
                    <a:pt x="658" y="17"/>
                  </a:lnTo>
                  <a:lnTo>
                    <a:pt x="658" y="15"/>
                  </a:lnTo>
                  <a:lnTo>
                    <a:pt x="660" y="15"/>
                  </a:lnTo>
                  <a:lnTo>
                    <a:pt x="662" y="13"/>
                  </a:lnTo>
                  <a:lnTo>
                    <a:pt x="664" y="13"/>
                  </a:lnTo>
                  <a:lnTo>
                    <a:pt x="670" y="13"/>
                  </a:lnTo>
                  <a:lnTo>
                    <a:pt x="672" y="13"/>
                  </a:lnTo>
                  <a:lnTo>
                    <a:pt x="674" y="13"/>
                  </a:lnTo>
                  <a:lnTo>
                    <a:pt x="685" y="11"/>
                  </a:lnTo>
                  <a:lnTo>
                    <a:pt x="693" y="11"/>
                  </a:lnTo>
                  <a:lnTo>
                    <a:pt x="693" y="9"/>
                  </a:lnTo>
                  <a:lnTo>
                    <a:pt x="695" y="9"/>
                  </a:lnTo>
                  <a:lnTo>
                    <a:pt x="695" y="11"/>
                  </a:lnTo>
                  <a:lnTo>
                    <a:pt x="699" y="11"/>
                  </a:lnTo>
                  <a:lnTo>
                    <a:pt x="700" y="11"/>
                  </a:lnTo>
                  <a:lnTo>
                    <a:pt x="700" y="9"/>
                  </a:lnTo>
                  <a:lnTo>
                    <a:pt x="702" y="7"/>
                  </a:lnTo>
                  <a:lnTo>
                    <a:pt x="700" y="7"/>
                  </a:lnTo>
                  <a:lnTo>
                    <a:pt x="702" y="7"/>
                  </a:lnTo>
                  <a:lnTo>
                    <a:pt x="704" y="7"/>
                  </a:lnTo>
                  <a:lnTo>
                    <a:pt x="702" y="7"/>
                  </a:lnTo>
                  <a:lnTo>
                    <a:pt x="704" y="7"/>
                  </a:lnTo>
                  <a:lnTo>
                    <a:pt x="706" y="7"/>
                  </a:lnTo>
                  <a:lnTo>
                    <a:pt x="710" y="9"/>
                  </a:lnTo>
                  <a:lnTo>
                    <a:pt x="710" y="11"/>
                  </a:lnTo>
                  <a:lnTo>
                    <a:pt x="712" y="11"/>
                  </a:lnTo>
                  <a:lnTo>
                    <a:pt x="714" y="13"/>
                  </a:lnTo>
                  <a:lnTo>
                    <a:pt x="716" y="13"/>
                  </a:lnTo>
                  <a:lnTo>
                    <a:pt x="714" y="11"/>
                  </a:lnTo>
                  <a:lnTo>
                    <a:pt x="714" y="9"/>
                  </a:lnTo>
                  <a:lnTo>
                    <a:pt x="714" y="7"/>
                  </a:lnTo>
                  <a:lnTo>
                    <a:pt x="714" y="5"/>
                  </a:lnTo>
                  <a:lnTo>
                    <a:pt x="712" y="2"/>
                  </a:lnTo>
                  <a:lnTo>
                    <a:pt x="712" y="0"/>
                  </a:lnTo>
                  <a:lnTo>
                    <a:pt x="716" y="0"/>
                  </a:lnTo>
                  <a:lnTo>
                    <a:pt x="725" y="4"/>
                  </a:lnTo>
                  <a:lnTo>
                    <a:pt x="729" y="5"/>
                  </a:lnTo>
                  <a:lnTo>
                    <a:pt x="733" y="5"/>
                  </a:lnTo>
                  <a:lnTo>
                    <a:pt x="739" y="13"/>
                  </a:lnTo>
                  <a:lnTo>
                    <a:pt x="745" y="19"/>
                  </a:lnTo>
                  <a:lnTo>
                    <a:pt x="747" y="23"/>
                  </a:lnTo>
                  <a:lnTo>
                    <a:pt x="756" y="34"/>
                  </a:lnTo>
                  <a:lnTo>
                    <a:pt x="760" y="38"/>
                  </a:lnTo>
                  <a:lnTo>
                    <a:pt x="762" y="48"/>
                  </a:lnTo>
                  <a:lnTo>
                    <a:pt x="762" y="52"/>
                  </a:lnTo>
                  <a:lnTo>
                    <a:pt x="762" y="53"/>
                  </a:lnTo>
                  <a:lnTo>
                    <a:pt x="764" y="55"/>
                  </a:lnTo>
                  <a:lnTo>
                    <a:pt x="764" y="57"/>
                  </a:lnTo>
                  <a:lnTo>
                    <a:pt x="764" y="59"/>
                  </a:lnTo>
                  <a:lnTo>
                    <a:pt x="770" y="55"/>
                  </a:lnTo>
                  <a:lnTo>
                    <a:pt x="775" y="50"/>
                  </a:lnTo>
                  <a:lnTo>
                    <a:pt x="777" y="48"/>
                  </a:lnTo>
                  <a:lnTo>
                    <a:pt x="781" y="46"/>
                  </a:lnTo>
                  <a:lnTo>
                    <a:pt x="787" y="42"/>
                  </a:lnTo>
                  <a:lnTo>
                    <a:pt x="789" y="42"/>
                  </a:lnTo>
                  <a:lnTo>
                    <a:pt x="791" y="40"/>
                  </a:lnTo>
                  <a:lnTo>
                    <a:pt x="791" y="42"/>
                  </a:lnTo>
                  <a:lnTo>
                    <a:pt x="791" y="44"/>
                  </a:lnTo>
                  <a:lnTo>
                    <a:pt x="793" y="44"/>
                  </a:lnTo>
                  <a:lnTo>
                    <a:pt x="793" y="46"/>
                  </a:lnTo>
                  <a:lnTo>
                    <a:pt x="795" y="46"/>
                  </a:lnTo>
                  <a:lnTo>
                    <a:pt x="795" y="48"/>
                  </a:lnTo>
                  <a:lnTo>
                    <a:pt x="796" y="48"/>
                  </a:lnTo>
                  <a:lnTo>
                    <a:pt x="796" y="46"/>
                  </a:lnTo>
                  <a:lnTo>
                    <a:pt x="798" y="48"/>
                  </a:lnTo>
                  <a:lnTo>
                    <a:pt x="800" y="48"/>
                  </a:lnTo>
                  <a:lnTo>
                    <a:pt x="800" y="50"/>
                  </a:lnTo>
                  <a:lnTo>
                    <a:pt x="802" y="50"/>
                  </a:lnTo>
                  <a:lnTo>
                    <a:pt x="802" y="52"/>
                  </a:lnTo>
                  <a:lnTo>
                    <a:pt x="804" y="53"/>
                  </a:lnTo>
                  <a:lnTo>
                    <a:pt x="804" y="55"/>
                  </a:lnTo>
                  <a:lnTo>
                    <a:pt x="804" y="57"/>
                  </a:lnTo>
                  <a:lnTo>
                    <a:pt x="802" y="57"/>
                  </a:lnTo>
                  <a:lnTo>
                    <a:pt x="804" y="57"/>
                  </a:lnTo>
                  <a:lnTo>
                    <a:pt x="806" y="57"/>
                  </a:lnTo>
                  <a:lnTo>
                    <a:pt x="808" y="55"/>
                  </a:lnTo>
                  <a:lnTo>
                    <a:pt x="810" y="57"/>
                  </a:lnTo>
                  <a:lnTo>
                    <a:pt x="810" y="59"/>
                  </a:lnTo>
                  <a:lnTo>
                    <a:pt x="812" y="59"/>
                  </a:lnTo>
                  <a:lnTo>
                    <a:pt x="814" y="59"/>
                  </a:lnTo>
                  <a:lnTo>
                    <a:pt x="814" y="57"/>
                  </a:lnTo>
                  <a:lnTo>
                    <a:pt x="816" y="57"/>
                  </a:lnTo>
                  <a:lnTo>
                    <a:pt x="818" y="59"/>
                  </a:lnTo>
                  <a:lnTo>
                    <a:pt x="819" y="59"/>
                  </a:lnTo>
                  <a:lnTo>
                    <a:pt x="819" y="57"/>
                  </a:lnTo>
                  <a:lnTo>
                    <a:pt x="821" y="57"/>
                  </a:lnTo>
                  <a:lnTo>
                    <a:pt x="821" y="59"/>
                  </a:lnTo>
                  <a:lnTo>
                    <a:pt x="823" y="61"/>
                  </a:lnTo>
                  <a:lnTo>
                    <a:pt x="825" y="61"/>
                  </a:lnTo>
                  <a:lnTo>
                    <a:pt x="827" y="61"/>
                  </a:lnTo>
                  <a:lnTo>
                    <a:pt x="829" y="61"/>
                  </a:lnTo>
                  <a:lnTo>
                    <a:pt x="829" y="63"/>
                  </a:lnTo>
                  <a:lnTo>
                    <a:pt x="831" y="63"/>
                  </a:lnTo>
                  <a:lnTo>
                    <a:pt x="831" y="65"/>
                  </a:lnTo>
                  <a:lnTo>
                    <a:pt x="833" y="65"/>
                  </a:lnTo>
                  <a:lnTo>
                    <a:pt x="835" y="65"/>
                  </a:lnTo>
                  <a:lnTo>
                    <a:pt x="837" y="67"/>
                  </a:lnTo>
                  <a:lnTo>
                    <a:pt x="839" y="67"/>
                  </a:lnTo>
                  <a:lnTo>
                    <a:pt x="841" y="67"/>
                  </a:lnTo>
                  <a:lnTo>
                    <a:pt x="841" y="65"/>
                  </a:lnTo>
                  <a:lnTo>
                    <a:pt x="842" y="63"/>
                  </a:lnTo>
                  <a:lnTo>
                    <a:pt x="844" y="61"/>
                  </a:lnTo>
                  <a:lnTo>
                    <a:pt x="848" y="61"/>
                  </a:lnTo>
                  <a:lnTo>
                    <a:pt x="850" y="61"/>
                  </a:lnTo>
                  <a:lnTo>
                    <a:pt x="852" y="59"/>
                  </a:lnTo>
                  <a:lnTo>
                    <a:pt x="854" y="59"/>
                  </a:lnTo>
                  <a:lnTo>
                    <a:pt x="856" y="57"/>
                  </a:lnTo>
                  <a:lnTo>
                    <a:pt x="856" y="55"/>
                  </a:lnTo>
                  <a:lnTo>
                    <a:pt x="858" y="53"/>
                  </a:lnTo>
                  <a:lnTo>
                    <a:pt x="858" y="52"/>
                  </a:lnTo>
                  <a:lnTo>
                    <a:pt x="860" y="52"/>
                  </a:lnTo>
                  <a:lnTo>
                    <a:pt x="862" y="52"/>
                  </a:lnTo>
                  <a:lnTo>
                    <a:pt x="864" y="52"/>
                  </a:lnTo>
                  <a:lnTo>
                    <a:pt x="864" y="50"/>
                  </a:lnTo>
                  <a:lnTo>
                    <a:pt x="866" y="50"/>
                  </a:lnTo>
                  <a:lnTo>
                    <a:pt x="867" y="48"/>
                  </a:lnTo>
                  <a:lnTo>
                    <a:pt x="869" y="44"/>
                  </a:lnTo>
                  <a:lnTo>
                    <a:pt x="871" y="42"/>
                  </a:lnTo>
                  <a:lnTo>
                    <a:pt x="873" y="40"/>
                  </a:lnTo>
                  <a:lnTo>
                    <a:pt x="875" y="40"/>
                  </a:lnTo>
                  <a:lnTo>
                    <a:pt x="877" y="38"/>
                  </a:lnTo>
                  <a:lnTo>
                    <a:pt x="879" y="38"/>
                  </a:lnTo>
                  <a:lnTo>
                    <a:pt x="879" y="36"/>
                  </a:lnTo>
                  <a:lnTo>
                    <a:pt x="879" y="32"/>
                  </a:lnTo>
                  <a:lnTo>
                    <a:pt x="879" y="30"/>
                  </a:lnTo>
                  <a:lnTo>
                    <a:pt x="881" y="30"/>
                  </a:lnTo>
                  <a:lnTo>
                    <a:pt x="879" y="29"/>
                  </a:lnTo>
                  <a:lnTo>
                    <a:pt x="879" y="27"/>
                  </a:lnTo>
                  <a:lnTo>
                    <a:pt x="881" y="27"/>
                  </a:lnTo>
                  <a:lnTo>
                    <a:pt x="883" y="27"/>
                  </a:lnTo>
                  <a:lnTo>
                    <a:pt x="885" y="27"/>
                  </a:lnTo>
                  <a:lnTo>
                    <a:pt x="885" y="25"/>
                  </a:lnTo>
                  <a:lnTo>
                    <a:pt x="883" y="25"/>
                  </a:lnTo>
                  <a:lnTo>
                    <a:pt x="883" y="23"/>
                  </a:lnTo>
                  <a:lnTo>
                    <a:pt x="885" y="21"/>
                  </a:lnTo>
                  <a:lnTo>
                    <a:pt x="887" y="21"/>
                  </a:lnTo>
                  <a:lnTo>
                    <a:pt x="889" y="21"/>
                  </a:lnTo>
                  <a:lnTo>
                    <a:pt x="890" y="21"/>
                  </a:lnTo>
                  <a:lnTo>
                    <a:pt x="892" y="21"/>
                  </a:lnTo>
                  <a:lnTo>
                    <a:pt x="894" y="21"/>
                  </a:lnTo>
                  <a:lnTo>
                    <a:pt x="896" y="21"/>
                  </a:lnTo>
                  <a:lnTo>
                    <a:pt x="898" y="19"/>
                  </a:lnTo>
                  <a:lnTo>
                    <a:pt x="900" y="19"/>
                  </a:lnTo>
                  <a:lnTo>
                    <a:pt x="900" y="21"/>
                  </a:lnTo>
                  <a:lnTo>
                    <a:pt x="902" y="21"/>
                  </a:lnTo>
                  <a:lnTo>
                    <a:pt x="904" y="23"/>
                  </a:lnTo>
                  <a:lnTo>
                    <a:pt x="906" y="25"/>
                  </a:lnTo>
                  <a:lnTo>
                    <a:pt x="908" y="25"/>
                  </a:lnTo>
                  <a:lnTo>
                    <a:pt x="908" y="23"/>
                  </a:lnTo>
                  <a:lnTo>
                    <a:pt x="906" y="21"/>
                  </a:lnTo>
                  <a:lnTo>
                    <a:pt x="906" y="19"/>
                  </a:lnTo>
                  <a:lnTo>
                    <a:pt x="908" y="19"/>
                  </a:lnTo>
                  <a:lnTo>
                    <a:pt x="908" y="17"/>
                  </a:lnTo>
                  <a:lnTo>
                    <a:pt x="910" y="17"/>
                  </a:lnTo>
                  <a:lnTo>
                    <a:pt x="910" y="15"/>
                  </a:lnTo>
                  <a:lnTo>
                    <a:pt x="912" y="15"/>
                  </a:lnTo>
                  <a:lnTo>
                    <a:pt x="914" y="15"/>
                  </a:lnTo>
                  <a:lnTo>
                    <a:pt x="919" y="13"/>
                  </a:lnTo>
                  <a:lnTo>
                    <a:pt x="921" y="13"/>
                  </a:lnTo>
                  <a:lnTo>
                    <a:pt x="921" y="15"/>
                  </a:lnTo>
                  <a:lnTo>
                    <a:pt x="921" y="17"/>
                  </a:lnTo>
                  <a:lnTo>
                    <a:pt x="923" y="23"/>
                  </a:lnTo>
                  <a:lnTo>
                    <a:pt x="923" y="25"/>
                  </a:lnTo>
                  <a:lnTo>
                    <a:pt x="925" y="25"/>
                  </a:lnTo>
                  <a:lnTo>
                    <a:pt x="925" y="27"/>
                  </a:lnTo>
                  <a:lnTo>
                    <a:pt x="925" y="29"/>
                  </a:lnTo>
                  <a:lnTo>
                    <a:pt x="927" y="29"/>
                  </a:lnTo>
                  <a:lnTo>
                    <a:pt x="929" y="32"/>
                  </a:lnTo>
                  <a:lnTo>
                    <a:pt x="929" y="36"/>
                  </a:lnTo>
                  <a:lnTo>
                    <a:pt x="931" y="36"/>
                  </a:lnTo>
                  <a:lnTo>
                    <a:pt x="931" y="38"/>
                  </a:lnTo>
                  <a:lnTo>
                    <a:pt x="931" y="42"/>
                  </a:lnTo>
                  <a:lnTo>
                    <a:pt x="933" y="42"/>
                  </a:lnTo>
                  <a:lnTo>
                    <a:pt x="935" y="44"/>
                  </a:lnTo>
                  <a:lnTo>
                    <a:pt x="937" y="44"/>
                  </a:lnTo>
                  <a:lnTo>
                    <a:pt x="937" y="46"/>
                  </a:lnTo>
                  <a:lnTo>
                    <a:pt x="938" y="48"/>
                  </a:lnTo>
                  <a:lnTo>
                    <a:pt x="938" y="50"/>
                  </a:lnTo>
                  <a:lnTo>
                    <a:pt x="940" y="50"/>
                  </a:lnTo>
                  <a:lnTo>
                    <a:pt x="942" y="50"/>
                  </a:lnTo>
                  <a:lnTo>
                    <a:pt x="946" y="48"/>
                  </a:lnTo>
                  <a:lnTo>
                    <a:pt x="948" y="48"/>
                  </a:lnTo>
                  <a:lnTo>
                    <a:pt x="948" y="46"/>
                  </a:lnTo>
                  <a:lnTo>
                    <a:pt x="950" y="46"/>
                  </a:lnTo>
                  <a:lnTo>
                    <a:pt x="952" y="46"/>
                  </a:lnTo>
                  <a:lnTo>
                    <a:pt x="958" y="44"/>
                  </a:lnTo>
                  <a:lnTo>
                    <a:pt x="963" y="44"/>
                  </a:lnTo>
                  <a:lnTo>
                    <a:pt x="965" y="44"/>
                  </a:lnTo>
                  <a:lnTo>
                    <a:pt x="965" y="46"/>
                  </a:lnTo>
                  <a:lnTo>
                    <a:pt x="967" y="52"/>
                  </a:lnTo>
                  <a:lnTo>
                    <a:pt x="969" y="53"/>
                  </a:lnTo>
                  <a:lnTo>
                    <a:pt x="971" y="52"/>
                  </a:lnTo>
                  <a:lnTo>
                    <a:pt x="973" y="52"/>
                  </a:lnTo>
                  <a:lnTo>
                    <a:pt x="977" y="50"/>
                  </a:lnTo>
                  <a:lnTo>
                    <a:pt x="979" y="48"/>
                  </a:lnTo>
                  <a:lnTo>
                    <a:pt x="981" y="48"/>
                  </a:lnTo>
                  <a:lnTo>
                    <a:pt x="983" y="48"/>
                  </a:lnTo>
                  <a:lnTo>
                    <a:pt x="985" y="44"/>
                  </a:lnTo>
                  <a:lnTo>
                    <a:pt x="988" y="42"/>
                  </a:lnTo>
                  <a:lnTo>
                    <a:pt x="990" y="42"/>
                  </a:lnTo>
                  <a:lnTo>
                    <a:pt x="992" y="42"/>
                  </a:lnTo>
                  <a:lnTo>
                    <a:pt x="994" y="40"/>
                  </a:lnTo>
                  <a:lnTo>
                    <a:pt x="992" y="38"/>
                  </a:lnTo>
                  <a:lnTo>
                    <a:pt x="992" y="36"/>
                  </a:lnTo>
                  <a:lnTo>
                    <a:pt x="990" y="34"/>
                  </a:lnTo>
                  <a:lnTo>
                    <a:pt x="990" y="32"/>
                  </a:lnTo>
                  <a:lnTo>
                    <a:pt x="990" y="29"/>
                  </a:lnTo>
                  <a:lnTo>
                    <a:pt x="988" y="29"/>
                  </a:lnTo>
                  <a:lnTo>
                    <a:pt x="988" y="25"/>
                  </a:lnTo>
                  <a:lnTo>
                    <a:pt x="990" y="23"/>
                  </a:lnTo>
                  <a:lnTo>
                    <a:pt x="992" y="23"/>
                  </a:lnTo>
                  <a:lnTo>
                    <a:pt x="996" y="21"/>
                  </a:lnTo>
                  <a:lnTo>
                    <a:pt x="1002" y="23"/>
                  </a:lnTo>
                  <a:lnTo>
                    <a:pt x="1006" y="23"/>
                  </a:lnTo>
                  <a:lnTo>
                    <a:pt x="1008" y="23"/>
                  </a:lnTo>
                  <a:lnTo>
                    <a:pt x="1013" y="23"/>
                  </a:lnTo>
                  <a:lnTo>
                    <a:pt x="1015" y="23"/>
                  </a:lnTo>
                  <a:lnTo>
                    <a:pt x="1015" y="21"/>
                  </a:lnTo>
                  <a:lnTo>
                    <a:pt x="1017" y="19"/>
                  </a:lnTo>
                  <a:lnTo>
                    <a:pt x="1019" y="17"/>
                  </a:lnTo>
                  <a:lnTo>
                    <a:pt x="1021" y="17"/>
                  </a:lnTo>
                  <a:lnTo>
                    <a:pt x="1023" y="17"/>
                  </a:lnTo>
                  <a:lnTo>
                    <a:pt x="1025" y="15"/>
                  </a:lnTo>
                  <a:lnTo>
                    <a:pt x="1038" y="7"/>
                  </a:lnTo>
                  <a:lnTo>
                    <a:pt x="1040" y="7"/>
                  </a:lnTo>
                  <a:lnTo>
                    <a:pt x="1046" y="4"/>
                  </a:lnTo>
                  <a:lnTo>
                    <a:pt x="1054" y="13"/>
                  </a:lnTo>
                  <a:lnTo>
                    <a:pt x="1056" y="19"/>
                  </a:lnTo>
                  <a:lnTo>
                    <a:pt x="1057" y="23"/>
                  </a:lnTo>
                  <a:lnTo>
                    <a:pt x="1059" y="23"/>
                  </a:lnTo>
                  <a:lnTo>
                    <a:pt x="1059" y="25"/>
                  </a:lnTo>
                  <a:lnTo>
                    <a:pt x="1059" y="27"/>
                  </a:lnTo>
                  <a:lnTo>
                    <a:pt x="1065" y="32"/>
                  </a:lnTo>
                  <a:lnTo>
                    <a:pt x="1071" y="38"/>
                  </a:lnTo>
                  <a:lnTo>
                    <a:pt x="1071" y="40"/>
                  </a:lnTo>
                  <a:lnTo>
                    <a:pt x="1069" y="40"/>
                  </a:lnTo>
                  <a:lnTo>
                    <a:pt x="1071" y="42"/>
                  </a:lnTo>
                  <a:lnTo>
                    <a:pt x="1073" y="44"/>
                  </a:lnTo>
                  <a:lnTo>
                    <a:pt x="1077" y="46"/>
                  </a:lnTo>
                  <a:lnTo>
                    <a:pt x="1086" y="59"/>
                  </a:lnTo>
                  <a:lnTo>
                    <a:pt x="1088" y="61"/>
                  </a:lnTo>
                  <a:lnTo>
                    <a:pt x="1088" y="59"/>
                  </a:lnTo>
                  <a:lnTo>
                    <a:pt x="1092" y="63"/>
                  </a:lnTo>
                  <a:lnTo>
                    <a:pt x="1094" y="65"/>
                  </a:lnTo>
                  <a:lnTo>
                    <a:pt x="1094" y="67"/>
                  </a:lnTo>
                  <a:lnTo>
                    <a:pt x="1096" y="69"/>
                  </a:lnTo>
                  <a:lnTo>
                    <a:pt x="1098" y="73"/>
                  </a:lnTo>
                  <a:lnTo>
                    <a:pt x="1100" y="75"/>
                  </a:lnTo>
                  <a:lnTo>
                    <a:pt x="1102" y="77"/>
                  </a:lnTo>
                  <a:lnTo>
                    <a:pt x="1109" y="88"/>
                  </a:lnTo>
                  <a:lnTo>
                    <a:pt x="1111" y="92"/>
                  </a:lnTo>
                  <a:lnTo>
                    <a:pt x="1107" y="98"/>
                  </a:lnTo>
                  <a:lnTo>
                    <a:pt x="1104" y="102"/>
                  </a:lnTo>
                  <a:lnTo>
                    <a:pt x="1100" y="105"/>
                  </a:lnTo>
                  <a:lnTo>
                    <a:pt x="1096" y="109"/>
                  </a:lnTo>
                  <a:lnTo>
                    <a:pt x="1092" y="113"/>
                  </a:lnTo>
                  <a:lnTo>
                    <a:pt x="1092" y="115"/>
                  </a:lnTo>
                  <a:lnTo>
                    <a:pt x="1090" y="115"/>
                  </a:lnTo>
                  <a:lnTo>
                    <a:pt x="1086" y="119"/>
                  </a:lnTo>
                  <a:lnTo>
                    <a:pt x="1084" y="119"/>
                  </a:lnTo>
                  <a:lnTo>
                    <a:pt x="1084" y="121"/>
                  </a:lnTo>
                  <a:lnTo>
                    <a:pt x="1082" y="126"/>
                  </a:lnTo>
                  <a:lnTo>
                    <a:pt x="1080" y="128"/>
                  </a:lnTo>
                  <a:lnTo>
                    <a:pt x="1079" y="128"/>
                  </a:lnTo>
                  <a:lnTo>
                    <a:pt x="1077" y="128"/>
                  </a:lnTo>
                  <a:lnTo>
                    <a:pt x="1073" y="130"/>
                  </a:lnTo>
                  <a:lnTo>
                    <a:pt x="1073" y="132"/>
                  </a:lnTo>
                  <a:lnTo>
                    <a:pt x="1071" y="132"/>
                  </a:lnTo>
                  <a:lnTo>
                    <a:pt x="1071" y="134"/>
                  </a:lnTo>
                  <a:lnTo>
                    <a:pt x="1069" y="134"/>
                  </a:lnTo>
                  <a:lnTo>
                    <a:pt x="1067" y="134"/>
                  </a:lnTo>
                  <a:lnTo>
                    <a:pt x="1065" y="134"/>
                  </a:lnTo>
                  <a:lnTo>
                    <a:pt x="1063" y="136"/>
                  </a:lnTo>
                  <a:lnTo>
                    <a:pt x="1059" y="136"/>
                  </a:lnTo>
                  <a:lnTo>
                    <a:pt x="1056" y="138"/>
                  </a:lnTo>
                  <a:lnTo>
                    <a:pt x="1054" y="138"/>
                  </a:lnTo>
                  <a:lnTo>
                    <a:pt x="1050" y="138"/>
                  </a:lnTo>
                  <a:lnTo>
                    <a:pt x="1044" y="140"/>
                  </a:lnTo>
                  <a:lnTo>
                    <a:pt x="1042" y="142"/>
                  </a:lnTo>
                  <a:lnTo>
                    <a:pt x="1040" y="144"/>
                  </a:lnTo>
                  <a:lnTo>
                    <a:pt x="1040" y="146"/>
                  </a:lnTo>
                  <a:lnTo>
                    <a:pt x="1038" y="148"/>
                  </a:lnTo>
                  <a:lnTo>
                    <a:pt x="1038" y="150"/>
                  </a:lnTo>
                  <a:lnTo>
                    <a:pt x="1042" y="157"/>
                  </a:lnTo>
                  <a:lnTo>
                    <a:pt x="1042" y="159"/>
                  </a:lnTo>
                  <a:lnTo>
                    <a:pt x="1044" y="163"/>
                  </a:lnTo>
                  <a:lnTo>
                    <a:pt x="1044" y="165"/>
                  </a:lnTo>
                  <a:lnTo>
                    <a:pt x="1046" y="167"/>
                  </a:lnTo>
                  <a:lnTo>
                    <a:pt x="1048" y="176"/>
                  </a:lnTo>
                  <a:lnTo>
                    <a:pt x="1054" y="192"/>
                  </a:lnTo>
                  <a:lnTo>
                    <a:pt x="1054" y="194"/>
                  </a:lnTo>
                  <a:lnTo>
                    <a:pt x="1056" y="196"/>
                  </a:lnTo>
                  <a:lnTo>
                    <a:pt x="1056" y="198"/>
                  </a:lnTo>
                  <a:lnTo>
                    <a:pt x="1056" y="199"/>
                  </a:lnTo>
                  <a:lnTo>
                    <a:pt x="1057" y="205"/>
                  </a:lnTo>
                  <a:lnTo>
                    <a:pt x="1059" y="207"/>
                  </a:lnTo>
                  <a:lnTo>
                    <a:pt x="1061" y="217"/>
                  </a:lnTo>
                  <a:lnTo>
                    <a:pt x="1063" y="219"/>
                  </a:lnTo>
                  <a:lnTo>
                    <a:pt x="1061" y="219"/>
                  </a:lnTo>
                  <a:lnTo>
                    <a:pt x="1063" y="221"/>
                  </a:lnTo>
                  <a:lnTo>
                    <a:pt x="1063" y="223"/>
                  </a:lnTo>
                  <a:lnTo>
                    <a:pt x="1063" y="224"/>
                  </a:lnTo>
                  <a:lnTo>
                    <a:pt x="1065" y="228"/>
                  </a:lnTo>
                  <a:lnTo>
                    <a:pt x="1065" y="232"/>
                  </a:lnTo>
                  <a:lnTo>
                    <a:pt x="1067" y="232"/>
                  </a:lnTo>
                  <a:lnTo>
                    <a:pt x="1069" y="232"/>
                  </a:lnTo>
                  <a:lnTo>
                    <a:pt x="1071" y="234"/>
                  </a:lnTo>
                  <a:lnTo>
                    <a:pt x="1073" y="236"/>
                  </a:lnTo>
                  <a:lnTo>
                    <a:pt x="1075" y="238"/>
                  </a:lnTo>
                  <a:lnTo>
                    <a:pt x="1075" y="240"/>
                  </a:lnTo>
                  <a:lnTo>
                    <a:pt x="1077" y="242"/>
                  </a:lnTo>
                  <a:lnTo>
                    <a:pt x="1075" y="242"/>
                  </a:lnTo>
                  <a:lnTo>
                    <a:pt x="1075" y="244"/>
                  </a:lnTo>
                  <a:lnTo>
                    <a:pt x="1073" y="246"/>
                  </a:lnTo>
                  <a:lnTo>
                    <a:pt x="1071" y="249"/>
                  </a:lnTo>
                  <a:lnTo>
                    <a:pt x="1073" y="251"/>
                  </a:lnTo>
                  <a:lnTo>
                    <a:pt x="1075" y="251"/>
                  </a:lnTo>
                  <a:lnTo>
                    <a:pt x="1077" y="253"/>
                  </a:lnTo>
                  <a:lnTo>
                    <a:pt x="1080" y="255"/>
                  </a:lnTo>
                  <a:lnTo>
                    <a:pt x="1082" y="255"/>
                  </a:lnTo>
                  <a:lnTo>
                    <a:pt x="1084" y="257"/>
                  </a:lnTo>
                  <a:lnTo>
                    <a:pt x="1086" y="257"/>
                  </a:lnTo>
                  <a:lnTo>
                    <a:pt x="1086" y="255"/>
                  </a:lnTo>
                  <a:lnTo>
                    <a:pt x="1088" y="253"/>
                  </a:lnTo>
                  <a:lnTo>
                    <a:pt x="1086" y="251"/>
                  </a:lnTo>
                  <a:lnTo>
                    <a:pt x="1086" y="249"/>
                  </a:lnTo>
                  <a:lnTo>
                    <a:pt x="1084" y="248"/>
                  </a:lnTo>
                  <a:lnTo>
                    <a:pt x="1088" y="248"/>
                  </a:lnTo>
                  <a:lnTo>
                    <a:pt x="1090" y="248"/>
                  </a:lnTo>
                  <a:lnTo>
                    <a:pt x="1090" y="249"/>
                  </a:lnTo>
                  <a:lnTo>
                    <a:pt x="1092" y="251"/>
                  </a:lnTo>
                  <a:lnTo>
                    <a:pt x="1094" y="251"/>
                  </a:lnTo>
                  <a:lnTo>
                    <a:pt x="1094" y="255"/>
                  </a:lnTo>
                  <a:lnTo>
                    <a:pt x="1096" y="255"/>
                  </a:lnTo>
                  <a:lnTo>
                    <a:pt x="1096" y="253"/>
                  </a:lnTo>
                  <a:lnTo>
                    <a:pt x="1098" y="251"/>
                  </a:lnTo>
                  <a:lnTo>
                    <a:pt x="1098" y="249"/>
                  </a:lnTo>
                  <a:lnTo>
                    <a:pt x="1102" y="246"/>
                  </a:lnTo>
                  <a:lnTo>
                    <a:pt x="1104" y="244"/>
                  </a:lnTo>
                  <a:lnTo>
                    <a:pt x="1105" y="244"/>
                  </a:lnTo>
                  <a:lnTo>
                    <a:pt x="1105" y="246"/>
                  </a:lnTo>
                  <a:lnTo>
                    <a:pt x="1105" y="244"/>
                  </a:lnTo>
                  <a:lnTo>
                    <a:pt x="1107" y="244"/>
                  </a:lnTo>
                  <a:lnTo>
                    <a:pt x="1109" y="244"/>
                  </a:lnTo>
                  <a:lnTo>
                    <a:pt x="1111" y="244"/>
                  </a:lnTo>
                  <a:lnTo>
                    <a:pt x="1113" y="246"/>
                  </a:lnTo>
                  <a:lnTo>
                    <a:pt x="1113" y="244"/>
                  </a:lnTo>
                  <a:lnTo>
                    <a:pt x="1111" y="244"/>
                  </a:lnTo>
                  <a:lnTo>
                    <a:pt x="1113" y="244"/>
                  </a:lnTo>
                  <a:lnTo>
                    <a:pt x="1113" y="242"/>
                  </a:lnTo>
                  <a:lnTo>
                    <a:pt x="1115" y="242"/>
                  </a:lnTo>
                  <a:lnTo>
                    <a:pt x="1115" y="244"/>
                  </a:lnTo>
                  <a:lnTo>
                    <a:pt x="1115" y="242"/>
                  </a:lnTo>
                  <a:lnTo>
                    <a:pt x="1117" y="244"/>
                  </a:lnTo>
                  <a:lnTo>
                    <a:pt x="1119" y="244"/>
                  </a:lnTo>
                  <a:lnTo>
                    <a:pt x="1117" y="246"/>
                  </a:lnTo>
                  <a:lnTo>
                    <a:pt x="1119" y="246"/>
                  </a:lnTo>
                  <a:lnTo>
                    <a:pt x="1119" y="248"/>
                  </a:lnTo>
                  <a:lnTo>
                    <a:pt x="1121" y="248"/>
                  </a:lnTo>
                  <a:lnTo>
                    <a:pt x="1123" y="248"/>
                  </a:lnTo>
                  <a:lnTo>
                    <a:pt x="1123" y="249"/>
                  </a:lnTo>
                  <a:lnTo>
                    <a:pt x="1125" y="249"/>
                  </a:lnTo>
                  <a:lnTo>
                    <a:pt x="1127" y="249"/>
                  </a:lnTo>
                  <a:lnTo>
                    <a:pt x="1127" y="251"/>
                  </a:lnTo>
                  <a:lnTo>
                    <a:pt x="1128" y="251"/>
                  </a:lnTo>
                  <a:lnTo>
                    <a:pt x="1128" y="249"/>
                  </a:lnTo>
                  <a:lnTo>
                    <a:pt x="1128" y="251"/>
                  </a:lnTo>
                  <a:lnTo>
                    <a:pt x="1130" y="251"/>
                  </a:lnTo>
                  <a:lnTo>
                    <a:pt x="1128" y="253"/>
                  </a:lnTo>
                  <a:lnTo>
                    <a:pt x="1130" y="253"/>
                  </a:lnTo>
                  <a:lnTo>
                    <a:pt x="1130" y="255"/>
                  </a:lnTo>
                  <a:lnTo>
                    <a:pt x="1132" y="255"/>
                  </a:lnTo>
                  <a:lnTo>
                    <a:pt x="1134" y="255"/>
                  </a:lnTo>
                  <a:lnTo>
                    <a:pt x="1136" y="255"/>
                  </a:lnTo>
                  <a:lnTo>
                    <a:pt x="1138" y="255"/>
                  </a:lnTo>
                  <a:lnTo>
                    <a:pt x="1140" y="255"/>
                  </a:lnTo>
                  <a:lnTo>
                    <a:pt x="1140" y="257"/>
                  </a:lnTo>
                  <a:lnTo>
                    <a:pt x="1142" y="257"/>
                  </a:lnTo>
                  <a:lnTo>
                    <a:pt x="1142" y="259"/>
                  </a:lnTo>
                  <a:lnTo>
                    <a:pt x="1142" y="261"/>
                  </a:lnTo>
                  <a:lnTo>
                    <a:pt x="1142" y="263"/>
                  </a:lnTo>
                  <a:lnTo>
                    <a:pt x="1140" y="263"/>
                  </a:lnTo>
                  <a:lnTo>
                    <a:pt x="1142" y="263"/>
                  </a:lnTo>
                  <a:lnTo>
                    <a:pt x="1142" y="265"/>
                  </a:lnTo>
                  <a:lnTo>
                    <a:pt x="1144" y="265"/>
                  </a:lnTo>
                  <a:lnTo>
                    <a:pt x="1144" y="267"/>
                  </a:lnTo>
                  <a:lnTo>
                    <a:pt x="1146" y="267"/>
                  </a:lnTo>
                  <a:lnTo>
                    <a:pt x="1148" y="269"/>
                  </a:lnTo>
                  <a:lnTo>
                    <a:pt x="1148" y="267"/>
                  </a:lnTo>
                  <a:lnTo>
                    <a:pt x="1148" y="269"/>
                  </a:lnTo>
                  <a:lnTo>
                    <a:pt x="1148" y="267"/>
                  </a:lnTo>
                  <a:lnTo>
                    <a:pt x="1150" y="267"/>
                  </a:lnTo>
                  <a:lnTo>
                    <a:pt x="1151" y="267"/>
                  </a:lnTo>
                  <a:lnTo>
                    <a:pt x="1153" y="267"/>
                  </a:lnTo>
                  <a:lnTo>
                    <a:pt x="1153" y="269"/>
                  </a:lnTo>
                  <a:lnTo>
                    <a:pt x="1155" y="269"/>
                  </a:lnTo>
                  <a:lnTo>
                    <a:pt x="1155" y="271"/>
                  </a:lnTo>
                  <a:lnTo>
                    <a:pt x="1155" y="272"/>
                  </a:lnTo>
                  <a:lnTo>
                    <a:pt x="1159" y="274"/>
                  </a:lnTo>
                  <a:lnTo>
                    <a:pt x="1161" y="274"/>
                  </a:lnTo>
                  <a:lnTo>
                    <a:pt x="1161" y="276"/>
                  </a:lnTo>
                  <a:lnTo>
                    <a:pt x="1163" y="274"/>
                  </a:lnTo>
                  <a:lnTo>
                    <a:pt x="1163" y="272"/>
                  </a:lnTo>
                  <a:lnTo>
                    <a:pt x="1165" y="272"/>
                  </a:lnTo>
                  <a:lnTo>
                    <a:pt x="1165" y="271"/>
                  </a:lnTo>
                  <a:lnTo>
                    <a:pt x="1167" y="271"/>
                  </a:lnTo>
                  <a:lnTo>
                    <a:pt x="1169" y="271"/>
                  </a:lnTo>
                  <a:lnTo>
                    <a:pt x="1171" y="271"/>
                  </a:lnTo>
                  <a:lnTo>
                    <a:pt x="1171" y="272"/>
                  </a:lnTo>
                  <a:lnTo>
                    <a:pt x="1173" y="272"/>
                  </a:lnTo>
                  <a:lnTo>
                    <a:pt x="1173" y="274"/>
                  </a:lnTo>
                  <a:lnTo>
                    <a:pt x="1173" y="276"/>
                  </a:lnTo>
                  <a:lnTo>
                    <a:pt x="1175" y="276"/>
                  </a:lnTo>
                  <a:lnTo>
                    <a:pt x="1175" y="278"/>
                  </a:lnTo>
                  <a:lnTo>
                    <a:pt x="1176" y="278"/>
                  </a:lnTo>
                  <a:lnTo>
                    <a:pt x="1178" y="278"/>
                  </a:lnTo>
                  <a:lnTo>
                    <a:pt x="1178" y="280"/>
                  </a:lnTo>
                  <a:lnTo>
                    <a:pt x="1180" y="280"/>
                  </a:lnTo>
                  <a:lnTo>
                    <a:pt x="1180" y="278"/>
                  </a:lnTo>
                  <a:lnTo>
                    <a:pt x="1182" y="278"/>
                  </a:lnTo>
                  <a:lnTo>
                    <a:pt x="1182" y="276"/>
                  </a:lnTo>
                  <a:lnTo>
                    <a:pt x="1182" y="274"/>
                  </a:lnTo>
                  <a:lnTo>
                    <a:pt x="1184" y="274"/>
                  </a:lnTo>
                  <a:lnTo>
                    <a:pt x="1186" y="274"/>
                  </a:lnTo>
                  <a:lnTo>
                    <a:pt x="1188" y="274"/>
                  </a:lnTo>
                  <a:lnTo>
                    <a:pt x="1186" y="274"/>
                  </a:lnTo>
                  <a:lnTo>
                    <a:pt x="1186" y="272"/>
                  </a:lnTo>
                  <a:lnTo>
                    <a:pt x="1188" y="272"/>
                  </a:lnTo>
                  <a:lnTo>
                    <a:pt x="1188" y="274"/>
                  </a:lnTo>
                  <a:lnTo>
                    <a:pt x="1190" y="274"/>
                  </a:lnTo>
                  <a:lnTo>
                    <a:pt x="1192" y="274"/>
                  </a:lnTo>
                  <a:lnTo>
                    <a:pt x="1194" y="274"/>
                  </a:lnTo>
                  <a:lnTo>
                    <a:pt x="1196" y="274"/>
                  </a:lnTo>
                  <a:lnTo>
                    <a:pt x="1196" y="272"/>
                  </a:lnTo>
                  <a:lnTo>
                    <a:pt x="1198" y="272"/>
                  </a:lnTo>
                  <a:lnTo>
                    <a:pt x="1198" y="271"/>
                  </a:lnTo>
                  <a:lnTo>
                    <a:pt x="1199" y="271"/>
                  </a:lnTo>
                  <a:lnTo>
                    <a:pt x="1201" y="271"/>
                  </a:lnTo>
                  <a:lnTo>
                    <a:pt x="1201" y="269"/>
                  </a:lnTo>
                  <a:lnTo>
                    <a:pt x="1203" y="271"/>
                  </a:lnTo>
                  <a:lnTo>
                    <a:pt x="1205" y="269"/>
                  </a:lnTo>
                  <a:lnTo>
                    <a:pt x="1205" y="271"/>
                  </a:lnTo>
                  <a:lnTo>
                    <a:pt x="1207" y="271"/>
                  </a:lnTo>
                  <a:lnTo>
                    <a:pt x="1207" y="272"/>
                  </a:lnTo>
                  <a:lnTo>
                    <a:pt x="1209" y="272"/>
                  </a:lnTo>
                  <a:lnTo>
                    <a:pt x="1207" y="272"/>
                  </a:lnTo>
                  <a:lnTo>
                    <a:pt x="1209" y="272"/>
                  </a:lnTo>
                  <a:lnTo>
                    <a:pt x="1209" y="274"/>
                  </a:lnTo>
                  <a:lnTo>
                    <a:pt x="1209" y="276"/>
                  </a:lnTo>
                  <a:lnTo>
                    <a:pt x="1209" y="278"/>
                  </a:lnTo>
                  <a:lnTo>
                    <a:pt x="1209" y="280"/>
                  </a:lnTo>
                  <a:lnTo>
                    <a:pt x="1207" y="280"/>
                  </a:lnTo>
                  <a:lnTo>
                    <a:pt x="1207" y="282"/>
                  </a:lnTo>
                  <a:lnTo>
                    <a:pt x="1207" y="284"/>
                  </a:lnTo>
                  <a:lnTo>
                    <a:pt x="1207" y="286"/>
                  </a:lnTo>
                  <a:lnTo>
                    <a:pt x="1209" y="286"/>
                  </a:lnTo>
                  <a:lnTo>
                    <a:pt x="1209" y="288"/>
                  </a:lnTo>
                  <a:lnTo>
                    <a:pt x="1211" y="288"/>
                  </a:lnTo>
                  <a:lnTo>
                    <a:pt x="1213" y="290"/>
                  </a:lnTo>
                  <a:lnTo>
                    <a:pt x="1211" y="290"/>
                  </a:lnTo>
                  <a:lnTo>
                    <a:pt x="1213" y="292"/>
                  </a:lnTo>
                  <a:lnTo>
                    <a:pt x="1215" y="292"/>
                  </a:lnTo>
                  <a:lnTo>
                    <a:pt x="1215" y="294"/>
                  </a:lnTo>
                  <a:lnTo>
                    <a:pt x="1217" y="292"/>
                  </a:lnTo>
                  <a:lnTo>
                    <a:pt x="1217" y="294"/>
                  </a:lnTo>
                  <a:lnTo>
                    <a:pt x="1217" y="292"/>
                  </a:lnTo>
                  <a:lnTo>
                    <a:pt x="1219" y="292"/>
                  </a:lnTo>
                  <a:lnTo>
                    <a:pt x="1219" y="294"/>
                  </a:lnTo>
                  <a:lnTo>
                    <a:pt x="1221" y="294"/>
                  </a:lnTo>
                  <a:lnTo>
                    <a:pt x="1221" y="296"/>
                  </a:lnTo>
                  <a:lnTo>
                    <a:pt x="1221" y="297"/>
                  </a:lnTo>
                  <a:lnTo>
                    <a:pt x="1223" y="297"/>
                  </a:lnTo>
                  <a:lnTo>
                    <a:pt x="1223" y="299"/>
                  </a:lnTo>
                  <a:lnTo>
                    <a:pt x="1224" y="299"/>
                  </a:lnTo>
                  <a:lnTo>
                    <a:pt x="1224" y="301"/>
                  </a:lnTo>
                  <a:lnTo>
                    <a:pt x="1226" y="301"/>
                  </a:lnTo>
                  <a:lnTo>
                    <a:pt x="1228" y="301"/>
                  </a:lnTo>
                  <a:lnTo>
                    <a:pt x="1228" y="303"/>
                  </a:lnTo>
                  <a:lnTo>
                    <a:pt x="1228" y="305"/>
                  </a:lnTo>
                  <a:lnTo>
                    <a:pt x="1230" y="305"/>
                  </a:lnTo>
                  <a:lnTo>
                    <a:pt x="1232" y="305"/>
                  </a:lnTo>
                  <a:lnTo>
                    <a:pt x="1234" y="305"/>
                  </a:lnTo>
                  <a:lnTo>
                    <a:pt x="1234" y="307"/>
                  </a:lnTo>
                  <a:lnTo>
                    <a:pt x="1234" y="305"/>
                  </a:lnTo>
                  <a:lnTo>
                    <a:pt x="1234" y="307"/>
                  </a:lnTo>
                  <a:lnTo>
                    <a:pt x="1236" y="307"/>
                  </a:lnTo>
                  <a:lnTo>
                    <a:pt x="1236" y="309"/>
                  </a:lnTo>
                  <a:lnTo>
                    <a:pt x="1238" y="309"/>
                  </a:lnTo>
                  <a:lnTo>
                    <a:pt x="1238" y="311"/>
                  </a:lnTo>
                  <a:lnTo>
                    <a:pt x="1238" y="313"/>
                  </a:lnTo>
                  <a:lnTo>
                    <a:pt x="1236" y="313"/>
                  </a:lnTo>
                  <a:lnTo>
                    <a:pt x="1238" y="313"/>
                  </a:lnTo>
                  <a:lnTo>
                    <a:pt x="1238" y="315"/>
                  </a:lnTo>
                  <a:lnTo>
                    <a:pt x="1236" y="315"/>
                  </a:lnTo>
                  <a:lnTo>
                    <a:pt x="1238" y="317"/>
                  </a:lnTo>
                  <a:lnTo>
                    <a:pt x="1240" y="317"/>
                  </a:lnTo>
                  <a:lnTo>
                    <a:pt x="1240" y="319"/>
                  </a:lnTo>
                  <a:lnTo>
                    <a:pt x="1240" y="320"/>
                  </a:lnTo>
                  <a:lnTo>
                    <a:pt x="1242" y="320"/>
                  </a:lnTo>
                  <a:lnTo>
                    <a:pt x="1242" y="322"/>
                  </a:lnTo>
                  <a:lnTo>
                    <a:pt x="1242" y="324"/>
                  </a:lnTo>
                  <a:lnTo>
                    <a:pt x="1242" y="326"/>
                  </a:lnTo>
                  <a:lnTo>
                    <a:pt x="1244" y="326"/>
                  </a:lnTo>
                  <a:lnTo>
                    <a:pt x="1244" y="328"/>
                  </a:lnTo>
                  <a:lnTo>
                    <a:pt x="1244" y="330"/>
                  </a:lnTo>
                  <a:lnTo>
                    <a:pt x="1246" y="330"/>
                  </a:lnTo>
                  <a:lnTo>
                    <a:pt x="1246" y="332"/>
                  </a:lnTo>
                  <a:lnTo>
                    <a:pt x="1246" y="334"/>
                  </a:lnTo>
                  <a:lnTo>
                    <a:pt x="1246" y="336"/>
                  </a:lnTo>
                  <a:lnTo>
                    <a:pt x="1244" y="338"/>
                  </a:lnTo>
                  <a:lnTo>
                    <a:pt x="1246" y="340"/>
                  </a:lnTo>
                  <a:lnTo>
                    <a:pt x="1247" y="340"/>
                  </a:lnTo>
                  <a:lnTo>
                    <a:pt x="1247" y="342"/>
                  </a:lnTo>
                  <a:lnTo>
                    <a:pt x="1247" y="344"/>
                  </a:lnTo>
                  <a:lnTo>
                    <a:pt x="1246" y="344"/>
                  </a:lnTo>
                  <a:lnTo>
                    <a:pt x="1247" y="344"/>
                  </a:lnTo>
                  <a:lnTo>
                    <a:pt x="1247" y="345"/>
                  </a:lnTo>
                  <a:lnTo>
                    <a:pt x="1246" y="345"/>
                  </a:lnTo>
                  <a:lnTo>
                    <a:pt x="1246" y="347"/>
                  </a:lnTo>
                  <a:lnTo>
                    <a:pt x="1247" y="347"/>
                  </a:lnTo>
                  <a:lnTo>
                    <a:pt x="1249" y="347"/>
                  </a:lnTo>
                  <a:lnTo>
                    <a:pt x="1249" y="349"/>
                  </a:lnTo>
                  <a:lnTo>
                    <a:pt x="1251" y="349"/>
                  </a:lnTo>
                  <a:lnTo>
                    <a:pt x="1251" y="351"/>
                  </a:lnTo>
                  <a:lnTo>
                    <a:pt x="1253" y="351"/>
                  </a:lnTo>
                  <a:lnTo>
                    <a:pt x="1251" y="351"/>
                  </a:lnTo>
                  <a:lnTo>
                    <a:pt x="1251" y="353"/>
                  </a:lnTo>
                  <a:lnTo>
                    <a:pt x="1253" y="353"/>
                  </a:lnTo>
                  <a:lnTo>
                    <a:pt x="1255" y="351"/>
                  </a:lnTo>
                  <a:lnTo>
                    <a:pt x="1257" y="351"/>
                  </a:lnTo>
                  <a:lnTo>
                    <a:pt x="1259" y="351"/>
                  </a:lnTo>
                  <a:lnTo>
                    <a:pt x="1259" y="349"/>
                  </a:lnTo>
                  <a:lnTo>
                    <a:pt x="1261" y="349"/>
                  </a:lnTo>
                  <a:lnTo>
                    <a:pt x="1261" y="347"/>
                  </a:lnTo>
                  <a:lnTo>
                    <a:pt x="1263" y="345"/>
                  </a:lnTo>
                  <a:lnTo>
                    <a:pt x="1263" y="347"/>
                  </a:lnTo>
                  <a:lnTo>
                    <a:pt x="1265" y="347"/>
                  </a:lnTo>
                  <a:lnTo>
                    <a:pt x="1267" y="347"/>
                  </a:lnTo>
                  <a:lnTo>
                    <a:pt x="1267" y="349"/>
                  </a:lnTo>
                  <a:lnTo>
                    <a:pt x="1269" y="349"/>
                  </a:lnTo>
                  <a:lnTo>
                    <a:pt x="1270" y="349"/>
                  </a:lnTo>
                  <a:lnTo>
                    <a:pt x="1270" y="347"/>
                  </a:lnTo>
                  <a:lnTo>
                    <a:pt x="1272" y="347"/>
                  </a:lnTo>
                  <a:lnTo>
                    <a:pt x="1272" y="345"/>
                  </a:lnTo>
                  <a:lnTo>
                    <a:pt x="1272" y="344"/>
                  </a:lnTo>
                  <a:lnTo>
                    <a:pt x="1272" y="342"/>
                  </a:lnTo>
                  <a:lnTo>
                    <a:pt x="1274" y="342"/>
                  </a:lnTo>
                  <a:lnTo>
                    <a:pt x="1276" y="342"/>
                  </a:lnTo>
                  <a:lnTo>
                    <a:pt x="1276" y="344"/>
                  </a:lnTo>
                  <a:lnTo>
                    <a:pt x="1278" y="345"/>
                  </a:lnTo>
                  <a:lnTo>
                    <a:pt x="1280" y="345"/>
                  </a:lnTo>
                  <a:lnTo>
                    <a:pt x="1282" y="345"/>
                  </a:lnTo>
                  <a:lnTo>
                    <a:pt x="1282" y="344"/>
                  </a:lnTo>
                  <a:lnTo>
                    <a:pt x="1284" y="344"/>
                  </a:lnTo>
                  <a:lnTo>
                    <a:pt x="1284" y="342"/>
                  </a:lnTo>
                  <a:lnTo>
                    <a:pt x="1284" y="340"/>
                  </a:lnTo>
                  <a:lnTo>
                    <a:pt x="1286" y="340"/>
                  </a:lnTo>
                  <a:lnTo>
                    <a:pt x="1288" y="340"/>
                  </a:lnTo>
                  <a:lnTo>
                    <a:pt x="1288" y="338"/>
                  </a:lnTo>
                  <a:lnTo>
                    <a:pt x="1290" y="338"/>
                  </a:lnTo>
                  <a:lnTo>
                    <a:pt x="1290" y="336"/>
                  </a:lnTo>
                  <a:lnTo>
                    <a:pt x="1290" y="334"/>
                  </a:lnTo>
                  <a:lnTo>
                    <a:pt x="1292" y="334"/>
                  </a:lnTo>
                  <a:lnTo>
                    <a:pt x="1294" y="334"/>
                  </a:lnTo>
                  <a:lnTo>
                    <a:pt x="1295" y="334"/>
                  </a:lnTo>
                  <a:lnTo>
                    <a:pt x="1295" y="336"/>
                  </a:lnTo>
                  <a:lnTo>
                    <a:pt x="1295" y="338"/>
                  </a:lnTo>
                  <a:lnTo>
                    <a:pt x="1295" y="340"/>
                  </a:lnTo>
                  <a:lnTo>
                    <a:pt x="1297" y="342"/>
                  </a:lnTo>
                  <a:lnTo>
                    <a:pt x="1297" y="344"/>
                  </a:lnTo>
                  <a:lnTo>
                    <a:pt x="1295" y="344"/>
                  </a:lnTo>
                  <a:lnTo>
                    <a:pt x="1295" y="345"/>
                  </a:lnTo>
                  <a:lnTo>
                    <a:pt x="1297" y="345"/>
                  </a:lnTo>
                  <a:lnTo>
                    <a:pt x="1297" y="347"/>
                  </a:lnTo>
                  <a:lnTo>
                    <a:pt x="1299" y="347"/>
                  </a:lnTo>
                  <a:lnTo>
                    <a:pt x="1299" y="349"/>
                  </a:lnTo>
                  <a:lnTo>
                    <a:pt x="1301" y="351"/>
                  </a:lnTo>
                  <a:lnTo>
                    <a:pt x="1303" y="351"/>
                  </a:lnTo>
                  <a:lnTo>
                    <a:pt x="1305" y="351"/>
                  </a:lnTo>
                  <a:lnTo>
                    <a:pt x="1305" y="353"/>
                  </a:lnTo>
                  <a:lnTo>
                    <a:pt x="1307" y="353"/>
                  </a:lnTo>
                  <a:lnTo>
                    <a:pt x="1309" y="353"/>
                  </a:lnTo>
                  <a:lnTo>
                    <a:pt x="1311" y="353"/>
                  </a:lnTo>
                  <a:lnTo>
                    <a:pt x="1311" y="355"/>
                  </a:lnTo>
                  <a:lnTo>
                    <a:pt x="1313" y="353"/>
                  </a:lnTo>
                  <a:lnTo>
                    <a:pt x="1315" y="351"/>
                  </a:lnTo>
                  <a:lnTo>
                    <a:pt x="1317" y="351"/>
                  </a:lnTo>
                  <a:lnTo>
                    <a:pt x="1318" y="351"/>
                  </a:lnTo>
                  <a:lnTo>
                    <a:pt x="1318" y="349"/>
                  </a:lnTo>
                  <a:lnTo>
                    <a:pt x="1318" y="347"/>
                  </a:lnTo>
                  <a:lnTo>
                    <a:pt x="1320" y="345"/>
                  </a:lnTo>
                  <a:lnTo>
                    <a:pt x="1320" y="344"/>
                  </a:lnTo>
                  <a:lnTo>
                    <a:pt x="1320" y="342"/>
                  </a:lnTo>
                  <a:lnTo>
                    <a:pt x="1322" y="342"/>
                  </a:lnTo>
                  <a:lnTo>
                    <a:pt x="1322" y="340"/>
                  </a:lnTo>
                  <a:lnTo>
                    <a:pt x="1324" y="340"/>
                  </a:lnTo>
                  <a:lnTo>
                    <a:pt x="1326" y="340"/>
                  </a:lnTo>
                  <a:lnTo>
                    <a:pt x="1328" y="340"/>
                  </a:lnTo>
                  <a:lnTo>
                    <a:pt x="1328" y="342"/>
                  </a:lnTo>
                  <a:lnTo>
                    <a:pt x="1330" y="342"/>
                  </a:lnTo>
                  <a:lnTo>
                    <a:pt x="1330" y="344"/>
                  </a:lnTo>
                  <a:lnTo>
                    <a:pt x="1328" y="344"/>
                  </a:lnTo>
                  <a:lnTo>
                    <a:pt x="1328" y="345"/>
                  </a:lnTo>
                  <a:lnTo>
                    <a:pt x="1330" y="345"/>
                  </a:lnTo>
                  <a:lnTo>
                    <a:pt x="1332" y="345"/>
                  </a:lnTo>
                  <a:lnTo>
                    <a:pt x="1332" y="347"/>
                  </a:lnTo>
                  <a:lnTo>
                    <a:pt x="1332" y="349"/>
                  </a:lnTo>
                  <a:lnTo>
                    <a:pt x="1334" y="349"/>
                  </a:lnTo>
                  <a:lnTo>
                    <a:pt x="1334" y="347"/>
                  </a:lnTo>
                  <a:lnTo>
                    <a:pt x="1334" y="349"/>
                  </a:lnTo>
                  <a:lnTo>
                    <a:pt x="1336" y="349"/>
                  </a:lnTo>
                  <a:lnTo>
                    <a:pt x="1338" y="347"/>
                  </a:lnTo>
                  <a:lnTo>
                    <a:pt x="1342" y="349"/>
                  </a:lnTo>
                  <a:lnTo>
                    <a:pt x="1343" y="349"/>
                  </a:lnTo>
                  <a:lnTo>
                    <a:pt x="1345" y="349"/>
                  </a:lnTo>
                  <a:lnTo>
                    <a:pt x="1347" y="349"/>
                  </a:lnTo>
                  <a:lnTo>
                    <a:pt x="1347" y="351"/>
                  </a:lnTo>
                  <a:lnTo>
                    <a:pt x="1351" y="351"/>
                  </a:lnTo>
                  <a:lnTo>
                    <a:pt x="1355" y="351"/>
                  </a:lnTo>
                  <a:lnTo>
                    <a:pt x="1355" y="353"/>
                  </a:lnTo>
                  <a:lnTo>
                    <a:pt x="1357" y="355"/>
                  </a:lnTo>
                  <a:lnTo>
                    <a:pt x="1359" y="355"/>
                  </a:lnTo>
                  <a:lnTo>
                    <a:pt x="1361" y="355"/>
                  </a:lnTo>
                  <a:lnTo>
                    <a:pt x="1361" y="357"/>
                  </a:lnTo>
                  <a:lnTo>
                    <a:pt x="1365" y="357"/>
                  </a:lnTo>
                  <a:lnTo>
                    <a:pt x="1366" y="357"/>
                  </a:lnTo>
                  <a:lnTo>
                    <a:pt x="1366" y="353"/>
                  </a:lnTo>
                  <a:lnTo>
                    <a:pt x="1366" y="349"/>
                  </a:lnTo>
                  <a:lnTo>
                    <a:pt x="1366" y="334"/>
                  </a:lnTo>
                  <a:lnTo>
                    <a:pt x="1366" y="332"/>
                  </a:lnTo>
                  <a:lnTo>
                    <a:pt x="1366" y="330"/>
                  </a:lnTo>
                  <a:lnTo>
                    <a:pt x="1365" y="313"/>
                  </a:lnTo>
                  <a:lnTo>
                    <a:pt x="1365" y="311"/>
                  </a:lnTo>
                  <a:lnTo>
                    <a:pt x="1366" y="311"/>
                  </a:lnTo>
                  <a:lnTo>
                    <a:pt x="1370" y="307"/>
                  </a:lnTo>
                  <a:lnTo>
                    <a:pt x="1378" y="301"/>
                  </a:lnTo>
                  <a:lnTo>
                    <a:pt x="1380" y="299"/>
                  </a:lnTo>
                  <a:lnTo>
                    <a:pt x="1386" y="296"/>
                  </a:lnTo>
                  <a:lnTo>
                    <a:pt x="1393" y="288"/>
                  </a:lnTo>
                  <a:lnTo>
                    <a:pt x="1395" y="288"/>
                  </a:lnTo>
                  <a:lnTo>
                    <a:pt x="1399" y="286"/>
                  </a:lnTo>
                  <a:lnTo>
                    <a:pt x="1407" y="284"/>
                  </a:lnTo>
                  <a:lnTo>
                    <a:pt x="1409" y="284"/>
                  </a:lnTo>
                  <a:lnTo>
                    <a:pt x="1413" y="284"/>
                  </a:lnTo>
                  <a:lnTo>
                    <a:pt x="1418" y="282"/>
                  </a:lnTo>
                  <a:lnTo>
                    <a:pt x="1424" y="282"/>
                  </a:lnTo>
                  <a:lnTo>
                    <a:pt x="1430" y="280"/>
                  </a:lnTo>
                  <a:lnTo>
                    <a:pt x="1436" y="280"/>
                  </a:lnTo>
                  <a:lnTo>
                    <a:pt x="1437" y="280"/>
                  </a:lnTo>
                  <a:lnTo>
                    <a:pt x="1439" y="278"/>
                  </a:lnTo>
                  <a:lnTo>
                    <a:pt x="1441" y="278"/>
                  </a:lnTo>
                  <a:lnTo>
                    <a:pt x="1443" y="278"/>
                  </a:lnTo>
                  <a:lnTo>
                    <a:pt x="1445" y="278"/>
                  </a:lnTo>
                  <a:lnTo>
                    <a:pt x="1447" y="278"/>
                  </a:lnTo>
                  <a:lnTo>
                    <a:pt x="1449" y="278"/>
                  </a:lnTo>
                  <a:lnTo>
                    <a:pt x="1451" y="276"/>
                  </a:lnTo>
                  <a:lnTo>
                    <a:pt x="1453" y="276"/>
                  </a:lnTo>
                  <a:lnTo>
                    <a:pt x="1459" y="280"/>
                  </a:lnTo>
                  <a:lnTo>
                    <a:pt x="1464" y="284"/>
                  </a:lnTo>
                  <a:lnTo>
                    <a:pt x="1480" y="292"/>
                  </a:lnTo>
                  <a:lnTo>
                    <a:pt x="1482" y="294"/>
                  </a:lnTo>
                  <a:lnTo>
                    <a:pt x="1485" y="296"/>
                  </a:lnTo>
                  <a:lnTo>
                    <a:pt x="1487" y="296"/>
                  </a:lnTo>
                  <a:lnTo>
                    <a:pt x="1499" y="301"/>
                  </a:lnTo>
                  <a:lnTo>
                    <a:pt x="1505" y="305"/>
                  </a:lnTo>
                  <a:lnTo>
                    <a:pt x="1508" y="307"/>
                  </a:lnTo>
                  <a:lnTo>
                    <a:pt x="1512" y="309"/>
                  </a:lnTo>
                  <a:lnTo>
                    <a:pt x="1520" y="311"/>
                  </a:lnTo>
                  <a:lnTo>
                    <a:pt x="1522" y="313"/>
                  </a:lnTo>
                  <a:lnTo>
                    <a:pt x="1524" y="313"/>
                  </a:lnTo>
                  <a:lnTo>
                    <a:pt x="1530" y="317"/>
                  </a:lnTo>
                  <a:lnTo>
                    <a:pt x="1528" y="319"/>
                  </a:lnTo>
                  <a:lnTo>
                    <a:pt x="1528" y="320"/>
                  </a:lnTo>
                  <a:lnTo>
                    <a:pt x="1528" y="322"/>
                  </a:lnTo>
                  <a:lnTo>
                    <a:pt x="1528" y="324"/>
                  </a:lnTo>
                  <a:lnTo>
                    <a:pt x="1526" y="324"/>
                  </a:lnTo>
                  <a:lnTo>
                    <a:pt x="1524" y="324"/>
                  </a:lnTo>
                  <a:lnTo>
                    <a:pt x="1524" y="326"/>
                  </a:lnTo>
                  <a:lnTo>
                    <a:pt x="1526" y="326"/>
                  </a:lnTo>
                  <a:lnTo>
                    <a:pt x="1528" y="326"/>
                  </a:lnTo>
                  <a:lnTo>
                    <a:pt x="1528" y="328"/>
                  </a:lnTo>
                  <a:lnTo>
                    <a:pt x="1528" y="330"/>
                  </a:lnTo>
                  <a:lnTo>
                    <a:pt x="1528" y="332"/>
                  </a:lnTo>
                  <a:lnTo>
                    <a:pt x="1526" y="332"/>
                  </a:lnTo>
                  <a:lnTo>
                    <a:pt x="1526" y="334"/>
                  </a:lnTo>
                  <a:lnTo>
                    <a:pt x="1526" y="336"/>
                  </a:lnTo>
                  <a:lnTo>
                    <a:pt x="1526" y="338"/>
                  </a:lnTo>
                  <a:lnTo>
                    <a:pt x="1526" y="340"/>
                  </a:lnTo>
                  <a:lnTo>
                    <a:pt x="1524" y="342"/>
                  </a:lnTo>
                  <a:lnTo>
                    <a:pt x="1522" y="342"/>
                  </a:lnTo>
                  <a:lnTo>
                    <a:pt x="1522" y="344"/>
                  </a:lnTo>
                  <a:lnTo>
                    <a:pt x="1524" y="345"/>
                  </a:lnTo>
                  <a:lnTo>
                    <a:pt x="1526" y="345"/>
                  </a:lnTo>
                  <a:lnTo>
                    <a:pt x="1528" y="347"/>
                  </a:lnTo>
                  <a:lnTo>
                    <a:pt x="1528" y="345"/>
                  </a:lnTo>
                  <a:lnTo>
                    <a:pt x="1530" y="345"/>
                  </a:lnTo>
                  <a:lnTo>
                    <a:pt x="1532" y="347"/>
                  </a:lnTo>
                  <a:lnTo>
                    <a:pt x="1533" y="347"/>
                  </a:lnTo>
                  <a:lnTo>
                    <a:pt x="1535" y="349"/>
                  </a:lnTo>
                  <a:lnTo>
                    <a:pt x="1537" y="351"/>
                  </a:lnTo>
                  <a:lnTo>
                    <a:pt x="1537" y="353"/>
                  </a:lnTo>
                  <a:lnTo>
                    <a:pt x="1539" y="355"/>
                  </a:lnTo>
                  <a:lnTo>
                    <a:pt x="1539" y="357"/>
                  </a:lnTo>
                  <a:lnTo>
                    <a:pt x="1541" y="357"/>
                  </a:lnTo>
                  <a:lnTo>
                    <a:pt x="1543" y="359"/>
                  </a:lnTo>
                  <a:lnTo>
                    <a:pt x="1545" y="365"/>
                  </a:lnTo>
                  <a:lnTo>
                    <a:pt x="1543" y="369"/>
                  </a:lnTo>
                  <a:lnTo>
                    <a:pt x="1541" y="370"/>
                  </a:lnTo>
                  <a:lnTo>
                    <a:pt x="1541" y="372"/>
                  </a:lnTo>
                  <a:lnTo>
                    <a:pt x="1541" y="374"/>
                  </a:lnTo>
                  <a:lnTo>
                    <a:pt x="1541" y="376"/>
                  </a:lnTo>
                  <a:lnTo>
                    <a:pt x="1541" y="378"/>
                  </a:lnTo>
                  <a:lnTo>
                    <a:pt x="1541" y="380"/>
                  </a:lnTo>
                  <a:lnTo>
                    <a:pt x="1539" y="380"/>
                  </a:lnTo>
                  <a:lnTo>
                    <a:pt x="1539" y="384"/>
                  </a:lnTo>
                  <a:lnTo>
                    <a:pt x="1537" y="386"/>
                  </a:lnTo>
                  <a:lnTo>
                    <a:pt x="1537" y="388"/>
                  </a:lnTo>
                  <a:lnTo>
                    <a:pt x="1537" y="390"/>
                  </a:lnTo>
                  <a:lnTo>
                    <a:pt x="1537" y="392"/>
                  </a:lnTo>
                  <a:lnTo>
                    <a:pt x="1537" y="393"/>
                  </a:lnTo>
                  <a:lnTo>
                    <a:pt x="1535" y="395"/>
                  </a:lnTo>
                  <a:lnTo>
                    <a:pt x="1535" y="401"/>
                  </a:lnTo>
                  <a:lnTo>
                    <a:pt x="1574" y="438"/>
                  </a:lnTo>
                  <a:lnTo>
                    <a:pt x="1574" y="440"/>
                  </a:lnTo>
                  <a:lnTo>
                    <a:pt x="1572" y="440"/>
                  </a:lnTo>
                  <a:lnTo>
                    <a:pt x="1562" y="443"/>
                  </a:lnTo>
                  <a:lnTo>
                    <a:pt x="1560" y="443"/>
                  </a:lnTo>
                  <a:lnTo>
                    <a:pt x="1551" y="438"/>
                  </a:lnTo>
                  <a:lnTo>
                    <a:pt x="1549" y="438"/>
                  </a:lnTo>
                  <a:lnTo>
                    <a:pt x="1547" y="438"/>
                  </a:lnTo>
                  <a:lnTo>
                    <a:pt x="1543" y="438"/>
                  </a:lnTo>
                  <a:lnTo>
                    <a:pt x="1541" y="436"/>
                  </a:lnTo>
                  <a:lnTo>
                    <a:pt x="1539" y="436"/>
                  </a:lnTo>
                  <a:lnTo>
                    <a:pt x="1539" y="438"/>
                  </a:lnTo>
                  <a:lnTo>
                    <a:pt x="1539" y="440"/>
                  </a:lnTo>
                  <a:lnTo>
                    <a:pt x="1537" y="442"/>
                  </a:lnTo>
                  <a:lnTo>
                    <a:pt x="1537" y="445"/>
                  </a:lnTo>
                  <a:lnTo>
                    <a:pt x="1535" y="447"/>
                  </a:lnTo>
                  <a:lnTo>
                    <a:pt x="1535" y="449"/>
                  </a:lnTo>
                  <a:lnTo>
                    <a:pt x="1535" y="451"/>
                  </a:lnTo>
                  <a:lnTo>
                    <a:pt x="1533" y="451"/>
                  </a:lnTo>
                  <a:lnTo>
                    <a:pt x="1533" y="453"/>
                  </a:lnTo>
                  <a:lnTo>
                    <a:pt x="1532" y="453"/>
                  </a:lnTo>
                  <a:lnTo>
                    <a:pt x="1530" y="455"/>
                  </a:lnTo>
                  <a:lnTo>
                    <a:pt x="1530" y="457"/>
                  </a:lnTo>
                  <a:lnTo>
                    <a:pt x="1526" y="455"/>
                  </a:lnTo>
                  <a:lnTo>
                    <a:pt x="1518" y="453"/>
                  </a:lnTo>
                  <a:lnTo>
                    <a:pt x="1514" y="451"/>
                  </a:lnTo>
                  <a:lnTo>
                    <a:pt x="1508" y="451"/>
                  </a:lnTo>
                  <a:lnTo>
                    <a:pt x="1505" y="449"/>
                  </a:lnTo>
                  <a:lnTo>
                    <a:pt x="1503" y="449"/>
                  </a:lnTo>
                  <a:lnTo>
                    <a:pt x="1501" y="449"/>
                  </a:lnTo>
                  <a:lnTo>
                    <a:pt x="1503" y="451"/>
                  </a:lnTo>
                  <a:lnTo>
                    <a:pt x="1508" y="466"/>
                  </a:lnTo>
                  <a:lnTo>
                    <a:pt x="1512" y="474"/>
                  </a:lnTo>
                  <a:lnTo>
                    <a:pt x="1514" y="484"/>
                  </a:lnTo>
                  <a:lnTo>
                    <a:pt x="1520" y="495"/>
                  </a:lnTo>
                  <a:lnTo>
                    <a:pt x="1518" y="501"/>
                  </a:lnTo>
                  <a:lnTo>
                    <a:pt x="1518" y="505"/>
                  </a:lnTo>
                  <a:lnTo>
                    <a:pt x="1516" y="507"/>
                  </a:lnTo>
                  <a:lnTo>
                    <a:pt x="1516" y="511"/>
                  </a:lnTo>
                  <a:lnTo>
                    <a:pt x="1514" y="518"/>
                  </a:lnTo>
                  <a:lnTo>
                    <a:pt x="1514" y="520"/>
                  </a:lnTo>
                  <a:lnTo>
                    <a:pt x="1512" y="532"/>
                  </a:lnTo>
                  <a:lnTo>
                    <a:pt x="1510" y="543"/>
                  </a:lnTo>
                  <a:lnTo>
                    <a:pt x="1514" y="545"/>
                  </a:lnTo>
                  <a:lnTo>
                    <a:pt x="1528" y="555"/>
                  </a:lnTo>
                  <a:lnTo>
                    <a:pt x="1530" y="557"/>
                  </a:lnTo>
                  <a:lnTo>
                    <a:pt x="1532" y="557"/>
                  </a:lnTo>
                  <a:lnTo>
                    <a:pt x="1539" y="563"/>
                  </a:lnTo>
                  <a:lnTo>
                    <a:pt x="1551" y="572"/>
                  </a:lnTo>
                  <a:lnTo>
                    <a:pt x="1556" y="576"/>
                  </a:lnTo>
                  <a:lnTo>
                    <a:pt x="1560" y="578"/>
                  </a:lnTo>
                  <a:lnTo>
                    <a:pt x="1570" y="582"/>
                  </a:lnTo>
                  <a:lnTo>
                    <a:pt x="1574" y="582"/>
                  </a:lnTo>
                  <a:lnTo>
                    <a:pt x="1574" y="584"/>
                  </a:lnTo>
                  <a:lnTo>
                    <a:pt x="1578" y="584"/>
                  </a:lnTo>
                  <a:lnTo>
                    <a:pt x="1587" y="584"/>
                  </a:lnTo>
                  <a:lnTo>
                    <a:pt x="1589" y="584"/>
                  </a:lnTo>
                  <a:lnTo>
                    <a:pt x="1597" y="584"/>
                  </a:lnTo>
                  <a:lnTo>
                    <a:pt x="1601" y="584"/>
                  </a:lnTo>
                  <a:lnTo>
                    <a:pt x="1604" y="584"/>
                  </a:lnTo>
                  <a:lnTo>
                    <a:pt x="1608" y="584"/>
                  </a:lnTo>
                  <a:lnTo>
                    <a:pt x="1616" y="584"/>
                  </a:lnTo>
                  <a:lnTo>
                    <a:pt x="1624" y="586"/>
                  </a:lnTo>
                  <a:lnTo>
                    <a:pt x="1629" y="586"/>
                  </a:lnTo>
                  <a:lnTo>
                    <a:pt x="1635" y="586"/>
                  </a:lnTo>
                  <a:lnTo>
                    <a:pt x="1643" y="586"/>
                  </a:lnTo>
                  <a:lnTo>
                    <a:pt x="1641" y="597"/>
                  </a:lnTo>
                  <a:lnTo>
                    <a:pt x="1641" y="599"/>
                  </a:lnTo>
                  <a:lnTo>
                    <a:pt x="1649" y="597"/>
                  </a:lnTo>
                  <a:lnTo>
                    <a:pt x="1652" y="599"/>
                  </a:lnTo>
                  <a:lnTo>
                    <a:pt x="1664" y="603"/>
                  </a:lnTo>
                  <a:lnTo>
                    <a:pt x="1672" y="605"/>
                  </a:lnTo>
                  <a:lnTo>
                    <a:pt x="1677" y="609"/>
                  </a:lnTo>
                  <a:lnTo>
                    <a:pt x="1683" y="611"/>
                  </a:lnTo>
                  <a:lnTo>
                    <a:pt x="1685" y="612"/>
                  </a:lnTo>
                  <a:lnTo>
                    <a:pt x="1697" y="616"/>
                  </a:lnTo>
                  <a:lnTo>
                    <a:pt x="1698" y="616"/>
                  </a:lnTo>
                  <a:lnTo>
                    <a:pt x="1716" y="624"/>
                  </a:lnTo>
                  <a:lnTo>
                    <a:pt x="1716" y="622"/>
                  </a:lnTo>
                  <a:lnTo>
                    <a:pt x="1720" y="622"/>
                  </a:lnTo>
                  <a:lnTo>
                    <a:pt x="1725" y="616"/>
                  </a:lnTo>
                  <a:lnTo>
                    <a:pt x="1727" y="616"/>
                  </a:lnTo>
                  <a:lnTo>
                    <a:pt x="1733" y="612"/>
                  </a:lnTo>
                  <a:lnTo>
                    <a:pt x="1733" y="611"/>
                  </a:lnTo>
                  <a:lnTo>
                    <a:pt x="1737" y="603"/>
                  </a:lnTo>
                  <a:lnTo>
                    <a:pt x="1739" y="599"/>
                  </a:lnTo>
                  <a:lnTo>
                    <a:pt x="1741" y="597"/>
                  </a:lnTo>
                  <a:lnTo>
                    <a:pt x="1745" y="591"/>
                  </a:lnTo>
                  <a:lnTo>
                    <a:pt x="1745" y="589"/>
                  </a:lnTo>
                  <a:lnTo>
                    <a:pt x="1746" y="586"/>
                  </a:lnTo>
                  <a:lnTo>
                    <a:pt x="1748" y="582"/>
                  </a:lnTo>
                  <a:lnTo>
                    <a:pt x="1750" y="580"/>
                  </a:lnTo>
                  <a:lnTo>
                    <a:pt x="1756" y="576"/>
                  </a:lnTo>
                  <a:lnTo>
                    <a:pt x="1760" y="580"/>
                  </a:lnTo>
                  <a:lnTo>
                    <a:pt x="1762" y="584"/>
                  </a:lnTo>
                  <a:lnTo>
                    <a:pt x="1762" y="587"/>
                  </a:lnTo>
                  <a:lnTo>
                    <a:pt x="1766" y="597"/>
                  </a:lnTo>
                  <a:lnTo>
                    <a:pt x="1766" y="599"/>
                  </a:lnTo>
                  <a:lnTo>
                    <a:pt x="1770" y="611"/>
                  </a:lnTo>
                  <a:lnTo>
                    <a:pt x="1771" y="618"/>
                  </a:lnTo>
                  <a:lnTo>
                    <a:pt x="1771" y="624"/>
                  </a:lnTo>
                  <a:lnTo>
                    <a:pt x="1773" y="634"/>
                  </a:lnTo>
                  <a:lnTo>
                    <a:pt x="1775" y="636"/>
                  </a:lnTo>
                  <a:lnTo>
                    <a:pt x="1783" y="643"/>
                  </a:lnTo>
                  <a:lnTo>
                    <a:pt x="1787" y="655"/>
                  </a:lnTo>
                  <a:lnTo>
                    <a:pt x="1789" y="657"/>
                  </a:lnTo>
                  <a:lnTo>
                    <a:pt x="1791" y="666"/>
                  </a:lnTo>
                  <a:lnTo>
                    <a:pt x="1793" y="666"/>
                  </a:lnTo>
                  <a:lnTo>
                    <a:pt x="1793" y="668"/>
                  </a:lnTo>
                  <a:lnTo>
                    <a:pt x="1793" y="670"/>
                  </a:lnTo>
                  <a:lnTo>
                    <a:pt x="1793" y="672"/>
                  </a:lnTo>
                  <a:lnTo>
                    <a:pt x="1794" y="672"/>
                  </a:lnTo>
                  <a:lnTo>
                    <a:pt x="1796" y="672"/>
                  </a:lnTo>
                  <a:lnTo>
                    <a:pt x="1798" y="672"/>
                  </a:lnTo>
                  <a:lnTo>
                    <a:pt x="1800" y="674"/>
                  </a:lnTo>
                  <a:lnTo>
                    <a:pt x="1804" y="676"/>
                  </a:lnTo>
                  <a:lnTo>
                    <a:pt x="1806" y="676"/>
                  </a:lnTo>
                  <a:lnTo>
                    <a:pt x="1808" y="676"/>
                  </a:lnTo>
                  <a:lnTo>
                    <a:pt x="1810" y="676"/>
                  </a:lnTo>
                  <a:lnTo>
                    <a:pt x="1812" y="676"/>
                  </a:lnTo>
                  <a:lnTo>
                    <a:pt x="1814" y="678"/>
                  </a:lnTo>
                  <a:lnTo>
                    <a:pt x="1814" y="680"/>
                  </a:lnTo>
                  <a:lnTo>
                    <a:pt x="1814" y="682"/>
                  </a:lnTo>
                  <a:lnTo>
                    <a:pt x="1814" y="684"/>
                  </a:lnTo>
                  <a:lnTo>
                    <a:pt x="1816" y="685"/>
                  </a:lnTo>
                  <a:lnTo>
                    <a:pt x="1817" y="689"/>
                  </a:lnTo>
                  <a:lnTo>
                    <a:pt x="1817" y="691"/>
                  </a:lnTo>
                  <a:lnTo>
                    <a:pt x="1817" y="693"/>
                  </a:lnTo>
                  <a:lnTo>
                    <a:pt x="1819" y="699"/>
                  </a:lnTo>
                  <a:lnTo>
                    <a:pt x="1823" y="714"/>
                  </a:lnTo>
                  <a:lnTo>
                    <a:pt x="1823" y="716"/>
                  </a:lnTo>
                  <a:lnTo>
                    <a:pt x="1823" y="720"/>
                  </a:lnTo>
                  <a:lnTo>
                    <a:pt x="1823" y="722"/>
                  </a:lnTo>
                  <a:lnTo>
                    <a:pt x="1823" y="724"/>
                  </a:lnTo>
                  <a:lnTo>
                    <a:pt x="1823" y="732"/>
                  </a:lnTo>
                  <a:lnTo>
                    <a:pt x="1821" y="737"/>
                  </a:lnTo>
                  <a:lnTo>
                    <a:pt x="1821" y="745"/>
                  </a:lnTo>
                  <a:lnTo>
                    <a:pt x="1817" y="751"/>
                  </a:lnTo>
                  <a:lnTo>
                    <a:pt x="1814" y="757"/>
                  </a:lnTo>
                  <a:lnTo>
                    <a:pt x="1808" y="762"/>
                  </a:lnTo>
                  <a:lnTo>
                    <a:pt x="1808" y="764"/>
                  </a:lnTo>
                  <a:lnTo>
                    <a:pt x="1808" y="766"/>
                  </a:lnTo>
                  <a:lnTo>
                    <a:pt x="1808" y="768"/>
                  </a:lnTo>
                  <a:lnTo>
                    <a:pt x="1806" y="770"/>
                  </a:lnTo>
                  <a:lnTo>
                    <a:pt x="1806" y="772"/>
                  </a:lnTo>
                  <a:lnTo>
                    <a:pt x="1804" y="776"/>
                  </a:lnTo>
                  <a:lnTo>
                    <a:pt x="1800" y="781"/>
                  </a:lnTo>
                  <a:lnTo>
                    <a:pt x="1798" y="783"/>
                  </a:lnTo>
                  <a:lnTo>
                    <a:pt x="1798" y="785"/>
                  </a:lnTo>
                  <a:lnTo>
                    <a:pt x="1798" y="787"/>
                  </a:lnTo>
                  <a:lnTo>
                    <a:pt x="1800" y="787"/>
                  </a:lnTo>
                  <a:lnTo>
                    <a:pt x="1800" y="789"/>
                  </a:lnTo>
                  <a:lnTo>
                    <a:pt x="1798" y="789"/>
                  </a:lnTo>
                  <a:lnTo>
                    <a:pt x="1798" y="791"/>
                  </a:lnTo>
                  <a:lnTo>
                    <a:pt x="1798" y="793"/>
                  </a:lnTo>
                  <a:lnTo>
                    <a:pt x="1798" y="795"/>
                  </a:lnTo>
                  <a:lnTo>
                    <a:pt x="1794" y="797"/>
                  </a:lnTo>
                  <a:lnTo>
                    <a:pt x="1791" y="799"/>
                  </a:lnTo>
                  <a:lnTo>
                    <a:pt x="1793" y="801"/>
                  </a:lnTo>
                  <a:lnTo>
                    <a:pt x="1793" y="803"/>
                  </a:lnTo>
                  <a:lnTo>
                    <a:pt x="1791" y="805"/>
                  </a:lnTo>
                  <a:lnTo>
                    <a:pt x="1791" y="806"/>
                  </a:lnTo>
                  <a:lnTo>
                    <a:pt x="1787" y="810"/>
                  </a:lnTo>
                  <a:lnTo>
                    <a:pt x="1787" y="812"/>
                  </a:lnTo>
                  <a:lnTo>
                    <a:pt x="1783" y="820"/>
                  </a:lnTo>
                  <a:lnTo>
                    <a:pt x="1779" y="828"/>
                  </a:lnTo>
                  <a:lnTo>
                    <a:pt x="1779" y="833"/>
                  </a:lnTo>
                  <a:lnTo>
                    <a:pt x="1781" y="841"/>
                  </a:lnTo>
                  <a:lnTo>
                    <a:pt x="1781" y="843"/>
                  </a:lnTo>
                  <a:lnTo>
                    <a:pt x="1781" y="845"/>
                  </a:lnTo>
                  <a:lnTo>
                    <a:pt x="1779" y="845"/>
                  </a:lnTo>
                  <a:lnTo>
                    <a:pt x="1779" y="847"/>
                  </a:lnTo>
                  <a:lnTo>
                    <a:pt x="1781" y="853"/>
                  </a:lnTo>
                  <a:lnTo>
                    <a:pt x="1783" y="854"/>
                  </a:lnTo>
                  <a:lnTo>
                    <a:pt x="1783" y="856"/>
                  </a:lnTo>
                  <a:lnTo>
                    <a:pt x="1789" y="870"/>
                  </a:lnTo>
                  <a:lnTo>
                    <a:pt x="1791" y="878"/>
                  </a:lnTo>
                  <a:lnTo>
                    <a:pt x="1798" y="885"/>
                  </a:lnTo>
                  <a:lnTo>
                    <a:pt x="1800" y="887"/>
                  </a:lnTo>
                  <a:lnTo>
                    <a:pt x="1806" y="895"/>
                  </a:lnTo>
                  <a:lnTo>
                    <a:pt x="1810" y="899"/>
                  </a:lnTo>
                  <a:lnTo>
                    <a:pt x="1808" y="903"/>
                  </a:lnTo>
                  <a:lnTo>
                    <a:pt x="1806" y="908"/>
                  </a:lnTo>
                  <a:lnTo>
                    <a:pt x="1800" y="910"/>
                  </a:lnTo>
                  <a:lnTo>
                    <a:pt x="1798" y="912"/>
                  </a:lnTo>
                  <a:lnTo>
                    <a:pt x="1794" y="914"/>
                  </a:lnTo>
                  <a:lnTo>
                    <a:pt x="1793" y="914"/>
                  </a:lnTo>
                  <a:lnTo>
                    <a:pt x="1791" y="916"/>
                  </a:lnTo>
                  <a:lnTo>
                    <a:pt x="1787" y="918"/>
                  </a:lnTo>
                  <a:lnTo>
                    <a:pt x="1785" y="918"/>
                  </a:lnTo>
                  <a:lnTo>
                    <a:pt x="1783" y="918"/>
                  </a:lnTo>
                  <a:lnTo>
                    <a:pt x="1775" y="920"/>
                  </a:lnTo>
                  <a:lnTo>
                    <a:pt x="1770" y="920"/>
                  </a:lnTo>
                  <a:lnTo>
                    <a:pt x="1768" y="920"/>
                  </a:lnTo>
                  <a:lnTo>
                    <a:pt x="1766" y="918"/>
                  </a:lnTo>
                  <a:lnTo>
                    <a:pt x="1764" y="916"/>
                  </a:lnTo>
                  <a:lnTo>
                    <a:pt x="1764" y="918"/>
                  </a:lnTo>
                  <a:lnTo>
                    <a:pt x="1762" y="916"/>
                  </a:lnTo>
                  <a:lnTo>
                    <a:pt x="1760" y="916"/>
                  </a:lnTo>
                  <a:lnTo>
                    <a:pt x="1758" y="916"/>
                  </a:lnTo>
                  <a:lnTo>
                    <a:pt x="1756" y="914"/>
                  </a:lnTo>
                  <a:lnTo>
                    <a:pt x="1752" y="916"/>
                  </a:lnTo>
                  <a:lnTo>
                    <a:pt x="1750" y="916"/>
                  </a:lnTo>
                  <a:lnTo>
                    <a:pt x="1748" y="916"/>
                  </a:lnTo>
                  <a:lnTo>
                    <a:pt x="1746" y="916"/>
                  </a:lnTo>
                  <a:lnTo>
                    <a:pt x="1745" y="916"/>
                  </a:lnTo>
                  <a:lnTo>
                    <a:pt x="1743" y="918"/>
                  </a:lnTo>
                  <a:lnTo>
                    <a:pt x="1741" y="920"/>
                  </a:lnTo>
                  <a:lnTo>
                    <a:pt x="1741" y="918"/>
                  </a:lnTo>
                  <a:lnTo>
                    <a:pt x="1741" y="920"/>
                  </a:lnTo>
                  <a:lnTo>
                    <a:pt x="1741" y="922"/>
                  </a:lnTo>
                  <a:lnTo>
                    <a:pt x="1739" y="922"/>
                  </a:lnTo>
                  <a:lnTo>
                    <a:pt x="1739" y="924"/>
                  </a:lnTo>
                  <a:lnTo>
                    <a:pt x="1737" y="924"/>
                  </a:lnTo>
                  <a:lnTo>
                    <a:pt x="1737" y="926"/>
                  </a:lnTo>
                  <a:lnTo>
                    <a:pt x="1735" y="927"/>
                  </a:lnTo>
                  <a:lnTo>
                    <a:pt x="1735" y="929"/>
                  </a:lnTo>
                  <a:lnTo>
                    <a:pt x="1735" y="931"/>
                  </a:lnTo>
                  <a:lnTo>
                    <a:pt x="1735" y="933"/>
                  </a:lnTo>
                  <a:lnTo>
                    <a:pt x="1735" y="935"/>
                  </a:lnTo>
                  <a:lnTo>
                    <a:pt x="1733" y="937"/>
                  </a:lnTo>
                  <a:lnTo>
                    <a:pt x="1731" y="939"/>
                  </a:lnTo>
                  <a:lnTo>
                    <a:pt x="1731" y="941"/>
                  </a:lnTo>
                  <a:lnTo>
                    <a:pt x="1731" y="945"/>
                  </a:lnTo>
                  <a:lnTo>
                    <a:pt x="1729" y="945"/>
                  </a:lnTo>
                  <a:lnTo>
                    <a:pt x="1731" y="945"/>
                  </a:lnTo>
                  <a:lnTo>
                    <a:pt x="1729" y="945"/>
                  </a:lnTo>
                  <a:lnTo>
                    <a:pt x="1729" y="947"/>
                  </a:lnTo>
                  <a:lnTo>
                    <a:pt x="1727" y="949"/>
                  </a:lnTo>
                  <a:lnTo>
                    <a:pt x="1725" y="951"/>
                  </a:lnTo>
                  <a:lnTo>
                    <a:pt x="1725" y="952"/>
                  </a:lnTo>
                  <a:lnTo>
                    <a:pt x="1725" y="954"/>
                  </a:lnTo>
                  <a:lnTo>
                    <a:pt x="1723" y="956"/>
                  </a:lnTo>
                  <a:lnTo>
                    <a:pt x="1722" y="958"/>
                  </a:lnTo>
                  <a:lnTo>
                    <a:pt x="1720" y="960"/>
                  </a:lnTo>
                  <a:lnTo>
                    <a:pt x="1720" y="962"/>
                  </a:lnTo>
                  <a:lnTo>
                    <a:pt x="1718" y="964"/>
                  </a:lnTo>
                  <a:lnTo>
                    <a:pt x="1720" y="966"/>
                  </a:lnTo>
                  <a:lnTo>
                    <a:pt x="1718" y="966"/>
                  </a:lnTo>
                  <a:lnTo>
                    <a:pt x="1716" y="970"/>
                  </a:lnTo>
                  <a:lnTo>
                    <a:pt x="1714" y="972"/>
                  </a:lnTo>
                  <a:lnTo>
                    <a:pt x="1714" y="974"/>
                  </a:lnTo>
                  <a:lnTo>
                    <a:pt x="1712" y="976"/>
                  </a:lnTo>
                  <a:lnTo>
                    <a:pt x="1710" y="977"/>
                  </a:lnTo>
                  <a:lnTo>
                    <a:pt x="1708" y="979"/>
                  </a:lnTo>
                  <a:lnTo>
                    <a:pt x="1706" y="979"/>
                  </a:lnTo>
                  <a:lnTo>
                    <a:pt x="1700" y="981"/>
                  </a:lnTo>
                  <a:lnTo>
                    <a:pt x="1698" y="981"/>
                  </a:lnTo>
                  <a:lnTo>
                    <a:pt x="1697" y="981"/>
                  </a:lnTo>
                  <a:lnTo>
                    <a:pt x="1695" y="981"/>
                  </a:lnTo>
                  <a:lnTo>
                    <a:pt x="1693" y="983"/>
                  </a:lnTo>
                  <a:lnTo>
                    <a:pt x="1689" y="983"/>
                  </a:lnTo>
                  <a:lnTo>
                    <a:pt x="1681" y="983"/>
                  </a:lnTo>
                  <a:lnTo>
                    <a:pt x="1677" y="983"/>
                  </a:lnTo>
                  <a:lnTo>
                    <a:pt x="1675" y="983"/>
                  </a:lnTo>
                  <a:lnTo>
                    <a:pt x="1674" y="983"/>
                  </a:lnTo>
                  <a:lnTo>
                    <a:pt x="1672" y="985"/>
                  </a:lnTo>
                  <a:lnTo>
                    <a:pt x="1670" y="985"/>
                  </a:lnTo>
                  <a:lnTo>
                    <a:pt x="1670" y="987"/>
                  </a:lnTo>
                  <a:lnTo>
                    <a:pt x="1670" y="989"/>
                  </a:lnTo>
                  <a:lnTo>
                    <a:pt x="1670" y="991"/>
                  </a:lnTo>
                  <a:lnTo>
                    <a:pt x="1668" y="993"/>
                  </a:lnTo>
                  <a:lnTo>
                    <a:pt x="1670" y="993"/>
                  </a:lnTo>
                  <a:lnTo>
                    <a:pt x="1664" y="997"/>
                  </a:lnTo>
                  <a:lnTo>
                    <a:pt x="1660" y="1000"/>
                  </a:lnTo>
                  <a:lnTo>
                    <a:pt x="1654" y="1004"/>
                  </a:lnTo>
                  <a:lnTo>
                    <a:pt x="1649" y="1010"/>
                  </a:lnTo>
                  <a:lnTo>
                    <a:pt x="1647" y="1012"/>
                  </a:lnTo>
                  <a:lnTo>
                    <a:pt x="1643" y="1029"/>
                  </a:lnTo>
                  <a:lnTo>
                    <a:pt x="1643" y="1031"/>
                  </a:lnTo>
                  <a:lnTo>
                    <a:pt x="1641" y="1035"/>
                  </a:lnTo>
                  <a:lnTo>
                    <a:pt x="1639" y="1045"/>
                  </a:lnTo>
                  <a:lnTo>
                    <a:pt x="1639" y="1047"/>
                  </a:lnTo>
                  <a:lnTo>
                    <a:pt x="1639" y="1048"/>
                  </a:lnTo>
                  <a:lnTo>
                    <a:pt x="1637" y="1048"/>
                  </a:lnTo>
                  <a:lnTo>
                    <a:pt x="1633" y="1050"/>
                  </a:lnTo>
                  <a:lnTo>
                    <a:pt x="1629" y="1054"/>
                  </a:lnTo>
                  <a:lnTo>
                    <a:pt x="1624" y="1060"/>
                  </a:lnTo>
                  <a:lnTo>
                    <a:pt x="1612" y="1062"/>
                  </a:lnTo>
                  <a:lnTo>
                    <a:pt x="1610" y="1062"/>
                  </a:lnTo>
                  <a:lnTo>
                    <a:pt x="1595" y="1062"/>
                  </a:lnTo>
                  <a:lnTo>
                    <a:pt x="1589" y="1062"/>
                  </a:lnTo>
                  <a:lnTo>
                    <a:pt x="1587" y="1062"/>
                  </a:lnTo>
                  <a:lnTo>
                    <a:pt x="1570" y="1062"/>
                  </a:lnTo>
                  <a:lnTo>
                    <a:pt x="1543" y="1060"/>
                  </a:lnTo>
                  <a:lnTo>
                    <a:pt x="1541" y="1060"/>
                  </a:lnTo>
                  <a:lnTo>
                    <a:pt x="1539" y="1068"/>
                  </a:lnTo>
                  <a:lnTo>
                    <a:pt x="1539" y="1070"/>
                  </a:lnTo>
                  <a:lnTo>
                    <a:pt x="1539" y="1072"/>
                  </a:lnTo>
                  <a:lnTo>
                    <a:pt x="1539" y="1073"/>
                  </a:lnTo>
                  <a:lnTo>
                    <a:pt x="1539" y="1075"/>
                  </a:lnTo>
                  <a:lnTo>
                    <a:pt x="1539" y="1077"/>
                  </a:lnTo>
                  <a:lnTo>
                    <a:pt x="1537" y="1079"/>
                  </a:lnTo>
                  <a:lnTo>
                    <a:pt x="1537" y="1085"/>
                  </a:lnTo>
                  <a:lnTo>
                    <a:pt x="1537" y="1087"/>
                  </a:lnTo>
                  <a:lnTo>
                    <a:pt x="1537" y="1089"/>
                  </a:lnTo>
                  <a:lnTo>
                    <a:pt x="1535" y="1089"/>
                  </a:lnTo>
                  <a:lnTo>
                    <a:pt x="1535" y="1091"/>
                  </a:lnTo>
                  <a:lnTo>
                    <a:pt x="1535" y="1093"/>
                  </a:lnTo>
                  <a:lnTo>
                    <a:pt x="1533" y="1091"/>
                  </a:lnTo>
                  <a:lnTo>
                    <a:pt x="1532" y="1091"/>
                  </a:lnTo>
                  <a:lnTo>
                    <a:pt x="1530" y="1091"/>
                  </a:lnTo>
                  <a:lnTo>
                    <a:pt x="1530" y="1093"/>
                  </a:lnTo>
                  <a:lnTo>
                    <a:pt x="1528" y="1093"/>
                  </a:lnTo>
                  <a:lnTo>
                    <a:pt x="1528" y="1095"/>
                  </a:lnTo>
                  <a:lnTo>
                    <a:pt x="1526" y="1095"/>
                  </a:lnTo>
                  <a:lnTo>
                    <a:pt x="1526" y="1097"/>
                  </a:lnTo>
                  <a:lnTo>
                    <a:pt x="1526" y="1098"/>
                  </a:lnTo>
                  <a:lnTo>
                    <a:pt x="1528" y="1100"/>
                  </a:lnTo>
                  <a:lnTo>
                    <a:pt x="1530" y="1102"/>
                  </a:lnTo>
                  <a:lnTo>
                    <a:pt x="1532" y="1104"/>
                  </a:lnTo>
                  <a:lnTo>
                    <a:pt x="1532" y="1106"/>
                  </a:lnTo>
                  <a:lnTo>
                    <a:pt x="1530" y="1110"/>
                  </a:lnTo>
                  <a:lnTo>
                    <a:pt x="1528" y="1110"/>
                  </a:lnTo>
                  <a:lnTo>
                    <a:pt x="1526" y="1112"/>
                  </a:lnTo>
                  <a:lnTo>
                    <a:pt x="1524" y="1112"/>
                  </a:lnTo>
                  <a:lnTo>
                    <a:pt x="1518" y="1118"/>
                  </a:lnTo>
                  <a:lnTo>
                    <a:pt x="1516" y="1120"/>
                  </a:lnTo>
                  <a:lnTo>
                    <a:pt x="1508" y="1121"/>
                  </a:lnTo>
                  <a:lnTo>
                    <a:pt x="1499" y="1121"/>
                  </a:lnTo>
                  <a:lnTo>
                    <a:pt x="1493" y="1123"/>
                  </a:lnTo>
                  <a:lnTo>
                    <a:pt x="1485" y="1125"/>
                  </a:lnTo>
                  <a:lnTo>
                    <a:pt x="1482" y="1125"/>
                  </a:lnTo>
                  <a:lnTo>
                    <a:pt x="1482" y="1127"/>
                  </a:lnTo>
                  <a:lnTo>
                    <a:pt x="1484" y="1127"/>
                  </a:lnTo>
                  <a:lnTo>
                    <a:pt x="1484" y="1129"/>
                  </a:lnTo>
                  <a:lnTo>
                    <a:pt x="1482" y="1133"/>
                  </a:lnTo>
                  <a:lnTo>
                    <a:pt x="1478" y="1141"/>
                  </a:lnTo>
                  <a:lnTo>
                    <a:pt x="1476" y="1145"/>
                  </a:lnTo>
                  <a:lnTo>
                    <a:pt x="1474" y="1145"/>
                  </a:lnTo>
                  <a:lnTo>
                    <a:pt x="1474" y="1146"/>
                  </a:lnTo>
                  <a:lnTo>
                    <a:pt x="1474" y="1148"/>
                  </a:lnTo>
                  <a:lnTo>
                    <a:pt x="1474" y="1150"/>
                  </a:lnTo>
                  <a:lnTo>
                    <a:pt x="1474" y="1160"/>
                  </a:lnTo>
                  <a:lnTo>
                    <a:pt x="1474" y="1162"/>
                  </a:lnTo>
                  <a:lnTo>
                    <a:pt x="1474" y="1168"/>
                  </a:lnTo>
                  <a:lnTo>
                    <a:pt x="1480" y="1168"/>
                  </a:lnTo>
                  <a:lnTo>
                    <a:pt x="1497" y="1168"/>
                  </a:lnTo>
                  <a:lnTo>
                    <a:pt x="1501" y="1170"/>
                  </a:lnTo>
                  <a:lnTo>
                    <a:pt x="1507" y="1173"/>
                  </a:lnTo>
                  <a:lnTo>
                    <a:pt x="1518" y="1179"/>
                  </a:lnTo>
                  <a:lnTo>
                    <a:pt x="1520" y="1181"/>
                  </a:lnTo>
                  <a:lnTo>
                    <a:pt x="1530" y="1185"/>
                  </a:lnTo>
                  <a:lnTo>
                    <a:pt x="1532" y="1187"/>
                  </a:lnTo>
                  <a:lnTo>
                    <a:pt x="1537" y="1194"/>
                  </a:lnTo>
                  <a:lnTo>
                    <a:pt x="1539" y="1200"/>
                  </a:lnTo>
                  <a:lnTo>
                    <a:pt x="1545" y="1200"/>
                  </a:lnTo>
                  <a:lnTo>
                    <a:pt x="1549" y="1204"/>
                  </a:lnTo>
                  <a:lnTo>
                    <a:pt x="1551" y="1208"/>
                  </a:lnTo>
                  <a:lnTo>
                    <a:pt x="1553" y="1210"/>
                  </a:lnTo>
                  <a:lnTo>
                    <a:pt x="1562" y="1216"/>
                  </a:lnTo>
                  <a:lnTo>
                    <a:pt x="1564" y="1219"/>
                  </a:lnTo>
                  <a:lnTo>
                    <a:pt x="1578" y="1231"/>
                  </a:lnTo>
                  <a:lnTo>
                    <a:pt x="1574" y="1235"/>
                  </a:lnTo>
                  <a:lnTo>
                    <a:pt x="1585" y="1237"/>
                  </a:lnTo>
                  <a:lnTo>
                    <a:pt x="1591" y="1237"/>
                  </a:lnTo>
                  <a:lnTo>
                    <a:pt x="1591" y="1242"/>
                  </a:lnTo>
                  <a:lnTo>
                    <a:pt x="1593" y="1248"/>
                  </a:lnTo>
                  <a:lnTo>
                    <a:pt x="1593" y="1254"/>
                  </a:lnTo>
                  <a:lnTo>
                    <a:pt x="1591" y="1258"/>
                  </a:lnTo>
                  <a:lnTo>
                    <a:pt x="1593" y="1260"/>
                  </a:lnTo>
                  <a:lnTo>
                    <a:pt x="1593" y="1262"/>
                  </a:lnTo>
                  <a:lnTo>
                    <a:pt x="1593" y="1264"/>
                  </a:lnTo>
                  <a:lnTo>
                    <a:pt x="1595" y="1266"/>
                  </a:lnTo>
                  <a:lnTo>
                    <a:pt x="1595" y="1267"/>
                  </a:lnTo>
                  <a:lnTo>
                    <a:pt x="1593" y="1269"/>
                  </a:lnTo>
                  <a:lnTo>
                    <a:pt x="1589" y="1279"/>
                  </a:lnTo>
                  <a:lnTo>
                    <a:pt x="1587" y="1279"/>
                  </a:lnTo>
                  <a:lnTo>
                    <a:pt x="1583" y="1279"/>
                  </a:lnTo>
                  <a:lnTo>
                    <a:pt x="1581" y="1279"/>
                  </a:lnTo>
                  <a:lnTo>
                    <a:pt x="1580" y="1279"/>
                  </a:lnTo>
                  <a:lnTo>
                    <a:pt x="1578" y="1279"/>
                  </a:lnTo>
                  <a:lnTo>
                    <a:pt x="1576" y="1281"/>
                  </a:lnTo>
                  <a:lnTo>
                    <a:pt x="1574" y="1281"/>
                  </a:lnTo>
                  <a:lnTo>
                    <a:pt x="1568" y="1283"/>
                  </a:lnTo>
                  <a:lnTo>
                    <a:pt x="1566" y="1285"/>
                  </a:lnTo>
                  <a:lnTo>
                    <a:pt x="1564" y="1285"/>
                  </a:lnTo>
                  <a:lnTo>
                    <a:pt x="1562" y="1294"/>
                  </a:lnTo>
                  <a:lnTo>
                    <a:pt x="1562" y="1296"/>
                  </a:lnTo>
                  <a:lnTo>
                    <a:pt x="1560" y="1306"/>
                  </a:lnTo>
                  <a:lnTo>
                    <a:pt x="1562" y="1308"/>
                  </a:lnTo>
                  <a:lnTo>
                    <a:pt x="1560" y="1312"/>
                  </a:lnTo>
                  <a:lnTo>
                    <a:pt x="1558" y="1315"/>
                  </a:lnTo>
                  <a:lnTo>
                    <a:pt x="1558" y="1317"/>
                  </a:lnTo>
                  <a:lnTo>
                    <a:pt x="1551" y="1323"/>
                  </a:lnTo>
                  <a:lnTo>
                    <a:pt x="1555" y="1325"/>
                  </a:lnTo>
                  <a:lnTo>
                    <a:pt x="1547" y="1333"/>
                  </a:lnTo>
                  <a:lnTo>
                    <a:pt x="1537" y="1342"/>
                  </a:lnTo>
                  <a:lnTo>
                    <a:pt x="1533" y="1342"/>
                  </a:lnTo>
                  <a:lnTo>
                    <a:pt x="1532" y="1344"/>
                  </a:lnTo>
                  <a:lnTo>
                    <a:pt x="1530" y="1344"/>
                  </a:lnTo>
                  <a:lnTo>
                    <a:pt x="1530" y="1346"/>
                  </a:lnTo>
                  <a:lnTo>
                    <a:pt x="1528" y="1346"/>
                  </a:lnTo>
                  <a:lnTo>
                    <a:pt x="1526" y="1346"/>
                  </a:lnTo>
                  <a:lnTo>
                    <a:pt x="1524" y="1346"/>
                  </a:lnTo>
                  <a:lnTo>
                    <a:pt x="1522" y="1348"/>
                  </a:lnTo>
                  <a:lnTo>
                    <a:pt x="1522" y="1350"/>
                  </a:lnTo>
                  <a:lnTo>
                    <a:pt x="1522" y="1352"/>
                  </a:lnTo>
                  <a:lnTo>
                    <a:pt x="1522" y="1354"/>
                  </a:lnTo>
                  <a:lnTo>
                    <a:pt x="1520" y="1354"/>
                  </a:lnTo>
                  <a:lnTo>
                    <a:pt x="1520" y="1356"/>
                  </a:lnTo>
                  <a:lnTo>
                    <a:pt x="1516" y="1356"/>
                  </a:lnTo>
                  <a:lnTo>
                    <a:pt x="1514" y="1358"/>
                  </a:lnTo>
                  <a:lnTo>
                    <a:pt x="1512" y="1358"/>
                  </a:lnTo>
                  <a:lnTo>
                    <a:pt x="1510" y="1358"/>
                  </a:lnTo>
                  <a:lnTo>
                    <a:pt x="1508" y="1358"/>
                  </a:lnTo>
                  <a:lnTo>
                    <a:pt x="1507" y="1358"/>
                  </a:lnTo>
                  <a:lnTo>
                    <a:pt x="1503" y="1365"/>
                  </a:lnTo>
                  <a:lnTo>
                    <a:pt x="1493" y="1369"/>
                  </a:lnTo>
                  <a:lnTo>
                    <a:pt x="1489" y="1364"/>
                  </a:lnTo>
                  <a:lnTo>
                    <a:pt x="1478" y="1354"/>
                  </a:lnTo>
                  <a:lnTo>
                    <a:pt x="1480" y="1350"/>
                  </a:lnTo>
                  <a:lnTo>
                    <a:pt x="1478" y="1350"/>
                  </a:lnTo>
                  <a:lnTo>
                    <a:pt x="1476" y="1350"/>
                  </a:lnTo>
                  <a:lnTo>
                    <a:pt x="1474" y="1350"/>
                  </a:lnTo>
                  <a:lnTo>
                    <a:pt x="1474" y="1346"/>
                  </a:lnTo>
                  <a:lnTo>
                    <a:pt x="1472" y="1344"/>
                  </a:lnTo>
                  <a:lnTo>
                    <a:pt x="1472" y="1342"/>
                  </a:lnTo>
                  <a:lnTo>
                    <a:pt x="1472" y="1340"/>
                  </a:lnTo>
                  <a:lnTo>
                    <a:pt x="1470" y="1342"/>
                  </a:lnTo>
                  <a:lnTo>
                    <a:pt x="1468" y="1342"/>
                  </a:lnTo>
                  <a:lnTo>
                    <a:pt x="1466" y="1342"/>
                  </a:lnTo>
                  <a:lnTo>
                    <a:pt x="1466" y="1340"/>
                  </a:lnTo>
                  <a:lnTo>
                    <a:pt x="1462" y="1340"/>
                  </a:lnTo>
                  <a:lnTo>
                    <a:pt x="1462" y="1339"/>
                  </a:lnTo>
                  <a:lnTo>
                    <a:pt x="1459" y="1339"/>
                  </a:lnTo>
                  <a:lnTo>
                    <a:pt x="1455" y="1340"/>
                  </a:lnTo>
                  <a:lnTo>
                    <a:pt x="1449" y="1342"/>
                  </a:lnTo>
                  <a:lnTo>
                    <a:pt x="1443" y="1346"/>
                  </a:lnTo>
                  <a:lnTo>
                    <a:pt x="1434" y="1350"/>
                  </a:lnTo>
                  <a:lnTo>
                    <a:pt x="1430" y="1352"/>
                  </a:lnTo>
                  <a:lnTo>
                    <a:pt x="1426" y="1354"/>
                  </a:lnTo>
                  <a:lnTo>
                    <a:pt x="1424" y="1354"/>
                  </a:lnTo>
                  <a:lnTo>
                    <a:pt x="1422" y="1354"/>
                  </a:lnTo>
                  <a:lnTo>
                    <a:pt x="1418" y="1360"/>
                  </a:lnTo>
                  <a:lnTo>
                    <a:pt x="1413" y="1360"/>
                  </a:lnTo>
                  <a:lnTo>
                    <a:pt x="1411" y="1358"/>
                  </a:lnTo>
                  <a:lnTo>
                    <a:pt x="1405" y="1360"/>
                  </a:lnTo>
                  <a:lnTo>
                    <a:pt x="1399" y="1362"/>
                  </a:lnTo>
                  <a:lnTo>
                    <a:pt x="1391" y="1364"/>
                  </a:lnTo>
                  <a:lnTo>
                    <a:pt x="1388" y="1364"/>
                  </a:lnTo>
                  <a:lnTo>
                    <a:pt x="1386" y="1365"/>
                  </a:lnTo>
                  <a:lnTo>
                    <a:pt x="1380" y="1365"/>
                  </a:lnTo>
                  <a:lnTo>
                    <a:pt x="1376" y="1367"/>
                  </a:lnTo>
                  <a:lnTo>
                    <a:pt x="1374" y="1367"/>
                  </a:lnTo>
                  <a:lnTo>
                    <a:pt x="1372" y="1369"/>
                  </a:lnTo>
                  <a:lnTo>
                    <a:pt x="1365" y="1373"/>
                  </a:lnTo>
                  <a:lnTo>
                    <a:pt x="1363" y="1375"/>
                  </a:lnTo>
                  <a:lnTo>
                    <a:pt x="1361" y="1375"/>
                  </a:lnTo>
                  <a:lnTo>
                    <a:pt x="1357" y="1379"/>
                  </a:lnTo>
                  <a:lnTo>
                    <a:pt x="1355" y="1379"/>
                  </a:lnTo>
                  <a:lnTo>
                    <a:pt x="1355" y="1381"/>
                  </a:lnTo>
                  <a:lnTo>
                    <a:pt x="1355" y="1379"/>
                  </a:lnTo>
                  <a:lnTo>
                    <a:pt x="1353" y="1381"/>
                  </a:lnTo>
                  <a:lnTo>
                    <a:pt x="1355" y="1381"/>
                  </a:lnTo>
                  <a:lnTo>
                    <a:pt x="1353" y="1381"/>
                  </a:lnTo>
                  <a:lnTo>
                    <a:pt x="1355" y="1383"/>
                  </a:lnTo>
                  <a:lnTo>
                    <a:pt x="1353" y="1383"/>
                  </a:lnTo>
                  <a:lnTo>
                    <a:pt x="1351" y="1383"/>
                  </a:lnTo>
                  <a:lnTo>
                    <a:pt x="1349" y="1383"/>
                  </a:lnTo>
                  <a:lnTo>
                    <a:pt x="1349" y="1381"/>
                  </a:lnTo>
                  <a:lnTo>
                    <a:pt x="1347" y="1379"/>
                  </a:lnTo>
                  <a:lnTo>
                    <a:pt x="1347" y="1377"/>
                  </a:lnTo>
                  <a:lnTo>
                    <a:pt x="1345" y="1377"/>
                  </a:lnTo>
                  <a:lnTo>
                    <a:pt x="1343" y="1377"/>
                  </a:lnTo>
                  <a:lnTo>
                    <a:pt x="1343" y="1379"/>
                  </a:lnTo>
                  <a:lnTo>
                    <a:pt x="1345" y="1381"/>
                  </a:lnTo>
                  <a:lnTo>
                    <a:pt x="1343" y="1381"/>
                  </a:lnTo>
                  <a:lnTo>
                    <a:pt x="1342" y="1381"/>
                  </a:lnTo>
                  <a:lnTo>
                    <a:pt x="1342" y="1379"/>
                  </a:lnTo>
                  <a:lnTo>
                    <a:pt x="1340" y="1379"/>
                  </a:lnTo>
                  <a:lnTo>
                    <a:pt x="1338" y="1379"/>
                  </a:lnTo>
                  <a:lnTo>
                    <a:pt x="1338" y="1381"/>
                  </a:lnTo>
                  <a:lnTo>
                    <a:pt x="1338" y="1383"/>
                  </a:lnTo>
                  <a:lnTo>
                    <a:pt x="1336" y="1383"/>
                  </a:lnTo>
                  <a:lnTo>
                    <a:pt x="1334" y="1383"/>
                  </a:lnTo>
                  <a:lnTo>
                    <a:pt x="1334" y="1385"/>
                  </a:lnTo>
                  <a:lnTo>
                    <a:pt x="1332" y="1385"/>
                  </a:lnTo>
                  <a:lnTo>
                    <a:pt x="1330" y="1387"/>
                  </a:lnTo>
                  <a:lnTo>
                    <a:pt x="1328" y="1388"/>
                  </a:lnTo>
                  <a:lnTo>
                    <a:pt x="1326" y="1388"/>
                  </a:lnTo>
                  <a:lnTo>
                    <a:pt x="1326" y="1390"/>
                  </a:lnTo>
                  <a:lnTo>
                    <a:pt x="1324" y="1390"/>
                  </a:lnTo>
                  <a:lnTo>
                    <a:pt x="1322" y="1392"/>
                  </a:lnTo>
                  <a:lnTo>
                    <a:pt x="1317" y="1394"/>
                  </a:lnTo>
                  <a:lnTo>
                    <a:pt x="1315" y="1392"/>
                  </a:lnTo>
                  <a:lnTo>
                    <a:pt x="1313" y="1392"/>
                  </a:lnTo>
                  <a:lnTo>
                    <a:pt x="1313" y="1394"/>
                  </a:lnTo>
                  <a:lnTo>
                    <a:pt x="1311" y="1394"/>
                  </a:lnTo>
                  <a:lnTo>
                    <a:pt x="1311" y="1396"/>
                  </a:lnTo>
                  <a:lnTo>
                    <a:pt x="1309" y="1398"/>
                  </a:lnTo>
                  <a:lnTo>
                    <a:pt x="1305" y="1398"/>
                  </a:lnTo>
                  <a:lnTo>
                    <a:pt x="1305" y="1400"/>
                  </a:lnTo>
                  <a:lnTo>
                    <a:pt x="1303" y="1400"/>
                  </a:lnTo>
                  <a:lnTo>
                    <a:pt x="1301" y="1400"/>
                  </a:lnTo>
                  <a:lnTo>
                    <a:pt x="1301" y="1402"/>
                  </a:lnTo>
                  <a:lnTo>
                    <a:pt x="1301" y="1404"/>
                  </a:lnTo>
                  <a:lnTo>
                    <a:pt x="1301" y="1406"/>
                  </a:lnTo>
                  <a:lnTo>
                    <a:pt x="1301" y="1408"/>
                  </a:lnTo>
                  <a:lnTo>
                    <a:pt x="1299" y="1408"/>
                  </a:lnTo>
                  <a:lnTo>
                    <a:pt x="1297" y="1410"/>
                  </a:lnTo>
                  <a:lnTo>
                    <a:pt x="1294" y="1412"/>
                  </a:lnTo>
                  <a:lnTo>
                    <a:pt x="1292" y="1412"/>
                  </a:lnTo>
                  <a:lnTo>
                    <a:pt x="1290" y="1412"/>
                  </a:lnTo>
                  <a:lnTo>
                    <a:pt x="1288" y="1413"/>
                  </a:lnTo>
                  <a:lnTo>
                    <a:pt x="1286" y="1413"/>
                  </a:lnTo>
                  <a:lnTo>
                    <a:pt x="1284" y="1415"/>
                  </a:lnTo>
                  <a:lnTo>
                    <a:pt x="1282" y="1415"/>
                  </a:lnTo>
                  <a:lnTo>
                    <a:pt x="1280" y="1415"/>
                  </a:lnTo>
                  <a:lnTo>
                    <a:pt x="1278" y="1415"/>
                  </a:lnTo>
                  <a:lnTo>
                    <a:pt x="1276" y="1417"/>
                  </a:lnTo>
                  <a:lnTo>
                    <a:pt x="1276" y="1419"/>
                  </a:lnTo>
                  <a:lnTo>
                    <a:pt x="1272" y="1417"/>
                  </a:lnTo>
                  <a:lnTo>
                    <a:pt x="1270" y="1417"/>
                  </a:lnTo>
                  <a:lnTo>
                    <a:pt x="1269" y="1415"/>
                  </a:lnTo>
                  <a:lnTo>
                    <a:pt x="1267" y="1415"/>
                  </a:lnTo>
                  <a:lnTo>
                    <a:pt x="1265" y="1413"/>
                  </a:lnTo>
                  <a:lnTo>
                    <a:pt x="1263" y="1412"/>
                  </a:lnTo>
                  <a:lnTo>
                    <a:pt x="1263" y="1410"/>
                  </a:lnTo>
                  <a:lnTo>
                    <a:pt x="1261" y="1408"/>
                  </a:lnTo>
                  <a:lnTo>
                    <a:pt x="1261" y="1406"/>
                  </a:lnTo>
                  <a:lnTo>
                    <a:pt x="1259" y="1404"/>
                  </a:lnTo>
                  <a:lnTo>
                    <a:pt x="1259" y="1402"/>
                  </a:lnTo>
                  <a:lnTo>
                    <a:pt x="1257" y="1402"/>
                  </a:lnTo>
                  <a:lnTo>
                    <a:pt x="1255" y="1402"/>
                  </a:lnTo>
                  <a:lnTo>
                    <a:pt x="1253" y="1402"/>
                  </a:lnTo>
                  <a:lnTo>
                    <a:pt x="1253" y="1404"/>
                  </a:lnTo>
                  <a:lnTo>
                    <a:pt x="1251" y="1404"/>
                  </a:lnTo>
                  <a:lnTo>
                    <a:pt x="1251" y="1406"/>
                  </a:lnTo>
                  <a:lnTo>
                    <a:pt x="1249" y="1406"/>
                  </a:lnTo>
                  <a:lnTo>
                    <a:pt x="1247" y="1406"/>
                  </a:lnTo>
                  <a:lnTo>
                    <a:pt x="1246" y="1406"/>
                  </a:lnTo>
                  <a:lnTo>
                    <a:pt x="1244" y="1408"/>
                  </a:lnTo>
                  <a:lnTo>
                    <a:pt x="1242" y="1408"/>
                  </a:lnTo>
                  <a:lnTo>
                    <a:pt x="1244" y="1408"/>
                  </a:lnTo>
                  <a:lnTo>
                    <a:pt x="1242" y="1410"/>
                  </a:lnTo>
                  <a:lnTo>
                    <a:pt x="1240" y="1408"/>
                  </a:lnTo>
                  <a:lnTo>
                    <a:pt x="1240" y="1406"/>
                  </a:lnTo>
                  <a:lnTo>
                    <a:pt x="1238" y="1406"/>
                  </a:lnTo>
                  <a:lnTo>
                    <a:pt x="1240" y="1406"/>
                  </a:lnTo>
                  <a:lnTo>
                    <a:pt x="1240" y="1404"/>
                  </a:lnTo>
                  <a:lnTo>
                    <a:pt x="1238" y="1404"/>
                  </a:lnTo>
                  <a:lnTo>
                    <a:pt x="1240" y="1404"/>
                  </a:lnTo>
                  <a:lnTo>
                    <a:pt x="1238" y="1404"/>
                  </a:lnTo>
                  <a:lnTo>
                    <a:pt x="1238" y="1402"/>
                  </a:lnTo>
                  <a:lnTo>
                    <a:pt x="1238" y="1400"/>
                  </a:lnTo>
                  <a:lnTo>
                    <a:pt x="1236" y="1400"/>
                  </a:lnTo>
                  <a:lnTo>
                    <a:pt x="1234" y="1400"/>
                  </a:lnTo>
                  <a:lnTo>
                    <a:pt x="1234" y="1398"/>
                  </a:lnTo>
                  <a:lnTo>
                    <a:pt x="1232" y="1398"/>
                  </a:lnTo>
                  <a:lnTo>
                    <a:pt x="1230" y="1398"/>
                  </a:lnTo>
                  <a:lnTo>
                    <a:pt x="1226" y="1394"/>
                  </a:lnTo>
                  <a:lnTo>
                    <a:pt x="1226" y="1392"/>
                  </a:lnTo>
                  <a:lnTo>
                    <a:pt x="1224" y="1392"/>
                  </a:lnTo>
                  <a:lnTo>
                    <a:pt x="1223" y="1394"/>
                  </a:lnTo>
                  <a:lnTo>
                    <a:pt x="1223" y="1392"/>
                  </a:lnTo>
                  <a:lnTo>
                    <a:pt x="1221" y="1392"/>
                  </a:lnTo>
                  <a:lnTo>
                    <a:pt x="1219" y="1392"/>
                  </a:lnTo>
                  <a:lnTo>
                    <a:pt x="1217" y="1392"/>
                  </a:lnTo>
                  <a:lnTo>
                    <a:pt x="1217" y="1394"/>
                  </a:lnTo>
                  <a:lnTo>
                    <a:pt x="1215" y="1394"/>
                  </a:lnTo>
                  <a:lnTo>
                    <a:pt x="1215" y="1392"/>
                  </a:lnTo>
                  <a:lnTo>
                    <a:pt x="1213" y="1392"/>
                  </a:lnTo>
                  <a:lnTo>
                    <a:pt x="1213" y="1390"/>
                  </a:lnTo>
                  <a:lnTo>
                    <a:pt x="1211" y="1392"/>
                  </a:lnTo>
                  <a:lnTo>
                    <a:pt x="1211" y="1390"/>
                  </a:lnTo>
                  <a:lnTo>
                    <a:pt x="1209" y="1388"/>
                  </a:lnTo>
                  <a:lnTo>
                    <a:pt x="1209" y="1387"/>
                  </a:lnTo>
                  <a:lnTo>
                    <a:pt x="1207" y="1387"/>
                  </a:lnTo>
                  <a:lnTo>
                    <a:pt x="1207" y="1388"/>
                  </a:lnTo>
                  <a:lnTo>
                    <a:pt x="1205" y="1390"/>
                  </a:lnTo>
                  <a:lnTo>
                    <a:pt x="1205" y="1394"/>
                  </a:lnTo>
                  <a:lnTo>
                    <a:pt x="1203" y="1396"/>
                  </a:lnTo>
                  <a:lnTo>
                    <a:pt x="1203" y="1398"/>
                  </a:lnTo>
                  <a:lnTo>
                    <a:pt x="1203" y="1400"/>
                  </a:lnTo>
                  <a:lnTo>
                    <a:pt x="1203" y="1402"/>
                  </a:lnTo>
                  <a:lnTo>
                    <a:pt x="1203" y="1404"/>
                  </a:lnTo>
                  <a:lnTo>
                    <a:pt x="1205" y="1404"/>
                  </a:lnTo>
                  <a:lnTo>
                    <a:pt x="1207" y="1406"/>
                  </a:lnTo>
                  <a:lnTo>
                    <a:pt x="1209" y="1408"/>
                  </a:lnTo>
                  <a:lnTo>
                    <a:pt x="1211" y="1410"/>
                  </a:lnTo>
                  <a:lnTo>
                    <a:pt x="1213" y="1412"/>
                  </a:lnTo>
                  <a:lnTo>
                    <a:pt x="1213" y="1413"/>
                  </a:lnTo>
                  <a:lnTo>
                    <a:pt x="1215" y="1413"/>
                  </a:lnTo>
                  <a:lnTo>
                    <a:pt x="1217" y="1415"/>
                  </a:lnTo>
                  <a:lnTo>
                    <a:pt x="1219" y="1415"/>
                  </a:lnTo>
                  <a:lnTo>
                    <a:pt x="1221" y="1415"/>
                  </a:lnTo>
                  <a:lnTo>
                    <a:pt x="1221" y="1417"/>
                  </a:lnTo>
                  <a:lnTo>
                    <a:pt x="1219" y="1421"/>
                  </a:lnTo>
                  <a:lnTo>
                    <a:pt x="1217" y="1423"/>
                  </a:lnTo>
                  <a:lnTo>
                    <a:pt x="1217" y="1425"/>
                  </a:lnTo>
                  <a:lnTo>
                    <a:pt x="1215" y="1427"/>
                  </a:lnTo>
                  <a:lnTo>
                    <a:pt x="1215" y="1429"/>
                  </a:lnTo>
                  <a:lnTo>
                    <a:pt x="1215" y="1431"/>
                  </a:lnTo>
                  <a:lnTo>
                    <a:pt x="1215" y="1433"/>
                  </a:lnTo>
                  <a:lnTo>
                    <a:pt x="1217" y="1435"/>
                  </a:lnTo>
                  <a:lnTo>
                    <a:pt x="1217" y="1437"/>
                  </a:lnTo>
                  <a:lnTo>
                    <a:pt x="1219" y="1437"/>
                  </a:lnTo>
                  <a:lnTo>
                    <a:pt x="1219" y="1438"/>
                  </a:lnTo>
                  <a:lnTo>
                    <a:pt x="1219" y="1440"/>
                  </a:lnTo>
                  <a:lnTo>
                    <a:pt x="1217" y="1440"/>
                  </a:lnTo>
                  <a:lnTo>
                    <a:pt x="1215" y="1440"/>
                  </a:lnTo>
                  <a:lnTo>
                    <a:pt x="1215" y="1442"/>
                  </a:lnTo>
                  <a:lnTo>
                    <a:pt x="1217" y="1448"/>
                  </a:lnTo>
                  <a:lnTo>
                    <a:pt x="1217" y="1450"/>
                  </a:lnTo>
                  <a:lnTo>
                    <a:pt x="1217" y="1452"/>
                  </a:lnTo>
                  <a:lnTo>
                    <a:pt x="1219" y="1452"/>
                  </a:lnTo>
                  <a:lnTo>
                    <a:pt x="1213" y="1452"/>
                  </a:lnTo>
                  <a:lnTo>
                    <a:pt x="1211" y="1450"/>
                  </a:lnTo>
                  <a:lnTo>
                    <a:pt x="1207" y="1448"/>
                  </a:lnTo>
                  <a:lnTo>
                    <a:pt x="1205" y="1448"/>
                  </a:lnTo>
                  <a:lnTo>
                    <a:pt x="1205" y="1446"/>
                  </a:lnTo>
                  <a:lnTo>
                    <a:pt x="1205" y="1444"/>
                  </a:lnTo>
                  <a:lnTo>
                    <a:pt x="1203" y="1444"/>
                  </a:lnTo>
                  <a:lnTo>
                    <a:pt x="1201" y="1442"/>
                  </a:lnTo>
                  <a:lnTo>
                    <a:pt x="1199" y="1442"/>
                  </a:lnTo>
                  <a:lnTo>
                    <a:pt x="1198" y="1442"/>
                  </a:lnTo>
                  <a:lnTo>
                    <a:pt x="1196" y="1440"/>
                  </a:lnTo>
                  <a:lnTo>
                    <a:pt x="1194" y="1440"/>
                  </a:lnTo>
                  <a:lnTo>
                    <a:pt x="1192" y="1440"/>
                  </a:lnTo>
                  <a:lnTo>
                    <a:pt x="1188" y="1440"/>
                  </a:lnTo>
                  <a:lnTo>
                    <a:pt x="1186" y="1442"/>
                  </a:lnTo>
                  <a:lnTo>
                    <a:pt x="1184" y="1442"/>
                  </a:lnTo>
                  <a:lnTo>
                    <a:pt x="1180" y="1440"/>
                  </a:lnTo>
                  <a:lnTo>
                    <a:pt x="1180" y="1438"/>
                  </a:lnTo>
                  <a:lnTo>
                    <a:pt x="1180" y="1437"/>
                  </a:lnTo>
                  <a:lnTo>
                    <a:pt x="1180" y="1435"/>
                  </a:lnTo>
                  <a:lnTo>
                    <a:pt x="1180" y="1431"/>
                  </a:lnTo>
                  <a:lnTo>
                    <a:pt x="1180" y="1429"/>
                  </a:lnTo>
                  <a:lnTo>
                    <a:pt x="1178" y="1425"/>
                  </a:lnTo>
                  <a:lnTo>
                    <a:pt x="1178" y="1423"/>
                  </a:lnTo>
                  <a:lnTo>
                    <a:pt x="1176" y="1423"/>
                  </a:lnTo>
                  <a:lnTo>
                    <a:pt x="1175" y="1421"/>
                  </a:lnTo>
                  <a:lnTo>
                    <a:pt x="1171" y="1419"/>
                  </a:lnTo>
                  <a:lnTo>
                    <a:pt x="1169" y="1419"/>
                  </a:lnTo>
                  <a:lnTo>
                    <a:pt x="1167" y="1417"/>
                  </a:lnTo>
                  <a:lnTo>
                    <a:pt x="1165" y="1417"/>
                  </a:lnTo>
                  <a:lnTo>
                    <a:pt x="1163" y="1417"/>
                  </a:lnTo>
                  <a:lnTo>
                    <a:pt x="1161" y="1417"/>
                  </a:lnTo>
                  <a:lnTo>
                    <a:pt x="1159" y="1417"/>
                  </a:lnTo>
                  <a:lnTo>
                    <a:pt x="1155" y="1415"/>
                  </a:lnTo>
                  <a:lnTo>
                    <a:pt x="1153" y="1415"/>
                  </a:lnTo>
                  <a:lnTo>
                    <a:pt x="1150" y="1415"/>
                  </a:lnTo>
                  <a:lnTo>
                    <a:pt x="1148" y="1415"/>
                  </a:lnTo>
                  <a:lnTo>
                    <a:pt x="1144" y="1415"/>
                  </a:lnTo>
                  <a:lnTo>
                    <a:pt x="1142" y="1415"/>
                  </a:lnTo>
                  <a:lnTo>
                    <a:pt x="1140" y="1415"/>
                  </a:lnTo>
                  <a:lnTo>
                    <a:pt x="1138" y="1417"/>
                  </a:lnTo>
                  <a:lnTo>
                    <a:pt x="1136" y="1417"/>
                  </a:lnTo>
                  <a:lnTo>
                    <a:pt x="1134" y="1417"/>
                  </a:lnTo>
                  <a:lnTo>
                    <a:pt x="1132" y="1417"/>
                  </a:lnTo>
                  <a:lnTo>
                    <a:pt x="1130" y="1415"/>
                  </a:lnTo>
                  <a:lnTo>
                    <a:pt x="1130" y="1413"/>
                  </a:lnTo>
                  <a:lnTo>
                    <a:pt x="1130" y="1412"/>
                  </a:lnTo>
                  <a:lnTo>
                    <a:pt x="1128" y="1408"/>
                  </a:lnTo>
                  <a:lnTo>
                    <a:pt x="1128" y="1402"/>
                  </a:lnTo>
                  <a:lnTo>
                    <a:pt x="1128" y="1400"/>
                  </a:lnTo>
                  <a:lnTo>
                    <a:pt x="1128" y="1396"/>
                  </a:lnTo>
                  <a:lnTo>
                    <a:pt x="1127" y="1396"/>
                  </a:lnTo>
                  <a:lnTo>
                    <a:pt x="1127" y="1394"/>
                  </a:lnTo>
                  <a:lnTo>
                    <a:pt x="1127" y="1392"/>
                  </a:lnTo>
                  <a:lnTo>
                    <a:pt x="1127" y="1390"/>
                  </a:lnTo>
                  <a:lnTo>
                    <a:pt x="1127" y="1392"/>
                  </a:lnTo>
                  <a:lnTo>
                    <a:pt x="1127" y="1390"/>
                  </a:lnTo>
                  <a:lnTo>
                    <a:pt x="1125" y="1390"/>
                  </a:lnTo>
                  <a:lnTo>
                    <a:pt x="1123" y="1390"/>
                  </a:lnTo>
                  <a:lnTo>
                    <a:pt x="1123" y="1388"/>
                  </a:lnTo>
                  <a:lnTo>
                    <a:pt x="1121" y="1388"/>
                  </a:lnTo>
                  <a:lnTo>
                    <a:pt x="1119" y="1387"/>
                  </a:lnTo>
                  <a:lnTo>
                    <a:pt x="1117" y="1387"/>
                  </a:lnTo>
                  <a:lnTo>
                    <a:pt x="1117" y="1385"/>
                  </a:lnTo>
                  <a:lnTo>
                    <a:pt x="1115" y="1385"/>
                  </a:lnTo>
                  <a:lnTo>
                    <a:pt x="1113" y="1385"/>
                  </a:lnTo>
                  <a:lnTo>
                    <a:pt x="1113" y="1383"/>
                  </a:lnTo>
                  <a:lnTo>
                    <a:pt x="1111" y="1383"/>
                  </a:lnTo>
                  <a:lnTo>
                    <a:pt x="1111" y="1381"/>
                  </a:lnTo>
                  <a:lnTo>
                    <a:pt x="1109" y="1381"/>
                  </a:lnTo>
                  <a:lnTo>
                    <a:pt x="1107" y="1381"/>
                  </a:lnTo>
                  <a:lnTo>
                    <a:pt x="1105" y="1381"/>
                  </a:lnTo>
                  <a:lnTo>
                    <a:pt x="1104" y="1381"/>
                  </a:lnTo>
                  <a:lnTo>
                    <a:pt x="1102" y="1381"/>
                  </a:lnTo>
                  <a:lnTo>
                    <a:pt x="1102" y="1383"/>
                  </a:lnTo>
                  <a:lnTo>
                    <a:pt x="1100" y="1385"/>
                  </a:lnTo>
                  <a:lnTo>
                    <a:pt x="1098" y="1387"/>
                  </a:lnTo>
                  <a:lnTo>
                    <a:pt x="1096" y="1388"/>
                  </a:lnTo>
                  <a:lnTo>
                    <a:pt x="1094" y="1388"/>
                  </a:lnTo>
                  <a:lnTo>
                    <a:pt x="1092" y="1388"/>
                  </a:lnTo>
                  <a:lnTo>
                    <a:pt x="1086" y="1388"/>
                  </a:lnTo>
                  <a:lnTo>
                    <a:pt x="1082" y="1387"/>
                  </a:lnTo>
                  <a:lnTo>
                    <a:pt x="1080" y="1387"/>
                  </a:lnTo>
                  <a:lnTo>
                    <a:pt x="1079" y="1387"/>
                  </a:lnTo>
                  <a:lnTo>
                    <a:pt x="1077" y="1387"/>
                  </a:lnTo>
                  <a:lnTo>
                    <a:pt x="1075" y="1387"/>
                  </a:lnTo>
                  <a:lnTo>
                    <a:pt x="1073" y="1387"/>
                  </a:lnTo>
                  <a:lnTo>
                    <a:pt x="1071" y="1385"/>
                  </a:lnTo>
                  <a:lnTo>
                    <a:pt x="1067" y="1387"/>
                  </a:lnTo>
                  <a:lnTo>
                    <a:pt x="1065" y="1387"/>
                  </a:lnTo>
                  <a:lnTo>
                    <a:pt x="1063" y="1387"/>
                  </a:lnTo>
                  <a:lnTo>
                    <a:pt x="1061" y="1387"/>
                  </a:lnTo>
                  <a:lnTo>
                    <a:pt x="1059" y="1387"/>
                  </a:lnTo>
                  <a:lnTo>
                    <a:pt x="1057" y="1388"/>
                  </a:lnTo>
                  <a:lnTo>
                    <a:pt x="1056" y="1388"/>
                  </a:lnTo>
                  <a:lnTo>
                    <a:pt x="1054" y="1388"/>
                  </a:lnTo>
                  <a:lnTo>
                    <a:pt x="1052" y="1387"/>
                  </a:lnTo>
                  <a:lnTo>
                    <a:pt x="1048" y="1385"/>
                  </a:lnTo>
                  <a:lnTo>
                    <a:pt x="1044" y="1381"/>
                  </a:lnTo>
                  <a:lnTo>
                    <a:pt x="1040" y="1379"/>
                  </a:lnTo>
                  <a:lnTo>
                    <a:pt x="1036" y="1375"/>
                  </a:lnTo>
                  <a:lnTo>
                    <a:pt x="1033" y="1371"/>
                  </a:lnTo>
                  <a:lnTo>
                    <a:pt x="1031" y="1369"/>
                  </a:lnTo>
                  <a:lnTo>
                    <a:pt x="1029" y="1365"/>
                  </a:lnTo>
                  <a:lnTo>
                    <a:pt x="1029" y="1364"/>
                  </a:lnTo>
                  <a:lnTo>
                    <a:pt x="1027" y="1362"/>
                  </a:lnTo>
                  <a:lnTo>
                    <a:pt x="1031" y="1360"/>
                  </a:lnTo>
                  <a:lnTo>
                    <a:pt x="1036" y="1360"/>
                  </a:lnTo>
                  <a:lnTo>
                    <a:pt x="1034" y="1358"/>
                  </a:lnTo>
                  <a:lnTo>
                    <a:pt x="1034" y="1356"/>
                  </a:lnTo>
                  <a:lnTo>
                    <a:pt x="1036" y="1354"/>
                  </a:lnTo>
                  <a:lnTo>
                    <a:pt x="1033" y="1352"/>
                  </a:lnTo>
                  <a:lnTo>
                    <a:pt x="1031" y="1352"/>
                  </a:lnTo>
                  <a:lnTo>
                    <a:pt x="1031" y="1350"/>
                  </a:lnTo>
                  <a:lnTo>
                    <a:pt x="1029" y="1350"/>
                  </a:lnTo>
                  <a:lnTo>
                    <a:pt x="1023" y="1344"/>
                  </a:lnTo>
                  <a:lnTo>
                    <a:pt x="1019" y="1340"/>
                  </a:lnTo>
                  <a:lnTo>
                    <a:pt x="1017" y="1339"/>
                  </a:lnTo>
                  <a:lnTo>
                    <a:pt x="1015" y="1339"/>
                  </a:lnTo>
                  <a:lnTo>
                    <a:pt x="1015" y="1340"/>
                  </a:lnTo>
                  <a:lnTo>
                    <a:pt x="1013" y="1342"/>
                  </a:lnTo>
                  <a:lnTo>
                    <a:pt x="1011" y="1339"/>
                  </a:lnTo>
                  <a:lnTo>
                    <a:pt x="1009" y="1335"/>
                  </a:lnTo>
                  <a:lnTo>
                    <a:pt x="1008" y="1335"/>
                  </a:lnTo>
                  <a:lnTo>
                    <a:pt x="1008" y="1333"/>
                  </a:lnTo>
                  <a:lnTo>
                    <a:pt x="1006" y="1333"/>
                  </a:lnTo>
                  <a:lnTo>
                    <a:pt x="1004" y="1333"/>
                  </a:lnTo>
                  <a:lnTo>
                    <a:pt x="1000" y="1335"/>
                  </a:lnTo>
                  <a:lnTo>
                    <a:pt x="992" y="1337"/>
                  </a:lnTo>
                  <a:lnTo>
                    <a:pt x="990" y="1337"/>
                  </a:lnTo>
                  <a:lnTo>
                    <a:pt x="988" y="1339"/>
                  </a:lnTo>
                  <a:lnTo>
                    <a:pt x="985" y="1339"/>
                  </a:lnTo>
                  <a:lnTo>
                    <a:pt x="983" y="1340"/>
                  </a:lnTo>
                  <a:lnTo>
                    <a:pt x="981" y="1340"/>
                  </a:lnTo>
                  <a:lnTo>
                    <a:pt x="979" y="1340"/>
                  </a:lnTo>
                  <a:lnTo>
                    <a:pt x="975" y="1337"/>
                  </a:lnTo>
                  <a:lnTo>
                    <a:pt x="973" y="1337"/>
                  </a:lnTo>
                  <a:lnTo>
                    <a:pt x="971" y="1340"/>
                  </a:lnTo>
                  <a:lnTo>
                    <a:pt x="967" y="1339"/>
                  </a:lnTo>
                  <a:lnTo>
                    <a:pt x="967" y="1340"/>
                  </a:lnTo>
                  <a:lnTo>
                    <a:pt x="965" y="1344"/>
                  </a:lnTo>
                  <a:lnTo>
                    <a:pt x="960" y="1348"/>
                  </a:lnTo>
                  <a:lnTo>
                    <a:pt x="961" y="1348"/>
                  </a:lnTo>
                  <a:lnTo>
                    <a:pt x="961" y="1350"/>
                  </a:lnTo>
                  <a:lnTo>
                    <a:pt x="963" y="1350"/>
                  </a:lnTo>
                  <a:lnTo>
                    <a:pt x="963" y="1348"/>
                  </a:lnTo>
                  <a:lnTo>
                    <a:pt x="965" y="1348"/>
                  </a:lnTo>
                  <a:lnTo>
                    <a:pt x="967" y="1348"/>
                  </a:lnTo>
                  <a:lnTo>
                    <a:pt x="969" y="1348"/>
                  </a:lnTo>
                  <a:lnTo>
                    <a:pt x="971" y="1348"/>
                  </a:lnTo>
                  <a:lnTo>
                    <a:pt x="973" y="1350"/>
                  </a:lnTo>
                  <a:lnTo>
                    <a:pt x="975" y="1350"/>
                  </a:lnTo>
                  <a:lnTo>
                    <a:pt x="975" y="1352"/>
                  </a:lnTo>
                  <a:lnTo>
                    <a:pt x="977" y="1352"/>
                  </a:lnTo>
                  <a:lnTo>
                    <a:pt x="979" y="1352"/>
                  </a:lnTo>
                  <a:lnTo>
                    <a:pt x="981" y="1354"/>
                  </a:lnTo>
                  <a:lnTo>
                    <a:pt x="983" y="1356"/>
                  </a:lnTo>
                  <a:lnTo>
                    <a:pt x="985" y="1356"/>
                  </a:lnTo>
                  <a:lnTo>
                    <a:pt x="985" y="1358"/>
                  </a:lnTo>
                  <a:lnTo>
                    <a:pt x="986" y="1358"/>
                  </a:lnTo>
                  <a:lnTo>
                    <a:pt x="988" y="1358"/>
                  </a:lnTo>
                  <a:lnTo>
                    <a:pt x="988" y="1360"/>
                  </a:lnTo>
                  <a:lnTo>
                    <a:pt x="988" y="1358"/>
                  </a:lnTo>
                  <a:lnTo>
                    <a:pt x="988" y="1360"/>
                  </a:lnTo>
                  <a:lnTo>
                    <a:pt x="988" y="1362"/>
                  </a:lnTo>
                  <a:lnTo>
                    <a:pt x="990" y="1364"/>
                  </a:lnTo>
                  <a:lnTo>
                    <a:pt x="990" y="1365"/>
                  </a:lnTo>
                  <a:lnTo>
                    <a:pt x="990" y="1367"/>
                  </a:lnTo>
                  <a:lnTo>
                    <a:pt x="992" y="1369"/>
                  </a:lnTo>
                  <a:lnTo>
                    <a:pt x="992" y="1371"/>
                  </a:lnTo>
                  <a:lnTo>
                    <a:pt x="992" y="1373"/>
                  </a:lnTo>
                  <a:lnTo>
                    <a:pt x="994" y="1373"/>
                  </a:lnTo>
                  <a:lnTo>
                    <a:pt x="992" y="1375"/>
                  </a:lnTo>
                  <a:lnTo>
                    <a:pt x="994" y="1375"/>
                  </a:lnTo>
                  <a:lnTo>
                    <a:pt x="994" y="1377"/>
                  </a:lnTo>
                  <a:lnTo>
                    <a:pt x="994" y="1379"/>
                  </a:lnTo>
                  <a:lnTo>
                    <a:pt x="994" y="1381"/>
                  </a:lnTo>
                  <a:lnTo>
                    <a:pt x="994" y="1383"/>
                  </a:lnTo>
                  <a:lnTo>
                    <a:pt x="996" y="1383"/>
                  </a:lnTo>
                  <a:lnTo>
                    <a:pt x="996" y="1385"/>
                  </a:lnTo>
                  <a:lnTo>
                    <a:pt x="998" y="1385"/>
                  </a:lnTo>
                  <a:lnTo>
                    <a:pt x="998" y="1387"/>
                  </a:lnTo>
                  <a:lnTo>
                    <a:pt x="1000" y="1387"/>
                  </a:lnTo>
                  <a:lnTo>
                    <a:pt x="1002" y="1387"/>
                  </a:lnTo>
                  <a:lnTo>
                    <a:pt x="1002" y="1388"/>
                  </a:lnTo>
                  <a:lnTo>
                    <a:pt x="1004" y="1388"/>
                  </a:lnTo>
                  <a:lnTo>
                    <a:pt x="1006" y="1390"/>
                  </a:lnTo>
                  <a:lnTo>
                    <a:pt x="1008" y="1390"/>
                  </a:lnTo>
                  <a:lnTo>
                    <a:pt x="1008" y="1392"/>
                  </a:lnTo>
                  <a:lnTo>
                    <a:pt x="1009" y="1392"/>
                  </a:lnTo>
                  <a:lnTo>
                    <a:pt x="1011" y="1392"/>
                  </a:lnTo>
                  <a:lnTo>
                    <a:pt x="1011" y="1394"/>
                  </a:lnTo>
                  <a:lnTo>
                    <a:pt x="1013" y="1394"/>
                  </a:lnTo>
                  <a:lnTo>
                    <a:pt x="1011" y="1396"/>
                  </a:lnTo>
                  <a:lnTo>
                    <a:pt x="1009" y="1398"/>
                  </a:lnTo>
                  <a:lnTo>
                    <a:pt x="1009" y="1400"/>
                  </a:lnTo>
                  <a:lnTo>
                    <a:pt x="1009" y="1402"/>
                  </a:lnTo>
                  <a:lnTo>
                    <a:pt x="1009" y="1406"/>
                  </a:lnTo>
                  <a:lnTo>
                    <a:pt x="1009" y="1408"/>
                  </a:lnTo>
                  <a:lnTo>
                    <a:pt x="1009" y="1410"/>
                  </a:lnTo>
                  <a:lnTo>
                    <a:pt x="1011" y="1423"/>
                  </a:lnTo>
                  <a:lnTo>
                    <a:pt x="1004" y="1419"/>
                  </a:lnTo>
                  <a:lnTo>
                    <a:pt x="1000" y="1419"/>
                  </a:lnTo>
                  <a:lnTo>
                    <a:pt x="994" y="1415"/>
                  </a:lnTo>
                  <a:lnTo>
                    <a:pt x="992" y="1415"/>
                  </a:lnTo>
                  <a:lnTo>
                    <a:pt x="985" y="1413"/>
                  </a:lnTo>
                  <a:lnTo>
                    <a:pt x="979" y="1412"/>
                  </a:lnTo>
                  <a:lnTo>
                    <a:pt x="973" y="1412"/>
                  </a:lnTo>
                  <a:lnTo>
                    <a:pt x="963" y="1412"/>
                  </a:lnTo>
                  <a:lnTo>
                    <a:pt x="961" y="1410"/>
                  </a:lnTo>
                  <a:lnTo>
                    <a:pt x="960" y="1410"/>
                  </a:lnTo>
                  <a:lnTo>
                    <a:pt x="956" y="1410"/>
                  </a:lnTo>
                  <a:lnTo>
                    <a:pt x="954" y="1408"/>
                  </a:lnTo>
                  <a:lnTo>
                    <a:pt x="952" y="1408"/>
                  </a:lnTo>
                  <a:lnTo>
                    <a:pt x="948" y="1406"/>
                  </a:lnTo>
                  <a:lnTo>
                    <a:pt x="944" y="1404"/>
                  </a:lnTo>
                  <a:lnTo>
                    <a:pt x="942" y="1400"/>
                  </a:lnTo>
                  <a:lnTo>
                    <a:pt x="940" y="1398"/>
                  </a:lnTo>
                  <a:lnTo>
                    <a:pt x="938" y="1398"/>
                  </a:lnTo>
                  <a:lnTo>
                    <a:pt x="938" y="1396"/>
                  </a:lnTo>
                  <a:lnTo>
                    <a:pt x="935" y="1392"/>
                  </a:lnTo>
                  <a:lnTo>
                    <a:pt x="931" y="1388"/>
                  </a:lnTo>
                  <a:lnTo>
                    <a:pt x="925" y="1385"/>
                  </a:lnTo>
                  <a:lnTo>
                    <a:pt x="923" y="1385"/>
                  </a:lnTo>
                  <a:lnTo>
                    <a:pt x="921" y="1388"/>
                  </a:lnTo>
                  <a:lnTo>
                    <a:pt x="921" y="1390"/>
                  </a:lnTo>
                  <a:lnTo>
                    <a:pt x="919" y="1390"/>
                  </a:lnTo>
                  <a:lnTo>
                    <a:pt x="919" y="1392"/>
                  </a:lnTo>
                  <a:lnTo>
                    <a:pt x="919" y="1394"/>
                  </a:lnTo>
                  <a:lnTo>
                    <a:pt x="917" y="1394"/>
                  </a:lnTo>
                  <a:lnTo>
                    <a:pt x="915" y="1394"/>
                  </a:lnTo>
                  <a:lnTo>
                    <a:pt x="914" y="1394"/>
                  </a:lnTo>
                  <a:lnTo>
                    <a:pt x="914" y="1396"/>
                  </a:lnTo>
                  <a:lnTo>
                    <a:pt x="912" y="1396"/>
                  </a:lnTo>
                  <a:lnTo>
                    <a:pt x="914" y="1396"/>
                  </a:lnTo>
                  <a:lnTo>
                    <a:pt x="915" y="1402"/>
                  </a:lnTo>
                  <a:lnTo>
                    <a:pt x="914" y="1402"/>
                  </a:lnTo>
                  <a:lnTo>
                    <a:pt x="914" y="1404"/>
                  </a:lnTo>
                  <a:lnTo>
                    <a:pt x="910" y="1404"/>
                  </a:lnTo>
                  <a:lnTo>
                    <a:pt x="908" y="1406"/>
                  </a:lnTo>
                  <a:lnTo>
                    <a:pt x="904" y="1408"/>
                  </a:lnTo>
                  <a:lnTo>
                    <a:pt x="900" y="1412"/>
                  </a:lnTo>
                  <a:lnTo>
                    <a:pt x="898" y="1412"/>
                  </a:lnTo>
                  <a:lnTo>
                    <a:pt x="898" y="1413"/>
                  </a:lnTo>
                  <a:lnTo>
                    <a:pt x="898" y="1415"/>
                  </a:lnTo>
                  <a:lnTo>
                    <a:pt x="896" y="1413"/>
                  </a:lnTo>
                  <a:lnTo>
                    <a:pt x="894" y="1415"/>
                  </a:lnTo>
                  <a:lnTo>
                    <a:pt x="894" y="1413"/>
                  </a:lnTo>
                  <a:lnTo>
                    <a:pt x="892" y="1412"/>
                  </a:lnTo>
                  <a:lnTo>
                    <a:pt x="889" y="1412"/>
                  </a:lnTo>
                  <a:lnTo>
                    <a:pt x="887" y="1413"/>
                  </a:lnTo>
                  <a:lnTo>
                    <a:pt x="885" y="1415"/>
                  </a:lnTo>
                  <a:lnTo>
                    <a:pt x="883" y="1415"/>
                  </a:lnTo>
                  <a:lnTo>
                    <a:pt x="881" y="1415"/>
                  </a:lnTo>
                  <a:lnTo>
                    <a:pt x="881" y="1417"/>
                  </a:lnTo>
                  <a:lnTo>
                    <a:pt x="881" y="1419"/>
                  </a:lnTo>
                  <a:lnTo>
                    <a:pt x="879" y="1421"/>
                  </a:lnTo>
                  <a:lnTo>
                    <a:pt x="877" y="1421"/>
                  </a:lnTo>
                  <a:lnTo>
                    <a:pt x="877" y="1423"/>
                  </a:lnTo>
                  <a:lnTo>
                    <a:pt x="875" y="1423"/>
                  </a:lnTo>
                  <a:lnTo>
                    <a:pt x="871" y="1425"/>
                  </a:lnTo>
                  <a:lnTo>
                    <a:pt x="869" y="1425"/>
                  </a:lnTo>
                  <a:lnTo>
                    <a:pt x="869" y="1427"/>
                  </a:lnTo>
                  <a:lnTo>
                    <a:pt x="867" y="1427"/>
                  </a:lnTo>
                  <a:lnTo>
                    <a:pt x="866" y="1427"/>
                  </a:lnTo>
                  <a:lnTo>
                    <a:pt x="864" y="1429"/>
                  </a:lnTo>
                  <a:lnTo>
                    <a:pt x="862" y="1429"/>
                  </a:lnTo>
                  <a:lnTo>
                    <a:pt x="860" y="1429"/>
                  </a:lnTo>
                  <a:lnTo>
                    <a:pt x="858" y="1429"/>
                  </a:lnTo>
                  <a:lnTo>
                    <a:pt x="854" y="1429"/>
                  </a:lnTo>
                  <a:lnTo>
                    <a:pt x="852" y="1427"/>
                  </a:lnTo>
                  <a:lnTo>
                    <a:pt x="850" y="1427"/>
                  </a:lnTo>
                  <a:lnTo>
                    <a:pt x="848" y="1427"/>
                  </a:lnTo>
                  <a:lnTo>
                    <a:pt x="846" y="1425"/>
                  </a:lnTo>
                  <a:lnTo>
                    <a:pt x="842" y="1425"/>
                  </a:lnTo>
                  <a:lnTo>
                    <a:pt x="841" y="1425"/>
                  </a:lnTo>
                  <a:lnTo>
                    <a:pt x="839" y="1423"/>
                  </a:lnTo>
                  <a:lnTo>
                    <a:pt x="837" y="1421"/>
                  </a:lnTo>
                  <a:lnTo>
                    <a:pt x="835" y="1419"/>
                  </a:lnTo>
                  <a:lnTo>
                    <a:pt x="821" y="1433"/>
                  </a:lnTo>
                  <a:lnTo>
                    <a:pt x="819" y="1435"/>
                  </a:lnTo>
                  <a:lnTo>
                    <a:pt x="818" y="1437"/>
                  </a:lnTo>
                  <a:lnTo>
                    <a:pt x="819" y="1437"/>
                  </a:lnTo>
                  <a:lnTo>
                    <a:pt x="818" y="1437"/>
                  </a:lnTo>
                  <a:lnTo>
                    <a:pt x="829" y="1446"/>
                  </a:lnTo>
                  <a:lnTo>
                    <a:pt x="827" y="1448"/>
                  </a:lnTo>
                  <a:lnTo>
                    <a:pt x="825" y="1448"/>
                  </a:lnTo>
                  <a:lnTo>
                    <a:pt x="823" y="1450"/>
                  </a:lnTo>
                  <a:lnTo>
                    <a:pt x="821" y="1448"/>
                  </a:lnTo>
                  <a:lnTo>
                    <a:pt x="819" y="1446"/>
                  </a:lnTo>
                  <a:lnTo>
                    <a:pt x="818" y="1448"/>
                  </a:lnTo>
                  <a:lnTo>
                    <a:pt x="818" y="1450"/>
                  </a:lnTo>
                  <a:lnTo>
                    <a:pt x="819" y="1450"/>
                  </a:lnTo>
                  <a:lnTo>
                    <a:pt x="818" y="1450"/>
                  </a:lnTo>
                  <a:lnTo>
                    <a:pt x="818" y="1452"/>
                  </a:lnTo>
                  <a:lnTo>
                    <a:pt x="819" y="1452"/>
                  </a:lnTo>
                  <a:lnTo>
                    <a:pt x="821" y="1452"/>
                  </a:lnTo>
                  <a:lnTo>
                    <a:pt x="821" y="1454"/>
                  </a:lnTo>
                  <a:lnTo>
                    <a:pt x="819" y="1454"/>
                  </a:lnTo>
                  <a:lnTo>
                    <a:pt x="821" y="1454"/>
                  </a:lnTo>
                  <a:lnTo>
                    <a:pt x="821" y="1456"/>
                  </a:lnTo>
                  <a:lnTo>
                    <a:pt x="825" y="1456"/>
                  </a:lnTo>
                  <a:lnTo>
                    <a:pt x="827" y="1456"/>
                  </a:lnTo>
                  <a:lnTo>
                    <a:pt x="827" y="1458"/>
                  </a:lnTo>
                  <a:lnTo>
                    <a:pt x="829" y="1458"/>
                  </a:lnTo>
                  <a:lnTo>
                    <a:pt x="829" y="1460"/>
                  </a:lnTo>
                  <a:lnTo>
                    <a:pt x="833" y="1461"/>
                  </a:lnTo>
                  <a:lnTo>
                    <a:pt x="835" y="1463"/>
                  </a:lnTo>
                  <a:lnTo>
                    <a:pt x="835" y="1465"/>
                  </a:lnTo>
                  <a:lnTo>
                    <a:pt x="837" y="1465"/>
                  </a:lnTo>
                  <a:lnTo>
                    <a:pt x="837" y="1467"/>
                  </a:lnTo>
                  <a:lnTo>
                    <a:pt x="839" y="1469"/>
                  </a:lnTo>
                  <a:lnTo>
                    <a:pt x="841" y="1471"/>
                  </a:lnTo>
                  <a:lnTo>
                    <a:pt x="842" y="1473"/>
                  </a:lnTo>
                  <a:lnTo>
                    <a:pt x="844" y="1473"/>
                  </a:lnTo>
                  <a:lnTo>
                    <a:pt x="844" y="1475"/>
                  </a:lnTo>
                  <a:lnTo>
                    <a:pt x="841" y="1477"/>
                  </a:lnTo>
                  <a:lnTo>
                    <a:pt x="841" y="1479"/>
                  </a:lnTo>
                  <a:lnTo>
                    <a:pt x="842" y="1479"/>
                  </a:lnTo>
                  <a:lnTo>
                    <a:pt x="841" y="1483"/>
                  </a:lnTo>
                  <a:lnTo>
                    <a:pt x="839" y="1486"/>
                  </a:lnTo>
                  <a:lnTo>
                    <a:pt x="841" y="1486"/>
                  </a:lnTo>
                  <a:lnTo>
                    <a:pt x="841" y="1490"/>
                  </a:lnTo>
                  <a:lnTo>
                    <a:pt x="841" y="1492"/>
                  </a:lnTo>
                  <a:lnTo>
                    <a:pt x="844" y="1490"/>
                  </a:lnTo>
                  <a:lnTo>
                    <a:pt x="846" y="1492"/>
                  </a:lnTo>
                  <a:lnTo>
                    <a:pt x="846" y="1494"/>
                  </a:lnTo>
                  <a:lnTo>
                    <a:pt x="848" y="1492"/>
                  </a:lnTo>
                  <a:lnTo>
                    <a:pt x="848" y="1494"/>
                  </a:lnTo>
                  <a:lnTo>
                    <a:pt x="852" y="1496"/>
                  </a:lnTo>
                  <a:lnTo>
                    <a:pt x="854" y="1494"/>
                  </a:lnTo>
                  <a:lnTo>
                    <a:pt x="854" y="1496"/>
                  </a:lnTo>
                  <a:lnTo>
                    <a:pt x="850" y="1500"/>
                  </a:lnTo>
                  <a:lnTo>
                    <a:pt x="848" y="1502"/>
                  </a:lnTo>
                  <a:lnTo>
                    <a:pt x="848" y="1506"/>
                  </a:lnTo>
                  <a:lnTo>
                    <a:pt x="846" y="1508"/>
                  </a:lnTo>
                  <a:lnTo>
                    <a:pt x="846" y="1509"/>
                  </a:lnTo>
                  <a:lnTo>
                    <a:pt x="848" y="1509"/>
                  </a:lnTo>
                  <a:lnTo>
                    <a:pt x="850" y="1511"/>
                  </a:lnTo>
                  <a:lnTo>
                    <a:pt x="852" y="1513"/>
                  </a:lnTo>
                  <a:lnTo>
                    <a:pt x="854" y="1515"/>
                  </a:lnTo>
                  <a:lnTo>
                    <a:pt x="854" y="1513"/>
                  </a:lnTo>
                  <a:lnTo>
                    <a:pt x="854" y="1517"/>
                  </a:lnTo>
                  <a:lnTo>
                    <a:pt x="852" y="1519"/>
                  </a:lnTo>
                  <a:lnTo>
                    <a:pt x="848" y="1523"/>
                  </a:lnTo>
                  <a:lnTo>
                    <a:pt x="842" y="1527"/>
                  </a:lnTo>
                  <a:lnTo>
                    <a:pt x="841" y="1527"/>
                  </a:lnTo>
                  <a:lnTo>
                    <a:pt x="839" y="1529"/>
                  </a:lnTo>
                  <a:lnTo>
                    <a:pt x="835" y="1531"/>
                  </a:lnTo>
                  <a:lnTo>
                    <a:pt x="833" y="1531"/>
                  </a:lnTo>
                  <a:lnTo>
                    <a:pt x="833" y="1533"/>
                  </a:lnTo>
                  <a:lnTo>
                    <a:pt x="829" y="1534"/>
                  </a:lnTo>
                  <a:lnTo>
                    <a:pt x="825" y="1536"/>
                  </a:lnTo>
                  <a:lnTo>
                    <a:pt x="823" y="1538"/>
                  </a:lnTo>
                  <a:lnTo>
                    <a:pt x="821" y="1538"/>
                  </a:lnTo>
                  <a:lnTo>
                    <a:pt x="819" y="1540"/>
                  </a:lnTo>
                  <a:lnTo>
                    <a:pt x="818" y="1542"/>
                  </a:lnTo>
                  <a:lnTo>
                    <a:pt x="819" y="1542"/>
                  </a:lnTo>
                  <a:lnTo>
                    <a:pt x="818" y="1546"/>
                  </a:lnTo>
                  <a:lnTo>
                    <a:pt x="818" y="1548"/>
                  </a:lnTo>
                  <a:lnTo>
                    <a:pt x="816" y="1548"/>
                  </a:lnTo>
                  <a:lnTo>
                    <a:pt x="814" y="1550"/>
                  </a:lnTo>
                  <a:lnTo>
                    <a:pt x="812" y="1550"/>
                  </a:lnTo>
                  <a:lnTo>
                    <a:pt x="810" y="1552"/>
                  </a:lnTo>
                  <a:lnTo>
                    <a:pt x="808" y="1552"/>
                  </a:lnTo>
                  <a:lnTo>
                    <a:pt x="806" y="1552"/>
                  </a:lnTo>
                  <a:lnTo>
                    <a:pt x="804" y="1552"/>
                  </a:lnTo>
                  <a:lnTo>
                    <a:pt x="802" y="1552"/>
                  </a:lnTo>
                  <a:lnTo>
                    <a:pt x="802" y="1550"/>
                  </a:lnTo>
                  <a:lnTo>
                    <a:pt x="800" y="1550"/>
                  </a:lnTo>
                  <a:lnTo>
                    <a:pt x="800" y="1548"/>
                  </a:lnTo>
                  <a:lnTo>
                    <a:pt x="798" y="1546"/>
                  </a:lnTo>
                  <a:lnTo>
                    <a:pt x="798" y="1544"/>
                  </a:lnTo>
                  <a:lnTo>
                    <a:pt x="800" y="1544"/>
                  </a:lnTo>
                  <a:lnTo>
                    <a:pt x="802" y="1542"/>
                  </a:lnTo>
                  <a:lnTo>
                    <a:pt x="800" y="1540"/>
                  </a:lnTo>
                  <a:lnTo>
                    <a:pt x="793" y="1538"/>
                  </a:lnTo>
                  <a:lnTo>
                    <a:pt x="789" y="1536"/>
                  </a:lnTo>
                  <a:lnTo>
                    <a:pt x="787" y="1534"/>
                  </a:lnTo>
                  <a:lnTo>
                    <a:pt x="785" y="1531"/>
                  </a:lnTo>
                  <a:lnTo>
                    <a:pt x="785" y="1529"/>
                  </a:lnTo>
                  <a:lnTo>
                    <a:pt x="785" y="1525"/>
                  </a:lnTo>
                  <a:lnTo>
                    <a:pt x="783" y="1521"/>
                  </a:lnTo>
                  <a:lnTo>
                    <a:pt x="783" y="1519"/>
                  </a:lnTo>
                  <a:lnTo>
                    <a:pt x="781" y="1519"/>
                  </a:lnTo>
                  <a:lnTo>
                    <a:pt x="781" y="1517"/>
                  </a:lnTo>
                  <a:lnTo>
                    <a:pt x="779" y="1517"/>
                  </a:lnTo>
                  <a:lnTo>
                    <a:pt x="779" y="1515"/>
                  </a:lnTo>
                  <a:lnTo>
                    <a:pt x="775" y="1509"/>
                  </a:lnTo>
                  <a:lnTo>
                    <a:pt x="775" y="1508"/>
                  </a:lnTo>
                  <a:lnTo>
                    <a:pt x="771" y="1502"/>
                  </a:lnTo>
                  <a:lnTo>
                    <a:pt x="770" y="1498"/>
                  </a:lnTo>
                  <a:lnTo>
                    <a:pt x="768" y="1498"/>
                  </a:lnTo>
                  <a:lnTo>
                    <a:pt x="766" y="1496"/>
                  </a:lnTo>
                  <a:lnTo>
                    <a:pt x="764" y="1496"/>
                  </a:lnTo>
                  <a:lnTo>
                    <a:pt x="762" y="1496"/>
                  </a:lnTo>
                  <a:lnTo>
                    <a:pt x="758" y="1498"/>
                  </a:lnTo>
                  <a:lnTo>
                    <a:pt x="756" y="1498"/>
                  </a:lnTo>
                  <a:lnTo>
                    <a:pt x="752" y="1500"/>
                  </a:lnTo>
                  <a:lnTo>
                    <a:pt x="748" y="1500"/>
                  </a:lnTo>
                  <a:lnTo>
                    <a:pt x="747" y="1500"/>
                  </a:lnTo>
                  <a:lnTo>
                    <a:pt x="747" y="1502"/>
                  </a:lnTo>
                  <a:lnTo>
                    <a:pt x="747" y="1504"/>
                  </a:lnTo>
                  <a:lnTo>
                    <a:pt x="747" y="1506"/>
                  </a:lnTo>
                  <a:lnTo>
                    <a:pt x="747" y="1508"/>
                  </a:lnTo>
                  <a:lnTo>
                    <a:pt x="747" y="1509"/>
                  </a:lnTo>
                  <a:lnTo>
                    <a:pt x="747" y="1511"/>
                  </a:lnTo>
                  <a:lnTo>
                    <a:pt x="747" y="1513"/>
                  </a:lnTo>
                  <a:lnTo>
                    <a:pt x="747" y="1515"/>
                  </a:lnTo>
                  <a:lnTo>
                    <a:pt x="747" y="1517"/>
                  </a:lnTo>
                  <a:lnTo>
                    <a:pt x="748" y="1517"/>
                  </a:lnTo>
                  <a:lnTo>
                    <a:pt x="747" y="1519"/>
                  </a:lnTo>
                  <a:lnTo>
                    <a:pt x="747" y="1521"/>
                  </a:lnTo>
                  <a:lnTo>
                    <a:pt x="745" y="1521"/>
                  </a:lnTo>
                  <a:lnTo>
                    <a:pt x="745" y="1523"/>
                  </a:lnTo>
                  <a:lnTo>
                    <a:pt x="743" y="1525"/>
                  </a:lnTo>
                  <a:lnTo>
                    <a:pt x="737" y="1523"/>
                  </a:lnTo>
                  <a:lnTo>
                    <a:pt x="735" y="1523"/>
                  </a:lnTo>
                  <a:lnTo>
                    <a:pt x="733" y="1523"/>
                  </a:lnTo>
                  <a:lnTo>
                    <a:pt x="731" y="1521"/>
                  </a:lnTo>
                  <a:lnTo>
                    <a:pt x="729" y="1521"/>
                  </a:lnTo>
                  <a:lnTo>
                    <a:pt x="725" y="1523"/>
                  </a:lnTo>
                  <a:lnTo>
                    <a:pt x="723" y="1523"/>
                  </a:lnTo>
                  <a:lnTo>
                    <a:pt x="716" y="1523"/>
                  </a:lnTo>
                  <a:lnTo>
                    <a:pt x="708" y="1523"/>
                  </a:lnTo>
                  <a:lnTo>
                    <a:pt x="706" y="1523"/>
                  </a:lnTo>
                  <a:lnTo>
                    <a:pt x="700" y="1523"/>
                  </a:lnTo>
                  <a:lnTo>
                    <a:pt x="695" y="1523"/>
                  </a:lnTo>
                  <a:lnTo>
                    <a:pt x="691" y="1525"/>
                  </a:lnTo>
                  <a:lnTo>
                    <a:pt x="689" y="1525"/>
                  </a:lnTo>
                  <a:lnTo>
                    <a:pt x="687" y="1525"/>
                  </a:lnTo>
                  <a:lnTo>
                    <a:pt x="685" y="1525"/>
                  </a:lnTo>
                  <a:lnTo>
                    <a:pt x="683" y="1525"/>
                  </a:lnTo>
                  <a:lnTo>
                    <a:pt x="681" y="1527"/>
                  </a:lnTo>
                  <a:lnTo>
                    <a:pt x="679" y="1527"/>
                  </a:lnTo>
                  <a:lnTo>
                    <a:pt x="674" y="1529"/>
                  </a:lnTo>
                  <a:lnTo>
                    <a:pt x="670" y="1529"/>
                  </a:lnTo>
                  <a:lnTo>
                    <a:pt x="666" y="1529"/>
                  </a:lnTo>
                  <a:lnTo>
                    <a:pt x="660" y="1527"/>
                  </a:lnTo>
                  <a:lnTo>
                    <a:pt x="658" y="1527"/>
                  </a:lnTo>
                  <a:lnTo>
                    <a:pt x="654" y="1527"/>
                  </a:lnTo>
                  <a:lnTo>
                    <a:pt x="652" y="1525"/>
                  </a:lnTo>
                  <a:lnTo>
                    <a:pt x="649" y="1523"/>
                  </a:lnTo>
                  <a:lnTo>
                    <a:pt x="647" y="1523"/>
                  </a:lnTo>
                  <a:lnTo>
                    <a:pt x="647" y="1521"/>
                  </a:lnTo>
                  <a:lnTo>
                    <a:pt x="645" y="1521"/>
                  </a:lnTo>
                  <a:lnTo>
                    <a:pt x="643" y="1521"/>
                  </a:lnTo>
                  <a:lnTo>
                    <a:pt x="643" y="1519"/>
                  </a:lnTo>
                  <a:lnTo>
                    <a:pt x="641" y="1517"/>
                  </a:lnTo>
                  <a:lnTo>
                    <a:pt x="639" y="1515"/>
                  </a:lnTo>
                  <a:lnTo>
                    <a:pt x="639" y="1513"/>
                  </a:lnTo>
                  <a:lnTo>
                    <a:pt x="637" y="1511"/>
                  </a:lnTo>
                  <a:lnTo>
                    <a:pt x="635" y="1508"/>
                  </a:lnTo>
                  <a:lnTo>
                    <a:pt x="633" y="1502"/>
                  </a:lnTo>
                  <a:lnTo>
                    <a:pt x="631" y="1502"/>
                  </a:lnTo>
                  <a:lnTo>
                    <a:pt x="631" y="1500"/>
                  </a:lnTo>
                  <a:lnTo>
                    <a:pt x="629" y="1498"/>
                  </a:lnTo>
                  <a:lnTo>
                    <a:pt x="628" y="1496"/>
                  </a:lnTo>
                  <a:lnTo>
                    <a:pt x="626" y="1496"/>
                  </a:lnTo>
                  <a:lnTo>
                    <a:pt x="624" y="1494"/>
                  </a:lnTo>
                  <a:lnTo>
                    <a:pt x="622" y="1494"/>
                  </a:lnTo>
                  <a:lnTo>
                    <a:pt x="618" y="1494"/>
                  </a:lnTo>
                  <a:lnTo>
                    <a:pt x="614" y="1494"/>
                  </a:lnTo>
                  <a:lnTo>
                    <a:pt x="612" y="1492"/>
                  </a:lnTo>
                  <a:lnTo>
                    <a:pt x="610" y="1492"/>
                  </a:lnTo>
                  <a:lnTo>
                    <a:pt x="608" y="1490"/>
                  </a:lnTo>
                  <a:lnTo>
                    <a:pt x="606" y="1490"/>
                  </a:lnTo>
                  <a:lnTo>
                    <a:pt x="604" y="1488"/>
                  </a:lnTo>
                  <a:lnTo>
                    <a:pt x="604" y="1486"/>
                  </a:lnTo>
                  <a:lnTo>
                    <a:pt x="603" y="1485"/>
                  </a:lnTo>
                  <a:lnTo>
                    <a:pt x="601" y="1479"/>
                  </a:lnTo>
                  <a:lnTo>
                    <a:pt x="601" y="1477"/>
                  </a:lnTo>
                  <a:lnTo>
                    <a:pt x="599" y="1477"/>
                  </a:lnTo>
                  <a:lnTo>
                    <a:pt x="599" y="1475"/>
                  </a:lnTo>
                  <a:lnTo>
                    <a:pt x="597" y="1473"/>
                  </a:lnTo>
                  <a:lnTo>
                    <a:pt x="595" y="1471"/>
                  </a:lnTo>
                  <a:lnTo>
                    <a:pt x="593" y="1471"/>
                  </a:lnTo>
                  <a:lnTo>
                    <a:pt x="591" y="1469"/>
                  </a:lnTo>
                  <a:lnTo>
                    <a:pt x="589" y="1467"/>
                  </a:lnTo>
                  <a:lnTo>
                    <a:pt x="587" y="1467"/>
                  </a:lnTo>
                  <a:lnTo>
                    <a:pt x="583" y="1467"/>
                  </a:lnTo>
                  <a:lnTo>
                    <a:pt x="581" y="1467"/>
                  </a:lnTo>
                  <a:lnTo>
                    <a:pt x="580" y="1467"/>
                  </a:lnTo>
                  <a:lnTo>
                    <a:pt x="576" y="1465"/>
                  </a:lnTo>
                  <a:lnTo>
                    <a:pt x="574" y="1465"/>
                  </a:lnTo>
                  <a:lnTo>
                    <a:pt x="572" y="1463"/>
                  </a:lnTo>
                  <a:lnTo>
                    <a:pt x="570" y="1461"/>
                  </a:lnTo>
                  <a:lnTo>
                    <a:pt x="570" y="1460"/>
                  </a:lnTo>
                  <a:lnTo>
                    <a:pt x="568" y="1460"/>
                  </a:lnTo>
                  <a:lnTo>
                    <a:pt x="566" y="1458"/>
                  </a:lnTo>
                  <a:lnTo>
                    <a:pt x="566" y="1456"/>
                  </a:lnTo>
                  <a:lnTo>
                    <a:pt x="564" y="1454"/>
                  </a:lnTo>
                  <a:lnTo>
                    <a:pt x="562" y="1450"/>
                  </a:lnTo>
                  <a:lnTo>
                    <a:pt x="562" y="1448"/>
                  </a:lnTo>
                  <a:lnTo>
                    <a:pt x="562" y="1446"/>
                  </a:lnTo>
                  <a:lnTo>
                    <a:pt x="560" y="1442"/>
                  </a:lnTo>
                  <a:lnTo>
                    <a:pt x="558" y="1437"/>
                  </a:lnTo>
                  <a:lnTo>
                    <a:pt x="558" y="1435"/>
                  </a:lnTo>
                  <a:lnTo>
                    <a:pt x="558" y="1433"/>
                  </a:lnTo>
                  <a:lnTo>
                    <a:pt x="557" y="1433"/>
                  </a:lnTo>
                  <a:lnTo>
                    <a:pt x="557" y="1431"/>
                  </a:lnTo>
                  <a:lnTo>
                    <a:pt x="555" y="1429"/>
                  </a:lnTo>
                  <a:lnTo>
                    <a:pt x="553" y="1429"/>
                  </a:lnTo>
                  <a:lnTo>
                    <a:pt x="553" y="1427"/>
                  </a:lnTo>
                  <a:lnTo>
                    <a:pt x="551" y="1427"/>
                  </a:lnTo>
                  <a:lnTo>
                    <a:pt x="549" y="1427"/>
                  </a:lnTo>
                  <a:lnTo>
                    <a:pt x="547" y="1427"/>
                  </a:lnTo>
                  <a:lnTo>
                    <a:pt x="543" y="1427"/>
                  </a:lnTo>
                  <a:lnTo>
                    <a:pt x="541" y="1427"/>
                  </a:lnTo>
                  <a:lnTo>
                    <a:pt x="539" y="1427"/>
                  </a:lnTo>
                  <a:lnTo>
                    <a:pt x="537" y="1427"/>
                  </a:lnTo>
                  <a:lnTo>
                    <a:pt x="535" y="1425"/>
                  </a:lnTo>
                  <a:lnTo>
                    <a:pt x="533" y="1425"/>
                  </a:lnTo>
                  <a:lnTo>
                    <a:pt x="532" y="1423"/>
                  </a:lnTo>
                  <a:lnTo>
                    <a:pt x="530" y="1421"/>
                  </a:lnTo>
                  <a:lnTo>
                    <a:pt x="526" y="1417"/>
                  </a:lnTo>
                  <a:lnTo>
                    <a:pt x="524" y="1417"/>
                  </a:lnTo>
                  <a:lnTo>
                    <a:pt x="522" y="1415"/>
                  </a:lnTo>
                  <a:lnTo>
                    <a:pt x="518" y="1413"/>
                  </a:lnTo>
                  <a:lnTo>
                    <a:pt x="516" y="1412"/>
                  </a:lnTo>
                  <a:lnTo>
                    <a:pt x="512" y="1412"/>
                  </a:lnTo>
                  <a:lnTo>
                    <a:pt x="510" y="1410"/>
                  </a:lnTo>
                  <a:lnTo>
                    <a:pt x="509" y="1410"/>
                  </a:lnTo>
                  <a:lnTo>
                    <a:pt x="507" y="1410"/>
                  </a:lnTo>
                  <a:lnTo>
                    <a:pt x="501" y="1412"/>
                  </a:lnTo>
                  <a:lnTo>
                    <a:pt x="499" y="1412"/>
                  </a:lnTo>
                  <a:lnTo>
                    <a:pt x="495" y="1412"/>
                  </a:lnTo>
                  <a:lnTo>
                    <a:pt x="491" y="1412"/>
                  </a:lnTo>
                  <a:lnTo>
                    <a:pt x="489" y="1412"/>
                  </a:lnTo>
                  <a:lnTo>
                    <a:pt x="487" y="1412"/>
                  </a:lnTo>
                  <a:lnTo>
                    <a:pt x="484" y="1412"/>
                  </a:lnTo>
                  <a:lnTo>
                    <a:pt x="482" y="1412"/>
                  </a:lnTo>
                  <a:lnTo>
                    <a:pt x="482" y="1413"/>
                  </a:lnTo>
                  <a:lnTo>
                    <a:pt x="480" y="1413"/>
                  </a:lnTo>
                  <a:lnTo>
                    <a:pt x="478" y="1415"/>
                  </a:lnTo>
                  <a:lnTo>
                    <a:pt x="478" y="1417"/>
                  </a:lnTo>
                  <a:lnTo>
                    <a:pt x="476" y="1419"/>
                  </a:lnTo>
                  <a:lnTo>
                    <a:pt x="476" y="1421"/>
                  </a:lnTo>
                  <a:lnTo>
                    <a:pt x="474" y="1423"/>
                  </a:lnTo>
                  <a:lnTo>
                    <a:pt x="472" y="1425"/>
                  </a:lnTo>
                  <a:lnTo>
                    <a:pt x="470" y="1425"/>
                  </a:lnTo>
                  <a:lnTo>
                    <a:pt x="470" y="1427"/>
                  </a:lnTo>
                  <a:lnTo>
                    <a:pt x="468" y="1427"/>
                  </a:lnTo>
                  <a:lnTo>
                    <a:pt x="466" y="1427"/>
                  </a:lnTo>
                  <a:lnTo>
                    <a:pt x="464" y="1425"/>
                  </a:lnTo>
                  <a:lnTo>
                    <a:pt x="461" y="1423"/>
                  </a:lnTo>
                  <a:lnTo>
                    <a:pt x="459" y="1423"/>
                  </a:lnTo>
                  <a:lnTo>
                    <a:pt x="457" y="1423"/>
                  </a:lnTo>
                  <a:lnTo>
                    <a:pt x="453" y="1421"/>
                  </a:lnTo>
                  <a:lnTo>
                    <a:pt x="451" y="1421"/>
                  </a:lnTo>
                  <a:lnTo>
                    <a:pt x="449" y="1421"/>
                  </a:lnTo>
                  <a:lnTo>
                    <a:pt x="447" y="1419"/>
                  </a:lnTo>
                  <a:lnTo>
                    <a:pt x="445" y="1419"/>
                  </a:lnTo>
                  <a:lnTo>
                    <a:pt x="445" y="1417"/>
                  </a:lnTo>
                  <a:lnTo>
                    <a:pt x="443" y="1415"/>
                  </a:lnTo>
                  <a:lnTo>
                    <a:pt x="441" y="1412"/>
                  </a:lnTo>
                  <a:lnTo>
                    <a:pt x="439" y="1410"/>
                  </a:lnTo>
                  <a:lnTo>
                    <a:pt x="438" y="1408"/>
                  </a:lnTo>
                  <a:lnTo>
                    <a:pt x="434" y="1406"/>
                  </a:lnTo>
                  <a:lnTo>
                    <a:pt x="432" y="1404"/>
                  </a:lnTo>
                  <a:lnTo>
                    <a:pt x="430" y="1404"/>
                  </a:lnTo>
                  <a:lnTo>
                    <a:pt x="428" y="1404"/>
                  </a:lnTo>
                  <a:lnTo>
                    <a:pt x="426" y="1404"/>
                  </a:lnTo>
                  <a:lnTo>
                    <a:pt x="422" y="1404"/>
                  </a:lnTo>
                  <a:lnTo>
                    <a:pt x="422" y="1406"/>
                  </a:lnTo>
                  <a:lnTo>
                    <a:pt x="420" y="1406"/>
                  </a:lnTo>
                  <a:lnTo>
                    <a:pt x="418" y="1408"/>
                  </a:lnTo>
                  <a:lnTo>
                    <a:pt x="416" y="1410"/>
                  </a:lnTo>
                  <a:lnTo>
                    <a:pt x="416" y="1412"/>
                  </a:lnTo>
                  <a:lnTo>
                    <a:pt x="416" y="1413"/>
                  </a:lnTo>
                  <a:lnTo>
                    <a:pt x="414" y="1413"/>
                  </a:lnTo>
                  <a:lnTo>
                    <a:pt x="414" y="1417"/>
                  </a:lnTo>
                  <a:lnTo>
                    <a:pt x="414" y="1419"/>
                  </a:lnTo>
                  <a:lnTo>
                    <a:pt x="413" y="1421"/>
                  </a:lnTo>
                  <a:lnTo>
                    <a:pt x="413" y="1423"/>
                  </a:lnTo>
                  <a:lnTo>
                    <a:pt x="411" y="1423"/>
                  </a:lnTo>
                  <a:lnTo>
                    <a:pt x="411" y="1425"/>
                  </a:lnTo>
                  <a:lnTo>
                    <a:pt x="409" y="1427"/>
                  </a:lnTo>
                  <a:lnTo>
                    <a:pt x="407" y="1427"/>
                  </a:lnTo>
                  <a:lnTo>
                    <a:pt x="405" y="1429"/>
                  </a:lnTo>
                  <a:lnTo>
                    <a:pt x="403" y="1429"/>
                  </a:lnTo>
                  <a:lnTo>
                    <a:pt x="399" y="1429"/>
                  </a:lnTo>
                  <a:lnTo>
                    <a:pt x="397" y="1431"/>
                  </a:lnTo>
                  <a:lnTo>
                    <a:pt x="395" y="1431"/>
                  </a:lnTo>
                  <a:lnTo>
                    <a:pt x="390" y="1431"/>
                  </a:lnTo>
                  <a:lnTo>
                    <a:pt x="388" y="1431"/>
                  </a:lnTo>
                  <a:lnTo>
                    <a:pt x="386" y="1431"/>
                  </a:lnTo>
                  <a:lnTo>
                    <a:pt x="384" y="1431"/>
                  </a:lnTo>
                  <a:lnTo>
                    <a:pt x="380" y="1431"/>
                  </a:lnTo>
                  <a:lnTo>
                    <a:pt x="378" y="1429"/>
                  </a:lnTo>
                  <a:lnTo>
                    <a:pt x="376" y="1429"/>
                  </a:lnTo>
                  <a:lnTo>
                    <a:pt x="374" y="1429"/>
                  </a:lnTo>
                  <a:lnTo>
                    <a:pt x="370" y="1427"/>
                  </a:lnTo>
                  <a:lnTo>
                    <a:pt x="368" y="1425"/>
                  </a:lnTo>
                  <a:lnTo>
                    <a:pt x="367" y="1423"/>
                  </a:lnTo>
                  <a:lnTo>
                    <a:pt x="365" y="1421"/>
                  </a:lnTo>
                  <a:lnTo>
                    <a:pt x="365" y="1419"/>
                  </a:lnTo>
                  <a:lnTo>
                    <a:pt x="363" y="1419"/>
                  </a:lnTo>
                  <a:lnTo>
                    <a:pt x="363" y="1417"/>
                  </a:lnTo>
                  <a:lnTo>
                    <a:pt x="361" y="1415"/>
                  </a:lnTo>
                  <a:lnTo>
                    <a:pt x="361" y="1413"/>
                  </a:lnTo>
                  <a:lnTo>
                    <a:pt x="361" y="1412"/>
                  </a:lnTo>
                  <a:lnTo>
                    <a:pt x="359" y="1412"/>
                  </a:lnTo>
                  <a:lnTo>
                    <a:pt x="357" y="1412"/>
                  </a:lnTo>
                  <a:lnTo>
                    <a:pt x="357" y="1410"/>
                  </a:lnTo>
                  <a:lnTo>
                    <a:pt x="355" y="1410"/>
                  </a:lnTo>
                  <a:lnTo>
                    <a:pt x="353" y="1410"/>
                  </a:lnTo>
                  <a:lnTo>
                    <a:pt x="351" y="1412"/>
                  </a:lnTo>
                  <a:lnTo>
                    <a:pt x="349" y="1412"/>
                  </a:lnTo>
                  <a:lnTo>
                    <a:pt x="347" y="1413"/>
                  </a:lnTo>
                  <a:lnTo>
                    <a:pt x="347" y="1415"/>
                  </a:lnTo>
                  <a:lnTo>
                    <a:pt x="345" y="1417"/>
                  </a:lnTo>
                  <a:lnTo>
                    <a:pt x="345" y="1419"/>
                  </a:lnTo>
                  <a:lnTo>
                    <a:pt x="343" y="1419"/>
                  </a:lnTo>
                  <a:lnTo>
                    <a:pt x="343" y="1421"/>
                  </a:lnTo>
                  <a:lnTo>
                    <a:pt x="342" y="1423"/>
                  </a:lnTo>
                  <a:lnTo>
                    <a:pt x="340" y="1425"/>
                  </a:lnTo>
                  <a:lnTo>
                    <a:pt x="334" y="1431"/>
                  </a:lnTo>
                  <a:lnTo>
                    <a:pt x="332" y="1433"/>
                  </a:lnTo>
                  <a:lnTo>
                    <a:pt x="330" y="1435"/>
                  </a:lnTo>
                  <a:lnTo>
                    <a:pt x="326" y="1442"/>
                  </a:lnTo>
                  <a:lnTo>
                    <a:pt x="324" y="1444"/>
                  </a:lnTo>
                  <a:lnTo>
                    <a:pt x="322" y="1448"/>
                  </a:lnTo>
                  <a:lnTo>
                    <a:pt x="320" y="1448"/>
                  </a:lnTo>
                  <a:lnTo>
                    <a:pt x="319" y="1450"/>
                  </a:lnTo>
                  <a:lnTo>
                    <a:pt x="319" y="1452"/>
                  </a:lnTo>
                  <a:lnTo>
                    <a:pt x="317" y="1454"/>
                  </a:lnTo>
                  <a:lnTo>
                    <a:pt x="317" y="1456"/>
                  </a:lnTo>
                  <a:lnTo>
                    <a:pt x="315" y="1458"/>
                  </a:lnTo>
                  <a:lnTo>
                    <a:pt x="315" y="1461"/>
                  </a:lnTo>
                  <a:lnTo>
                    <a:pt x="313" y="1465"/>
                  </a:lnTo>
                  <a:lnTo>
                    <a:pt x="311" y="1467"/>
                  </a:lnTo>
                  <a:lnTo>
                    <a:pt x="311" y="1471"/>
                  </a:lnTo>
                  <a:lnTo>
                    <a:pt x="309" y="1475"/>
                  </a:lnTo>
                  <a:lnTo>
                    <a:pt x="309" y="1479"/>
                  </a:lnTo>
                  <a:lnTo>
                    <a:pt x="309" y="1481"/>
                  </a:lnTo>
                  <a:lnTo>
                    <a:pt x="309" y="1483"/>
                  </a:lnTo>
                  <a:lnTo>
                    <a:pt x="307" y="1488"/>
                  </a:lnTo>
                  <a:lnTo>
                    <a:pt x="307" y="1490"/>
                  </a:lnTo>
                  <a:lnTo>
                    <a:pt x="307" y="1492"/>
                  </a:lnTo>
                  <a:lnTo>
                    <a:pt x="307" y="1494"/>
                  </a:lnTo>
                  <a:lnTo>
                    <a:pt x="307" y="1496"/>
                  </a:lnTo>
                  <a:lnTo>
                    <a:pt x="305" y="1496"/>
                  </a:lnTo>
                  <a:lnTo>
                    <a:pt x="305" y="1498"/>
                  </a:lnTo>
                  <a:lnTo>
                    <a:pt x="303" y="1500"/>
                  </a:lnTo>
                  <a:lnTo>
                    <a:pt x="301" y="1502"/>
                  </a:lnTo>
                  <a:lnTo>
                    <a:pt x="299" y="1502"/>
                  </a:lnTo>
                  <a:lnTo>
                    <a:pt x="295" y="1504"/>
                  </a:lnTo>
                  <a:lnTo>
                    <a:pt x="290" y="1506"/>
                  </a:lnTo>
                  <a:lnTo>
                    <a:pt x="284" y="1508"/>
                  </a:lnTo>
                  <a:lnTo>
                    <a:pt x="280" y="1508"/>
                  </a:lnTo>
                  <a:lnTo>
                    <a:pt x="272" y="1511"/>
                  </a:lnTo>
                  <a:lnTo>
                    <a:pt x="269" y="1513"/>
                  </a:lnTo>
                  <a:lnTo>
                    <a:pt x="265" y="1517"/>
                  </a:lnTo>
                  <a:lnTo>
                    <a:pt x="261" y="1519"/>
                  </a:lnTo>
                  <a:lnTo>
                    <a:pt x="257" y="1521"/>
                  </a:lnTo>
                  <a:lnTo>
                    <a:pt x="255" y="1523"/>
                  </a:lnTo>
                  <a:lnTo>
                    <a:pt x="253" y="1523"/>
                  </a:lnTo>
                  <a:lnTo>
                    <a:pt x="251" y="1525"/>
                  </a:lnTo>
                  <a:lnTo>
                    <a:pt x="249" y="1525"/>
                  </a:lnTo>
                  <a:lnTo>
                    <a:pt x="248" y="1523"/>
                  </a:lnTo>
                  <a:lnTo>
                    <a:pt x="246" y="1523"/>
                  </a:lnTo>
                  <a:lnTo>
                    <a:pt x="242" y="1519"/>
                  </a:lnTo>
                  <a:lnTo>
                    <a:pt x="240" y="1519"/>
                  </a:lnTo>
                  <a:lnTo>
                    <a:pt x="238" y="1519"/>
                  </a:lnTo>
                  <a:lnTo>
                    <a:pt x="234" y="1517"/>
                  </a:lnTo>
                  <a:lnTo>
                    <a:pt x="232" y="1517"/>
                  </a:lnTo>
                  <a:lnTo>
                    <a:pt x="230" y="1517"/>
                  </a:lnTo>
                  <a:lnTo>
                    <a:pt x="226" y="1519"/>
                  </a:lnTo>
                  <a:lnTo>
                    <a:pt x="224" y="1519"/>
                  </a:lnTo>
                  <a:lnTo>
                    <a:pt x="223" y="1519"/>
                  </a:lnTo>
                  <a:lnTo>
                    <a:pt x="221" y="1519"/>
                  </a:lnTo>
                  <a:lnTo>
                    <a:pt x="217" y="1523"/>
                  </a:lnTo>
                  <a:lnTo>
                    <a:pt x="215" y="1523"/>
                  </a:lnTo>
                  <a:lnTo>
                    <a:pt x="215" y="1525"/>
                  </a:lnTo>
                  <a:lnTo>
                    <a:pt x="211" y="1525"/>
                  </a:lnTo>
                  <a:lnTo>
                    <a:pt x="209" y="1525"/>
                  </a:lnTo>
                  <a:lnTo>
                    <a:pt x="207" y="1525"/>
                  </a:lnTo>
                  <a:lnTo>
                    <a:pt x="205" y="1525"/>
                  </a:lnTo>
                  <a:lnTo>
                    <a:pt x="203" y="1523"/>
                  </a:lnTo>
                  <a:lnTo>
                    <a:pt x="201" y="1521"/>
                  </a:lnTo>
                  <a:lnTo>
                    <a:pt x="200" y="1517"/>
                  </a:lnTo>
                  <a:lnTo>
                    <a:pt x="198" y="1517"/>
                  </a:lnTo>
                  <a:lnTo>
                    <a:pt x="194" y="1513"/>
                  </a:lnTo>
                  <a:lnTo>
                    <a:pt x="192" y="1513"/>
                  </a:lnTo>
                  <a:lnTo>
                    <a:pt x="190" y="1511"/>
                  </a:lnTo>
                  <a:lnTo>
                    <a:pt x="188" y="1511"/>
                  </a:lnTo>
                  <a:lnTo>
                    <a:pt x="186" y="1509"/>
                  </a:lnTo>
                  <a:lnTo>
                    <a:pt x="182" y="1509"/>
                  </a:lnTo>
                  <a:lnTo>
                    <a:pt x="180" y="1509"/>
                  </a:lnTo>
                  <a:lnTo>
                    <a:pt x="176" y="1511"/>
                  </a:lnTo>
                  <a:lnTo>
                    <a:pt x="173" y="1511"/>
                  </a:lnTo>
                  <a:lnTo>
                    <a:pt x="171" y="1513"/>
                  </a:lnTo>
                  <a:lnTo>
                    <a:pt x="167" y="1513"/>
                  </a:lnTo>
                  <a:lnTo>
                    <a:pt x="163" y="1513"/>
                  </a:lnTo>
                  <a:lnTo>
                    <a:pt x="161" y="1513"/>
                  </a:lnTo>
                  <a:lnTo>
                    <a:pt x="159" y="1511"/>
                  </a:lnTo>
                  <a:lnTo>
                    <a:pt x="157" y="1511"/>
                  </a:lnTo>
                  <a:lnTo>
                    <a:pt x="155" y="1509"/>
                  </a:lnTo>
                  <a:lnTo>
                    <a:pt x="150" y="1509"/>
                  </a:lnTo>
                  <a:lnTo>
                    <a:pt x="148" y="1509"/>
                  </a:lnTo>
                  <a:lnTo>
                    <a:pt x="144" y="1508"/>
                  </a:lnTo>
                  <a:lnTo>
                    <a:pt x="140" y="1508"/>
                  </a:lnTo>
                  <a:lnTo>
                    <a:pt x="138" y="1508"/>
                  </a:lnTo>
                  <a:lnTo>
                    <a:pt x="136" y="1508"/>
                  </a:lnTo>
                  <a:lnTo>
                    <a:pt x="130" y="1509"/>
                  </a:lnTo>
                  <a:lnTo>
                    <a:pt x="119" y="1509"/>
                  </a:lnTo>
                  <a:lnTo>
                    <a:pt x="115" y="1511"/>
                  </a:lnTo>
                  <a:lnTo>
                    <a:pt x="111" y="1511"/>
                  </a:lnTo>
                  <a:lnTo>
                    <a:pt x="104" y="1513"/>
                  </a:lnTo>
                  <a:lnTo>
                    <a:pt x="104" y="1511"/>
                  </a:lnTo>
                  <a:lnTo>
                    <a:pt x="104" y="1509"/>
                  </a:lnTo>
                  <a:lnTo>
                    <a:pt x="104" y="1506"/>
                  </a:lnTo>
                  <a:lnTo>
                    <a:pt x="104" y="1504"/>
                  </a:lnTo>
                  <a:lnTo>
                    <a:pt x="104" y="1502"/>
                  </a:lnTo>
                  <a:lnTo>
                    <a:pt x="105" y="1502"/>
                  </a:lnTo>
                  <a:lnTo>
                    <a:pt x="105" y="1500"/>
                  </a:lnTo>
                  <a:lnTo>
                    <a:pt x="109" y="1500"/>
                  </a:lnTo>
                  <a:lnTo>
                    <a:pt x="109" y="1498"/>
                  </a:lnTo>
                  <a:lnTo>
                    <a:pt x="111" y="1498"/>
                  </a:lnTo>
                  <a:lnTo>
                    <a:pt x="113" y="1496"/>
                  </a:lnTo>
                  <a:lnTo>
                    <a:pt x="115" y="1494"/>
                  </a:lnTo>
                  <a:lnTo>
                    <a:pt x="117" y="1494"/>
                  </a:lnTo>
                  <a:lnTo>
                    <a:pt x="117" y="1492"/>
                  </a:lnTo>
                  <a:lnTo>
                    <a:pt x="117" y="1490"/>
                  </a:lnTo>
                  <a:lnTo>
                    <a:pt x="119" y="1490"/>
                  </a:lnTo>
                  <a:lnTo>
                    <a:pt x="117" y="1488"/>
                  </a:lnTo>
                  <a:lnTo>
                    <a:pt x="115" y="1488"/>
                  </a:lnTo>
                  <a:lnTo>
                    <a:pt x="115" y="1486"/>
                  </a:lnTo>
                  <a:lnTo>
                    <a:pt x="113" y="1485"/>
                  </a:lnTo>
                  <a:lnTo>
                    <a:pt x="113" y="1483"/>
                  </a:lnTo>
                  <a:lnTo>
                    <a:pt x="113" y="1481"/>
                  </a:lnTo>
                  <a:lnTo>
                    <a:pt x="113" y="1479"/>
                  </a:lnTo>
                  <a:lnTo>
                    <a:pt x="113" y="1477"/>
                  </a:lnTo>
                  <a:lnTo>
                    <a:pt x="115" y="1475"/>
                  </a:lnTo>
                  <a:lnTo>
                    <a:pt x="117" y="1471"/>
                  </a:lnTo>
                  <a:lnTo>
                    <a:pt x="117" y="1469"/>
                  </a:lnTo>
                  <a:lnTo>
                    <a:pt x="117" y="1467"/>
                  </a:lnTo>
                  <a:lnTo>
                    <a:pt x="117" y="1465"/>
                  </a:lnTo>
                  <a:lnTo>
                    <a:pt x="115" y="1463"/>
                  </a:lnTo>
                  <a:lnTo>
                    <a:pt x="113" y="1463"/>
                  </a:lnTo>
                  <a:lnTo>
                    <a:pt x="113" y="1461"/>
                  </a:lnTo>
                  <a:lnTo>
                    <a:pt x="111" y="1461"/>
                  </a:lnTo>
                  <a:lnTo>
                    <a:pt x="109" y="1461"/>
                  </a:lnTo>
                  <a:lnTo>
                    <a:pt x="107" y="1461"/>
                  </a:lnTo>
                  <a:lnTo>
                    <a:pt x="105" y="1460"/>
                  </a:lnTo>
                  <a:lnTo>
                    <a:pt x="102" y="1458"/>
                  </a:lnTo>
                  <a:lnTo>
                    <a:pt x="100" y="1456"/>
                  </a:lnTo>
                  <a:lnTo>
                    <a:pt x="98" y="1456"/>
                  </a:lnTo>
                  <a:lnTo>
                    <a:pt x="96" y="1454"/>
                  </a:lnTo>
                  <a:lnTo>
                    <a:pt x="96" y="1452"/>
                  </a:lnTo>
                  <a:lnTo>
                    <a:pt x="92" y="1448"/>
                  </a:lnTo>
                  <a:lnTo>
                    <a:pt x="90" y="1446"/>
                  </a:lnTo>
                  <a:lnTo>
                    <a:pt x="88" y="1444"/>
                  </a:lnTo>
                  <a:lnTo>
                    <a:pt x="86" y="1442"/>
                  </a:lnTo>
                  <a:lnTo>
                    <a:pt x="84" y="1442"/>
                  </a:lnTo>
                  <a:lnTo>
                    <a:pt x="82" y="1442"/>
                  </a:lnTo>
                  <a:lnTo>
                    <a:pt x="81" y="1440"/>
                  </a:lnTo>
                  <a:lnTo>
                    <a:pt x="79" y="1442"/>
                  </a:lnTo>
                  <a:lnTo>
                    <a:pt x="77" y="1442"/>
                  </a:lnTo>
                  <a:lnTo>
                    <a:pt x="75" y="1444"/>
                  </a:lnTo>
                  <a:lnTo>
                    <a:pt x="73" y="1444"/>
                  </a:lnTo>
                  <a:lnTo>
                    <a:pt x="73" y="1446"/>
                  </a:lnTo>
                  <a:lnTo>
                    <a:pt x="71" y="1448"/>
                  </a:lnTo>
                  <a:lnTo>
                    <a:pt x="69" y="1450"/>
                  </a:lnTo>
                  <a:lnTo>
                    <a:pt x="67" y="1452"/>
                  </a:lnTo>
                  <a:lnTo>
                    <a:pt x="65" y="1452"/>
                  </a:lnTo>
                  <a:lnTo>
                    <a:pt x="63" y="1452"/>
                  </a:lnTo>
                  <a:lnTo>
                    <a:pt x="61" y="1452"/>
                  </a:lnTo>
                  <a:lnTo>
                    <a:pt x="59" y="1452"/>
                  </a:lnTo>
                  <a:lnTo>
                    <a:pt x="57" y="1452"/>
                  </a:lnTo>
                  <a:lnTo>
                    <a:pt x="57" y="1450"/>
                  </a:lnTo>
                  <a:lnTo>
                    <a:pt x="56" y="1450"/>
                  </a:lnTo>
                  <a:lnTo>
                    <a:pt x="56" y="1448"/>
                  </a:lnTo>
                  <a:lnTo>
                    <a:pt x="54" y="1446"/>
                  </a:lnTo>
                  <a:lnTo>
                    <a:pt x="52" y="1446"/>
                  </a:lnTo>
                  <a:lnTo>
                    <a:pt x="52" y="1444"/>
                  </a:lnTo>
                  <a:lnTo>
                    <a:pt x="52" y="1442"/>
                  </a:lnTo>
                  <a:lnTo>
                    <a:pt x="50" y="1440"/>
                  </a:lnTo>
                  <a:lnTo>
                    <a:pt x="50" y="1438"/>
                  </a:lnTo>
                  <a:lnTo>
                    <a:pt x="50" y="1437"/>
                  </a:lnTo>
                  <a:lnTo>
                    <a:pt x="48" y="1437"/>
                  </a:lnTo>
                  <a:lnTo>
                    <a:pt x="48" y="1435"/>
                  </a:lnTo>
                  <a:lnTo>
                    <a:pt x="46" y="1433"/>
                  </a:lnTo>
                  <a:lnTo>
                    <a:pt x="46" y="1431"/>
                  </a:lnTo>
                  <a:lnTo>
                    <a:pt x="44" y="1429"/>
                  </a:lnTo>
                  <a:lnTo>
                    <a:pt x="44" y="1427"/>
                  </a:lnTo>
                  <a:lnTo>
                    <a:pt x="42" y="1425"/>
                  </a:lnTo>
                  <a:lnTo>
                    <a:pt x="40" y="1423"/>
                  </a:lnTo>
                  <a:lnTo>
                    <a:pt x="38" y="1423"/>
                  </a:lnTo>
                  <a:lnTo>
                    <a:pt x="36" y="1421"/>
                  </a:lnTo>
                  <a:lnTo>
                    <a:pt x="34" y="1419"/>
                  </a:lnTo>
                  <a:lnTo>
                    <a:pt x="33" y="1419"/>
                  </a:lnTo>
                  <a:lnTo>
                    <a:pt x="31" y="1417"/>
                  </a:lnTo>
                  <a:lnTo>
                    <a:pt x="25" y="1415"/>
                  </a:lnTo>
                  <a:lnTo>
                    <a:pt x="23" y="1415"/>
                  </a:lnTo>
                  <a:lnTo>
                    <a:pt x="21" y="1413"/>
                  </a:lnTo>
                  <a:lnTo>
                    <a:pt x="19" y="1412"/>
                  </a:lnTo>
                  <a:lnTo>
                    <a:pt x="17" y="1410"/>
                  </a:lnTo>
                  <a:lnTo>
                    <a:pt x="13" y="1408"/>
                  </a:lnTo>
                  <a:lnTo>
                    <a:pt x="13" y="1406"/>
                  </a:lnTo>
                  <a:lnTo>
                    <a:pt x="11" y="1404"/>
                  </a:lnTo>
                  <a:lnTo>
                    <a:pt x="11" y="1402"/>
                  </a:lnTo>
                  <a:lnTo>
                    <a:pt x="10" y="1402"/>
                  </a:lnTo>
                  <a:lnTo>
                    <a:pt x="10" y="1400"/>
                  </a:lnTo>
                  <a:lnTo>
                    <a:pt x="10" y="1396"/>
                  </a:lnTo>
                  <a:lnTo>
                    <a:pt x="10" y="1394"/>
                  </a:lnTo>
                  <a:lnTo>
                    <a:pt x="8" y="1394"/>
                  </a:lnTo>
                  <a:lnTo>
                    <a:pt x="8" y="1392"/>
                  </a:lnTo>
                  <a:lnTo>
                    <a:pt x="6" y="1392"/>
                  </a:lnTo>
                  <a:lnTo>
                    <a:pt x="4" y="1390"/>
                  </a:lnTo>
                  <a:lnTo>
                    <a:pt x="2" y="1388"/>
                  </a:lnTo>
                  <a:lnTo>
                    <a:pt x="6" y="1388"/>
                  </a:lnTo>
                  <a:lnTo>
                    <a:pt x="8" y="1388"/>
                  </a:lnTo>
                  <a:lnTo>
                    <a:pt x="13" y="1390"/>
                  </a:lnTo>
                  <a:lnTo>
                    <a:pt x="19" y="1392"/>
                  </a:lnTo>
                  <a:lnTo>
                    <a:pt x="25" y="1394"/>
                  </a:lnTo>
                  <a:lnTo>
                    <a:pt x="25" y="1388"/>
                  </a:lnTo>
                  <a:lnTo>
                    <a:pt x="25" y="1387"/>
                  </a:lnTo>
                  <a:lnTo>
                    <a:pt x="27" y="1383"/>
                  </a:lnTo>
                  <a:lnTo>
                    <a:pt x="29" y="1377"/>
                  </a:lnTo>
                  <a:lnTo>
                    <a:pt x="29" y="1373"/>
                  </a:lnTo>
                  <a:lnTo>
                    <a:pt x="29" y="1371"/>
                  </a:lnTo>
                  <a:lnTo>
                    <a:pt x="31" y="1364"/>
                  </a:lnTo>
                  <a:lnTo>
                    <a:pt x="25" y="1362"/>
                  </a:lnTo>
                  <a:lnTo>
                    <a:pt x="23" y="1362"/>
                  </a:lnTo>
                  <a:lnTo>
                    <a:pt x="21" y="1362"/>
                  </a:lnTo>
                  <a:lnTo>
                    <a:pt x="19" y="1362"/>
                  </a:lnTo>
                  <a:lnTo>
                    <a:pt x="17" y="1360"/>
                  </a:lnTo>
                  <a:lnTo>
                    <a:pt x="13" y="1360"/>
                  </a:lnTo>
                  <a:lnTo>
                    <a:pt x="11" y="1360"/>
                  </a:lnTo>
                  <a:lnTo>
                    <a:pt x="10" y="1358"/>
                  </a:lnTo>
                  <a:lnTo>
                    <a:pt x="10" y="1356"/>
                  </a:lnTo>
                  <a:lnTo>
                    <a:pt x="8" y="1356"/>
                  </a:lnTo>
                  <a:lnTo>
                    <a:pt x="6" y="1358"/>
                  </a:lnTo>
                  <a:lnTo>
                    <a:pt x="4" y="1356"/>
                  </a:lnTo>
                  <a:lnTo>
                    <a:pt x="4" y="1354"/>
                  </a:lnTo>
                  <a:lnTo>
                    <a:pt x="4" y="1352"/>
                  </a:lnTo>
                  <a:lnTo>
                    <a:pt x="4" y="1350"/>
                  </a:lnTo>
                  <a:lnTo>
                    <a:pt x="4" y="1348"/>
                  </a:lnTo>
                  <a:lnTo>
                    <a:pt x="4" y="1346"/>
                  </a:lnTo>
                  <a:lnTo>
                    <a:pt x="4" y="1344"/>
                  </a:lnTo>
                  <a:lnTo>
                    <a:pt x="4" y="1342"/>
                  </a:lnTo>
                  <a:lnTo>
                    <a:pt x="4" y="1340"/>
                  </a:lnTo>
                  <a:lnTo>
                    <a:pt x="2" y="1339"/>
                  </a:lnTo>
                  <a:lnTo>
                    <a:pt x="2" y="1337"/>
                  </a:lnTo>
                  <a:lnTo>
                    <a:pt x="0" y="1335"/>
                  </a:lnTo>
                  <a:lnTo>
                    <a:pt x="0" y="1333"/>
                  </a:lnTo>
                  <a:lnTo>
                    <a:pt x="2" y="1331"/>
                  </a:lnTo>
                  <a:lnTo>
                    <a:pt x="4" y="1333"/>
                  </a:lnTo>
                  <a:lnTo>
                    <a:pt x="6" y="1335"/>
                  </a:lnTo>
                  <a:lnTo>
                    <a:pt x="8" y="1337"/>
                  </a:lnTo>
                  <a:lnTo>
                    <a:pt x="10" y="1337"/>
                  </a:lnTo>
                  <a:lnTo>
                    <a:pt x="10" y="1339"/>
                  </a:lnTo>
                  <a:lnTo>
                    <a:pt x="11" y="1339"/>
                  </a:lnTo>
                  <a:lnTo>
                    <a:pt x="13" y="1339"/>
                  </a:lnTo>
                  <a:lnTo>
                    <a:pt x="15" y="1337"/>
                  </a:lnTo>
                  <a:lnTo>
                    <a:pt x="17" y="1337"/>
                  </a:lnTo>
                  <a:lnTo>
                    <a:pt x="19" y="1337"/>
                  </a:lnTo>
                  <a:lnTo>
                    <a:pt x="21" y="1337"/>
                  </a:lnTo>
                  <a:lnTo>
                    <a:pt x="23" y="1337"/>
                  </a:lnTo>
                  <a:lnTo>
                    <a:pt x="25" y="1339"/>
                  </a:lnTo>
                  <a:lnTo>
                    <a:pt x="27" y="1339"/>
                  </a:lnTo>
                  <a:lnTo>
                    <a:pt x="29" y="1339"/>
                  </a:lnTo>
                  <a:lnTo>
                    <a:pt x="31" y="1339"/>
                  </a:lnTo>
                  <a:lnTo>
                    <a:pt x="34" y="1339"/>
                  </a:lnTo>
                  <a:lnTo>
                    <a:pt x="36" y="1339"/>
                  </a:lnTo>
                  <a:lnTo>
                    <a:pt x="38" y="1339"/>
                  </a:lnTo>
                  <a:lnTo>
                    <a:pt x="40" y="1339"/>
                  </a:lnTo>
                  <a:lnTo>
                    <a:pt x="42" y="1339"/>
                  </a:lnTo>
                  <a:lnTo>
                    <a:pt x="44" y="1339"/>
                  </a:lnTo>
                  <a:lnTo>
                    <a:pt x="46" y="1339"/>
                  </a:lnTo>
                  <a:lnTo>
                    <a:pt x="48" y="1339"/>
                  </a:lnTo>
                  <a:lnTo>
                    <a:pt x="48" y="1340"/>
                  </a:lnTo>
                  <a:lnTo>
                    <a:pt x="50" y="1340"/>
                  </a:lnTo>
                  <a:lnTo>
                    <a:pt x="52" y="1340"/>
                  </a:lnTo>
                  <a:lnTo>
                    <a:pt x="56" y="1340"/>
                  </a:lnTo>
                  <a:lnTo>
                    <a:pt x="57" y="1340"/>
                  </a:lnTo>
                  <a:lnTo>
                    <a:pt x="59" y="1339"/>
                  </a:lnTo>
                  <a:lnTo>
                    <a:pt x="59" y="1337"/>
                  </a:lnTo>
                  <a:lnTo>
                    <a:pt x="61" y="1337"/>
                  </a:lnTo>
                  <a:lnTo>
                    <a:pt x="59" y="1337"/>
                  </a:lnTo>
                  <a:lnTo>
                    <a:pt x="59" y="1335"/>
                  </a:lnTo>
                  <a:lnTo>
                    <a:pt x="57" y="1335"/>
                  </a:lnTo>
                  <a:lnTo>
                    <a:pt x="56" y="1333"/>
                  </a:lnTo>
                  <a:lnTo>
                    <a:pt x="54" y="1331"/>
                  </a:lnTo>
                  <a:lnTo>
                    <a:pt x="52" y="1331"/>
                  </a:lnTo>
                  <a:lnTo>
                    <a:pt x="52" y="1329"/>
                  </a:lnTo>
                  <a:lnTo>
                    <a:pt x="52" y="1327"/>
                  </a:lnTo>
                  <a:lnTo>
                    <a:pt x="52" y="1325"/>
                  </a:lnTo>
                  <a:lnTo>
                    <a:pt x="52" y="1323"/>
                  </a:lnTo>
                  <a:lnTo>
                    <a:pt x="52" y="1321"/>
                  </a:lnTo>
                  <a:lnTo>
                    <a:pt x="54" y="1321"/>
                  </a:lnTo>
                  <a:lnTo>
                    <a:pt x="54" y="1319"/>
                  </a:lnTo>
                  <a:lnTo>
                    <a:pt x="56" y="1319"/>
                  </a:lnTo>
                  <a:lnTo>
                    <a:pt x="57" y="1319"/>
                  </a:lnTo>
                  <a:lnTo>
                    <a:pt x="59" y="1317"/>
                  </a:lnTo>
                  <a:lnTo>
                    <a:pt x="61" y="1317"/>
                  </a:lnTo>
                  <a:lnTo>
                    <a:pt x="63" y="1317"/>
                  </a:lnTo>
                  <a:lnTo>
                    <a:pt x="65" y="1319"/>
                  </a:lnTo>
                  <a:lnTo>
                    <a:pt x="67" y="1319"/>
                  </a:lnTo>
                  <a:lnTo>
                    <a:pt x="69" y="1319"/>
                  </a:lnTo>
                  <a:lnTo>
                    <a:pt x="71" y="1319"/>
                  </a:lnTo>
                  <a:lnTo>
                    <a:pt x="73" y="1319"/>
                  </a:lnTo>
                  <a:lnTo>
                    <a:pt x="75" y="1317"/>
                  </a:lnTo>
                  <a:lnTo>
                    <a:pt x="77" y="1317"/>
                  </a:lnTo>
                  <a:lnTo>
                    <a:pt x="77" y="1315"/>
                  </a:lnTo>
                  <a:lnTo>
                    <a:pt x="79" y="1315"/>
                  </a:lnTo>
                  <a:lnTo>
                    <a:pt x="79" y="1314"/>
                  </a:lnTo>
                  <a:lnTo>
                    <a:pt x="81" y="1314"/>
                  </a:lnTo>
                  <a:lnTo>
                    <a:pt x="81" y="1312"/>
                  </a:lnTo>
                  <a:lnTo>
                    <a:pt x="82" y="1310"/>
                  </a:lnTo>
                  <a:lnTo>
                    <a:pt x="82" y="1308"/>
                  </a:lnTo>
                  <a:lnTo>
                    <a:pt x="82" y="1306"/>
                  </a:lnTo>
                  <a:lnTo>
                    <a:pt x="84" y="1304"/>
                  </a:lnTo>
                  <a:lnTo>
                    <a:pt x="84" y="1302"/>
                  </a:lnTo>
                  <a:lnTo>
                    <a:pt x="84" y="1300"/>
                  </a:lnTo>
                  <a:lnTo>
                    <a:pt x="86" y="1300"/>
                  </a:lnTo>
                  <a:lnTo>
                    <a:pt x="88" y="1300"/>
                  </a:lnTo>
                  <a:lnTo>
                    <a:pt x="90" y="1300"/>
                  </a:lnTo>
                  <a:lnTo>
                    <a:pt x="92" y="1300"/>
                  </a:lnTo>
                  <a:lnTo>
                    <a:pt x="92" y="1302"/>
                  </a:lnTo>
                  <a:lnTo>
                    <a:pt x="94" y="1302"/>
                  </a:lnTo>
                  <a:lnTo>
                    <a:pt x="94" y="1300"/>
                  </a:lnTo>
                  <a:lnTo>
                    <a:pt x="96" y="1300"/>
                  </a:lnTo>
                  <a:lnTo>
                    <a:pt x="98" y="1300"/>
                  </a:lnTo>
                  <a:lnTo>
                    <a:pt x="100" y="1300"/>
                  </a:lnTo>
                  <a:lnTo>
                    <a:pt x="102" y="1302"/>
                  </a:lnTo>
                  <a:lnTo>
                    <a:pt x="104" y="1302"/>
                  </a:lnTo>
                  <a:lnTo>
                    <a:pt x="105" y="1302"/>
                  </a:lnTo>
                  <a:lnTo>
                    <a:pt x="107" y="1300"/>
                  </a:lnTo>
                  <a:lnTo>
                    <a:pt x="107" y="1298"/>
                  </a:lnTo>
                  <a:lnTo>
                    <a:pt x="109" y="1298"/>
                  </a:lnTo>
                  <a:lnTo>
                    <a:pt x="109" y="1296"/>
                  </a:lnTo>
                  <a:lnTo>
                    <a:pt x="111" y="1292"/>
                  </a:lnTo>
                  <a:lnTo>
                    <a:pt x="111" y="1291"/>
                  </a:lnTo>
                  <a:lnTo>
                    <a:pt x="109" y="1291"/>
                  </a:lnTo>
                  <a:lnTo>
                    <a:pt x="109" y="1289"/>
                  </a:lnTo>
                  <a:lnTo>
                    <a:pt x="111" y="1289"/>
                  </a:lnTo>
                  <a:lnTo>
                    <a:pt x="111" y="1287"/>
                  </a:lnTo>
                  <a:lnTo>
                    <a:pt x="113" y="1285"/>
                  </a:lnTo>
                  <a:lnTo>
                    <a:pt x="121" y="1273"/>
                  </a:lnTo>
                  <a:lnTo>
                    <a:pt x="123" y="1267"/>
                  </a:lnTo>
                  <a:lnTo>
                    <a:pt x="125" y="1266"/>
                  </a:lnTo>
                  <a:lnTo>
                    <a:pt x="127" y="1267"/>
                  </a:lnTo>
                  <a:lnTo>
                    <a:pt x="129" y="1267"/>
                  </a:lnTo>
                  <a:lnTo>
                    <a:pt x="129" y="1266"/>
                  </a:lnTo>
                  <a:lnTo>
                    <a:pt x="129" y="1264"/>
                  </a:lnTo>
                  <a:lnTo>
                    <a:pt x="129" y="1262"/>
                  </a:lnTo>
                  <a:lnTo>
                    <a:pt x="130" y="1258"/>
                  </a:lnTo>
                  <a:lnTo>
                    <a:pt x="132" y="1254"/>
                  </a:lnTo>
                  <a:lnTo>
                    <a:pt x="134" y="1254"/>
                  </a:lnTo>
                  <a:lnTo>
                    <a:pt x="134" y="1252"/>
                  </a:lnTo>
                  <a:lnTo>
                    <a:pt x="136" y="1250"/>
                  </a:lnTo>
                  <a:lnTo>
                    <a:pt x="140" y="1246"/>
                  </a:lnTo>
                  <a:lnTo>
                    <a:pt x="140" y="1244"/>
                  </a:lnTo>
                  <a:lnTo>
                    <a:pt x="140" y="1242"/>
                  </a:lnTo>
                  <a:lnTo>
                    <a:pt x="140" y="1241"/>
                  </a:lnTo>
                  <a:lnTo>
                    <a:pt x="142" y="1241"/>
                  </a:lnTo>
                  <a:lnTo>
                    <a:pt x="144" y="1241"/>
                  </a:lnTo>
                  <a:lnTo>
                    <a:pt x="144" y="1237"/>
                  </a:lnTo>
                  <a:lnTo>
                    <a:pt x="146" y="1235"/>
                  </a:lnTo>
                  <a:lnTo>
                    <a:pt x="148" y="1231"/>
                  </a:lnTo>
                  <a:lnTo>
                    <a:pt x="150" y="1229"/>
                  </a:lnTo>
                  <a:lnTo>
                    <a:pt x="153" y="1223"/>
                  </a:lnTo>
                  <a:lnTo>
                    <a:pt x="155" y="1223"/>
                  </a:lnTo>
                  <a:lnTo>
                    <a:pt x="157" y="1219"/>
                  </a:lnTo>
                  <a:lnTo>
                    <a:pt x="159" y="1216"/>
                  </a:lnTo>
                  <a:lnTo>
                    <a:pt x="159" y="1214"/>
                  </a:lnTo>
                  <a:lnTo>
                    <a:pt x="159" y="1212"/>
                  </a:lnTo>
                  <a:lnTo>
                    <a:pt x="161" y="1212"/>
                  </a:lnTo>
                  <a:lnTo>
                    <a:pt x="163" y="1208"/>
                  </a:lnTo>
                  <a:lnTo>
                    <a:pt x="165" y="1206"/>
                  </a:lnTo>
                  <a:lnTo>
                    <a:pt x="169" y="1200"/>
                  </a:lnTo>
                  <a:lnTo>
                    <a:pt x="169" y="1196"/>
                  </a:lnTo>
                  <a:lnTo>
                    <a:pt x="171" y="1194"/>
                  </a:lnTo>
                  <a:lnTo>
                    <a:pt x="173" y="1196"/>
                  </a:lnTo>
                  <a:lnTo>
                    <a:pt x="176" y="1200"/>
                  </a:lnTo>
                  <a:lnTo>
                    <a:pt x="178" y="1202"/>
                  </a:lnTo>
                  <a:lnTo>
                    <a:pt x="182" y="1204"/>
                  </a:lnTo>
                  <a:lnTo>
                    <a:pt x="184" y="1206"/>
                  </a:lnTo>
                  <a:lnTo>
                    <a:pt x="186" y="1206"/>
                  </a:lnTo>
                  <a:lnTo>
                    <a:pt x="188" y="1206"/>
                  </a:lnTo>
                  <a:lnTo>
                    <a:pt x="190" y="1208"/>
                  </a:lnTo>
                  <a:lnTo>
                    <a:pt x="192" y="1208"/>
                  </a:lnTo>
                  <a:lnTo>
                    <a:pt x="194" y="1208"/>
                  </a:lnTo>
                  <a:lnTo>
                    <a:pt x="196" y="1208"/>
                  </a:lnTo>
                  <a:lnTo>
                    <a:pt x="198" y="1206"/>
                  </a:lnTo>
                  <a:lnTo>
                    <a:pt x="200" y="1206"/>
                  </a:lnTo>
                  <a:lnTo>
                    <a:pt x="201" y="1206"/>
                  </a:lnTo>
                  <a:lnTo>
                    <a:pt x="203" y="1204"/>
                  </a:lnTo>
                  <a:lnTo>
                    <a:pt x="203" y="1202"/>
                  </a:lnTo>
                  <a:lnTo>
                    <a:pt x="205" y="1202"/>
                  </a:lnTo>
                  <a:lnTo>
                    <a:pt x="207" y="1198"/>
                  </a:lnTo>
                  <a:lnTo>
                    <a:pt x="209" y="1196"/>
                  </a:lnTo>
                  <a:lnTo>
                    <a:pt x="211" y="1191"/>
                  </a:lnTo>
                  <a:lnTo>
                    <a:pt x="213" y="1189"/>
                  </a:lnTo>
                  <a:lnTo>
                    <a:pt x="213" y="1187"/>
                  </a:lnTo>
                  <a:lnTo>
                    <a:pt x="215" y="1187"/>
                  </a:lnTo>
                  <a:lnTo>
                    <a:pt x="215" y="1185"/>
                  </a:lnTo>
                  <a:lnTo>
                    <a:pt x="217" y="1185"/>
                  </a:lnTo>
                  <a:lnTo>
                    <a:pt x="219" y="1183"/>
                  </a:lnTo>
                  <a:lnTo>
                    <a:pt x="221" y="1183"/>
                  </a:lnTo>
                  <a:lnTo>
                    <a:pt x="223" y="1183"/>
                  </a:lnTo>
                  <a:lnTo>
                    <a:pt x="224" y="1183"/>
                  </a:lnTo>
                  <a:lnTo>
                    <a:pt x="226" y="1183"/>
                  </a:lnTo>
                  <a:lnTo>
                    <a:pt x="228" y="1185"/>
                  </a:lnTo>
                  <a:lnTo>
                    <a:pt x="230" y="1185"/>
                  </a:lnTo>
                  <a:lnTo>
                    <a:pt x="234" y="1193"/>
                  </a:lnTo>
                  <a:lnTo>
                    <a:pt x="236" y="1193"/>
                  </a:lnTo>
                  <a:lnTo>
                    <a:pt x="236" y="1194"/>
                  </a:lnTo>
                  <a:lnTo>
                    <a:pt x="238" y="1196"/>
                  </a:lnTo>
                  <a:lnTo>
                    <a:pt x="242" y="1198"/>
                  </a:lnTo>
                  <a:lnTo>
                    <a:pt x="244" y="1200"/>
                  </a:lnTo>
                  <a:lnTo>
                    <a:pt x="248" y="1202"/>
                  </a:lnTo>
                  <a:lnTo>
                    <a:pt x="251" y="1204"/>
                  </a:lnTo>
                  <a:lnTo>
                    <a:pt x="253" y="1206"/>
                  </a:lnTo>
                  <a:lnTo>
                    <a:pt x="255" y="1206"/>
                  </a:lnTo>
                  <a:lnTo>
                    <a:pt x="259" y="1208"/>
                  </a:lnTo>
                  <a:lnTo>
                    <a:pt x="263" y="1208"/>
                  </a:lnTo>
                  <a:lnTo>
                    <a:pt x="265" y="1208"/>
                  </a:lnTo>
                  <a:lnTo>
                    <a:pt x="269" y="1208"/>
                  </a:lnTo>
                  <a:lnTo>
                    <a:pt x="271" y="1210"/>
                  </a:lnTo>
                  <a:lnTo>
                    <a:pt x="272" y="1210"/>
                  </a:lnTo>
                  <a:lnTo>
                    <a:pt x="274" y="1210"/>
                  </a:lnTo>
                  <a:lnTo>
                    <a:pt x="278" y="1212"/>
                  </a:lnTo>
                  <a:lnTo>
                    <a:pt x="282" y="1216"/>
                  </a:lnTo>
                  <a:lnTo>
                    <a:pt x="282" y="1218"/>
                  </a:lnTo>
                  <a:lnTo>
                    <a:pt x="286" y="1219"/>
                  </a:lnTo>
                  <a:lnTo>
                    <a:pt x="288" y="1219"/>
                  </a:lnTo>
                  <a:lnTo>
                    <a:pt x="292" y="1221"/>
                  </a:lnTo>
                  <a:lnTo>
                    <a:pt x="294" y="1219"/>
                  </a:lnTo>
                  <a:lnTo>
                    <a:pt x="295" y="1219"/>
                  </a:lnTo>
                  <a:lnTo>
                    <a:pt x="297" y="1219"/>
                  </a:lnTo>
                  <a:lnTo>
                    <a:pt x="301" y="1218"/>
                  </a:lnTo>
                  <a:lnTo>
                    <a:pt x="303" y="1218"/>
                  </a:lnTo>
                  <a:lnTo>
                    <a:pt x="305" y="1216"/>
                  </a:lnTo>
                  <a:lnTo>
                    <a:pt x="307" y="1214"/>
                  </a:lnTo>
                  <a:lnTo>
                    <a:pt x="309" y="1212"/>
                  </a:lnTo>
                  <a:lnTo>
                    <a:pt x="311" y="1210"/>
                  </a:lnTo>
                  <a:lnTo>
                    <a:pt x="313" y="1206"/>
                  </a:lnTo>
                  <a:lnTo>
                    <a:pt x="315" y="1204"/>
                  </a:lnTo>
                  <a:lnTo>
                    <a:pt x="317" y="1204"/>
                  </a:lnTo>
                  <a:lnTo>
                    <a:pt x="317" y="1202"/>
                  </a:lnTo>
                  <a:lnTo>
                    <a:pt x="319" y="1202"/>
                  </a:lnTo>
                  <a:lnTo>
                    <a:pt x="320" y="1202"/>
                  </a:lnTo>
                  <a:lnTo>
                    <a:pt x="322" y="1200"/>
                  </a:lnTo>
                  <a:lnTo>
                    <a:pt x="324" y="1200"/>
                  </a:lnTo>
                  <a:lnTo>
                    <a:pt x="326" y="1200"/>
                  </a:lnTo>
                  <a:lnTo>
                    <a:pt x="328" y="1200"/>
                  </a:lnTo>
                  <a:lnTo>
                    <a:pt x="330" y="1200"/>
                  </a:lnTo>
                  <a:lnTo>
                    <a:pt x="332" y="1200"/>
                  </a:lnTo>
                  <a:lnTo>
                    <a:pt x="336" y="1202"/>
                  </a:lnTo>
                  <a:lnTo>
                    <a:pt x="340" y="1204"/>
                  </a:lnTo>
                  <a:lnTo>
                    <a:pt x="342" y="1204"/>
                  </a:lnTo>
                  <a:lnTo>
                    <a:pt x="343" y="1204"/>
                  </a:lnTo>
                  <a:lnTo>
                    <a:pt x="345" y="1204"/>
                  </a:lnTo>
                  <a:lnTo>
                    <a:pt x="347" y="1204"/>
                  </a:lnTo>
                  <a:lnTo>
                    <a:pt x="351" y="1202"/>
                  </a:lnTo>
                  <a:lnTo>
                    <a:pt x="353" y="1202"/>
                  </a:lnTo>
                  <a:lnTo>
                    <a:pt x="355" y="1202"/>
                  </a:lnTo>
                  <a:lnTo>
                    <a:pt x="357" y="1200"/>
                  </a:lnTo>
                  <a:lnTo>
                    <a:pt x="361" y="1200"/>
                  </a:lnTo>
                  <a:lnTo>
                    <a:pt x="363" y="1198"/>
                  </a:lnTo>
                  <a:lnTo>
                    <a:pt x="367" y="1198"/>
                  </a:lnTo>
                  <a:lnTo>
                    <a:pt x="368" y="1198"/>
                  </a:lnTo>
                  <a:lnTo>
                    <a:pt x="372" y="1196"/>
                  </a:lnTo>
                  <a:lnTo>
                    <a:pt x="374" y="1196"/>
                  </a:lnTo>
                  <a:lnTo>
                    <a:pt x="376" y="1196"/>
                  </a:lnTo>
                  <a:lnTo>
                    <a:pt x="378" y="1194"/>
                  </a:lnTo>
                  <a:lnTo>
                    <a:pt x="380" y="1194"/>
                  </a:lnTo>
                  <a:lnTo>
                    <a:pt x="382" y="1193"/>
                  </a:lnTo>
                  <a:lnTo>
                    <a:pt x="388" y="1187"/>
                  </a:lnTo>
                  <a:lnTo>
                    <a:pt x="390" y="1185"/>
                  </a:lnTo>
                  <a:lnTo>
                    <a:pt x="391" y="1185"/>
                  </a:lnTo>
                  <a:lnTo>
                    <a:pt x="393" y="1185"/>
                  </a:lnTo>
                  <a:lnTo>
                    <a:pt x="395" y="1183"/>
                  </a:lnTo>
                  <a:lnTo>
                    <a:pt x="397" y="1183"/>
                  </a:lnTo>
                  <a:lnTo>
                    <a:pt x="399" y="1183"/>
                  </a:lnTo>
                  <a:lnTo>
                    <a:pt x="401" y="1185"/>
                  </a:lnTo>
                  <a:lnTo>
                    <a:pt x="403" y="1185"/>
                  </a:lnTo>
                  <a:lnTo>
                    <a:pt x="405" y="1185"/>
                  </a:lnTo>
                  <a:lnTo>
                    <a:pt x="407" y="1187"/>
                  </a:lnTo>
                  <a:lnTo>
                    <a:pt x="409" y="1187"/>
                  </a:lnTo>
                  <a:lnTo>
                    <a:pt x="414" y="1189"/>
                  </a:lnTo>
                  <a:lnTo>
                    <a:pt x="420" y="1189"/>
                  </a:lnTo>
                  <a:lnTo>
                    <a:pt x="422" y="1189"/>
                  </a:lnTo>
                  <a:lnTo>
                    <a:pt x="424" y="1189"/>
                  </a:lnTo>
                  <a:lnTo>
                    <a:pt x="428" y="1189"/>
                  </a:lnTo>
                  <a:lnTo>
                    <a:pt x="432" y="1189"/>
                  </a:lnTo>
                  <a:lnTo>
                    <a:pt x="436" y="1189"/>
                  </a:lnTo>
                  <a:lnTo>
                    <a:pt x="436" y="1191"/>
                  </a:lnTo>
                  <a:lnTo>
                    <a:pt x="438" y="1191"/>
                  </a:lnTo>
                  <a:lnTo>
                    <a:pt x="439" y="1193"/>
                  </a:lnTo>
                  <a:lnTo>
                    <a:pt x="441" y="1193"/>
                  </a:lnTo>
                  <a:lnTo>
                    <a:pt x="443" y="1194"/>
                  </a:lnTo>
                  <a:lnTo>
                    <a:pt x="447" y="1196"/>
                  </a:lnTo>
                  <a:lnTo>
                    <a:pt x="449" y="1198"/>
                  </a:lnTo>
                  <a:lnTo>
                    <a:pt x="451" y="1200"/>
                  </a:lnTo>
                  <a:lnTo>
                    <a:pt x="453" y="1202"/>
                  </a:lnTo>
                  <a:lnTo>
                    <a:pt x="457" y="1204"/>
                  </a:lnTo>
                  <a:lnTo>
                    <a:pt x="457" y="1206"/>
                  </a:lnTo>
                  <a:lnTo>
                    <a:pt x="459" y="1206"/>
                  </a:lnTo>
                  <a:lnTo>
                    <a:pt x="462" y="1208"/>
                  </a:lnTo>
                  <a:lnTo>
                    <a:pt x="464" y="1208"/>
                  </a:lnTo>
                  <a:lnTo>
                    <a:pt x="470" y="1210"/>
                  </a:lnTo>
                  <a:lnTo>
                    <a:pt x="476" y="1212"/>
                  </a:lnTo>
                  <a:lnTo>
                    <a:pt x="478" y="1214"/>
                  </a:lnTo>
                  <a:lnTo>
                    <a:pt x="480" y="1214"/>
                  </a:lnTo>
                  <a:lnTo>
                    <a:pt x="480" y="1216"/>
                  </a:lnTo>
                  <a:lnTo>
                    <a:pt x="482" y="1216"/>
                  </a:lnTo>
                  <a:lnTo>
                    <a:pt x="482" y="1218"/>
                  </a:lnTo>
                  <a:lnTo>
                    <a:pt x="484" y="1218"/>
                  </a:lnTo>
                  <a:lnTo>
                    <a:pt x="484" y="1221"/>
                  </a:lnTo>
                  <a:lnTo>
                    <a:pt x="486" y="1223"/>
                  </a:lnTo>
                  <a:lnTo>
                    <a:pt x="486" y="1225"/>
                  </a:lnTo>
                  <a:lnTo>
                    <a:pt x="487" y="1227"/>
                  </a:lnTo>
                  <a:lnTo>
                    <a:pt x="489" y="1229"/>
                  </a:lnTo>
                  <a:lnTo>
                    <a:pt x="491" y="1229"/>
                  </a:lnTo>
                  <a:lnTo>
                    <a:pt x="493" y="1231"/>
                  </a:lnTo>
                  <a:lnTo>
                    <a:pt x="495" y="1233"/>
                  </a:lnTo>
                  <a:lnTo>
                    <a:pt x="497" y="1233"/>
                  </a:lnTo>
                  <a:lnTo>
                    <a:pt x="497" y="1235"/>
                  </a:lnTo>
                  <a:lnTo>
                    <a:pt x="499" y="1235"/>
                  </a:lnTo>
                  <a:lnTo>
                    <a:pt x="503" y="1235"/>
                  </a:lnTo>
                  <a:lnTo>
                    <a:pt x="510" y="1237"/>
                  </a:lnTo>
                  <a:lnTo>
                    <a:pt x="514" y="1239"/>
                  </a:lnTo>
                  <a:lnTo>
                    <a:pt x="516" y="1239"/>
                  </a:lnTo>
                  <a:lnTo>
                    <a:pt x="520" y="1241"/>
                  </a:lnTo>
                  <a:lnTo>
                    <a:pt x="522" y="1242"/>
                  </a:lnTo>
                  <a:lnTo>
                    <a:pt x="524" y="1242"/>
                  </a:lnTo>
                  <a:lnTo>
                    <a:pt x="526" y="1244"/>
                  </a:lnTo>
                  <a:lnTo>
                    <a:pt x="528" y="1246"/>
                  </a:lnTo>
                  <a:lnTo>
                    <a:pt x="530" y="1248"/>
                  </a:lnTo>
                  <a:lnTo>
                    <a:pt x="532" y="1250"/>
                  </a:lnTo>
                  <a:lnTo>
                    <a:pt x="533" y="1252"/>
                  </a:lnTo>
                  <a:lnTo>
                    <a:pt x="535" y="1252"/>
                  </a:lnTo>
                  <a:lnTo>
                    <a:pt x="537" y="1252"/>
                  </a:lnTo>
                  <a:lnTo>
                    <a:pt x="541" y="1246"/>
                  </a:lnTo>
                  <a:lnTo>
                    <a:pt x="545" y="1244"/>
                  </a:lnTo>
                  <a:lnTo>
                    <a:pt x="547" y="1246"/>
                  </a:lnTo>
                  <a:lnTo>
                    <a:pt x="549" y="1246"/>
                  </a:lnTo>
                  <a:lnTo>
                    <a:pt x="549" y="1241"/>
                  </a:lnTo>
                  <a:lnTo>
                    <a:pt x="551" y="1241"/>
                  </a:lnTo>
                  <a:lnTo>
                    <a:pt x="553" y="1241"/>
                  </a:lnTo>
                  <a:lnTo>
                    <a:pt x="555" y="1241"/>
                  </a:lnTo>
                  <a:lnTo>
                    <a:pt x="555" y="1237"/>
                  </a:lnTo>
                  <a:lnTo>
                    <a:pt x="555" y="1235"/>
                  </a:lnTo>
                  <a:lnTo>
                    <a:pt x="555" y="1233"/>
                  </a:lnTo>
                  <a:lnTo>
                    <a:pt x="553" y="1231"/>
                  </a:lnTo>
                  <a:lnTo>
                    <a:pt x="553" y="1227"/>
                  </a:lnTo>
                  <a:lnTo>
                    <a:pt x="549" y="1221"/>
                  </a:lnTo>
                  <a:lnTo>
                    <a:pt x="549" y="1219"/>
                  </a:lnTo>
                  <a:lnTo>
                    <a:pt x="549" y="1221"/>
                  </a:lnTo>
                  <a:lnTo>
                    <a:pt x="547" y="1221"/>
                  </a:lnTo>
                  <a:lnTo>
                    <a:pt x="549" y="1219"/>
                  </a:lnTo>
                  <a:lnTo>
                    <a:pt x="551" y="1219"/>
                  </a:lnTo>
                  <a:lnTo>
                    <a:pt x="551" y="1218"/>
                  </a:lnTo>
                  <a:lnTo>
                    <a:pt x="555" y="1216"/>
                  </a:lnTo>
                  <a:lnTo>
                    <a:pt x="555" y="1210"/>
                  </a:lnTo>
                  <a:lnTo>
                    <a:pt x="553" y="1208"/>
                  </a:lnTo>
                  <a:lnTo>
                    <a:pt x="553" y="1206"/>
                  </a:lnTo>
                  <a:lnTo>
                    <a:pt x="551" y="1206"/>
                  </a:lnTo>
                  <a:lnTo>
                    <a:pt x="549" y="1202"/>
                  </a:lnTo>
                  <a:lnTo>
                    <a:pt x="549" y="1200"/>
                  </a:lnTo>
                  <a:lnTo>
                    <a:pt x="547" y="1198"/>
                  </a:lnTo>
                  <a:lnTo>
                    <a:pt x="547" y="1194"/>
                  </a:lnTo>
                  <a:lnTo>
                    <a:pt x="547" y="1193"/>
                  </a:lnTo>
                  <a:lnTo>
                    <a:pt x="547" y="1191"/>
                  </a:lnTo>
                  <a:lnTo>
                    <a:pt x="547" y="1189"/>
                  </a:lnTo>
                  <a:lnTo>
                    <a:pt x="547" y="1187"/>
                  </a:lnTo>
                  <a:lnTo>
                    <a:pt x="545" y="1185"/>
                  </a:lnTo>
                  <a:lnTo>
                    <a:pt x="543" y="1183"/>
                  </a:lnTo>
                  <a:lnTo>
                    <a:pt x="543" y="1181"/>
                  </a:lnTo>
                  <a:lnTo>
                    <a:pt x="541" y="1181"/>
                  </a:lnTo>
                  <a:lnTo>
                    <a:pt x="539" y="1181"/>
                  </a:lnTo>
                  <a:lnTo>
                    <a:pt x="537" y="1181"/>
                  </a:lnTo>
                  <a:lnTo>
                    <a:pt x="537" y="1179"/>
                  </a:lnTo>
                  <a:lnTo>
                    <a:pt x="535" y="1177"/>
                  </a:lnTo>
                  <a:lnTo>
                    <a:pt x="533" y="1177"/>
                  </a:lnTo>
                  <a:lnTo>
                    <a:pt x="533" y="1175"/>
                  </a:lnTo>
                  <a:lnTo>
                    <a:pt x="532" y="1175"/>
                  </a:lnTo>
                  <a:lnTo>
                    <a:pt x="532" y="1173"/>
                  </a:lnTo>
                  <a:lnTo>
                    <a:pt x="530" y="1171"/>
                  </a:lnTo>
                  <a:lnTo>
                    <a:pt x="528" y="1171"/>
                  </a:lnTo>
                  <a:lnTo>
                    <a:pt x="528" y="1170"/>
                  </a:lnTo>
                  <a:lnTo>
                    <a:pt x="528" y="1168"/>
                  </a:lnTo>
                  <a:lnTo>
                    <a:pt x="528" y="1166"/>
                  </a:lnTo>
                  <a:lnTo>
                    <a:pt x="528" y="1164"/>
                  </a:lnTo>
                  <a:lnTo>
                    <a:pt x="528" y="1162"/>
                  </a:lnTo>
                  <a:lnTo>
                    <a:pt x="528" y="1160"/>
                  </a:lnTo>
                  <a:lnTo>
                    <a:pt x="526" y="1158"/>
                  </a:lnTo>
                  <a:lnTo>
                    <a:pt x="526" y="1156"/>
                  </a:lnTo>
                  <a:lnTo>
                    <a:pt x="524" y="1156"/>
                  </a:lnTo>
                  <a:lnTo>
                    <a:pt x="524" y="1154"/>
                  </a:lnTo>
                  <a:lnTo>
                    <a:pt x="524" y="1152"/>
                  </a:lnTo>
                  <a:lnTo>
                    <a:pt x="526" y="1152"/>
                  </a:lnTo>
                  <a:lnTo>
                    <a:pt x="524" y="1152"/>
                  </a:lnTo>
                  <a:lnTo>
                    <a:pt x="526" y="1150"/>
                  </a:lnTo>
                  <a:lnTo>
                    <a:pt x="528" y="1150"/>
                  </a:lnTo>
                  <a:lnTo>
                    <a:pt x="528" y="1145"/>
                  </a:lnTo>
                  <a:lnTo>
                    <a:pt x="526" y="1143"/>
                  </a:lnTo>
                  <a:lnTo>
                    <a:pt x="526" y="1141"/>
                  </a:lnTo>
                  <a:lnTo>
                    <a:pt x="526" y="1139"/>
                  </a:lnTo>
                  <a:lnTo>
                    <a:pt x="526" y="1137"/>
                  </a:lnTo>
                  <a:lnTo>
                    <a:pt x="526" y="1135"/>
                  </a:lnTo>
                  <a:lnTo>
                    <a:pt x="526" y="1133"/>
                  </a:lnTo>
                  <a:lnTo>
                    <a:pt x="526" y="1131"/>
                  </a:lnTo>
                  <a:lnTo>
                    <a:pt x="526" y="1127"/>
                  </a:lnTo>
                  <a:lnTo>
                    <a:pt x="528" y="1127"/>
                  </a:lnTo>
                  <a:lnTo>
                    <a:pt x="528" y="1129"/>
                  </a:lnTo>
                  <a:lnTo>
                    <a:pt x="530" y="1127"/>
                  </a:lnTo>
                  <a:lnTo>
                    <a:pt x="530" y="1125"/>
                  </a:lnTo>
                  <a:lnTo>
                    <a:pt x="530" y="1127"/>
                  </a:lnTo>
                  <a:lnTo>
                    <a:pt x="530" y="1125"/>
                  </a:lnTo>
                  <a:lnTo>
                    <a:pt x="530" y="1123"/>
                  </a:lnTo>
                  <a:lnTo>
                    <a:pt x="526" y="1121"/>
                  </a:lnTo>
                  <a:lnTo>
                    <a:pt x="522" y="1120"/>
                  </a:lnTo>
                  <a:lnTo>
                    <a:pt x="518" y="1118"/>
                  </a:lnTo>
                  <a:lnTo>
                    <a:pt x="514" y="1116"/>
                  </a:lnTo>
                  <a:lnTo>
                    <a:pt x="512" y="1116"/>
                  </a:lnTo>
                  <a:lnTo>
                    <a:pt x="510" y="1114"/>
                  </a:lnTo>
                  <a:lnTo>
                    <a:pt x="512" y="1112"/>
                  </a:lnTo>
                  <a:lnTo>
                    <a:pt x="512" y="1110"/>
                  </a:lnTo>
                  <a:lnTo>
                    <a:pt x="512" y="1108"/>
                  </a:lnTo>
                  <a:lnTo>
                    <a:pt x="512" y="1106"/>
                  </a:lnTo>
                  <a:lnTo>
                    <a:pt x="514" y="1106"/>
                  </a:lnTo>
                  <a:lnTo>
                    <a:pt x="514" y="1104"/>
                  </a:lnTo>
                  <a:lnTo>
                    <a:pt x="512" y="1104"/>
                  </a:lnTo>
                  <a:lnTo>
                    <a:pt x="509" y="1102"/>
                  </a:lnTo>
                  <a:lnTo>
                    <a:pt x="505" y="1102"/>
                  </a:lnTo>
                  <a:lnTo>
                    <a:pt x="503" y="1102"/>
                  </a:lnTo>
                  <a:lnTo>
                    <a:pt x="503" y="1100"/>
                  </a:lnTo>
                  <a:lnTo>
                    <a:pt x="503" y="1098"/>
                  </a:lnTo>
                  <a:lnTo>
                    <a:pt x="505" y="1095"/>
                  </a:lnTo>
                  <a:lnTo>
                    <a:pt x="505" y="1093"/>
                  </a:lnTo>
                  <a:lnTo>
                    <a:pt x="505" y="1089"/>
                  </a:lnTo>
                  <a:lnTo>
                    <a:pt x="505" y="1087"/>
                  </a:lnTo>
                  <a:lnTo>
                    <a:pt x="507" y="1085"/>
                  </a:lnTo>
                  <a:lnTo>
                    <a:pt x="507" y="1081"/>
                  </a:lnTo>
                  <a:lnTo>
                    <a:pt x="507" y="1077"/>
                  </a:lnTo>
                  <a:lnTo>
                    <a:pt x="507" y="1075"/>
                  </a:lnTo>
                  <a:lnTo>
                    <a:pt x="507" y="1073"/>
                  </a:lnTo>
                  <a:lnTo>
                    <a:pt x="507" y="1072"/>
                  </a:lnTo>
                  <a:lnTo>
                    <a:pt x="507" y="1070"/>
                  </a:lnTo>
                  <a:lnTo>
                    <a:pt x="509" y="1068"/>
                  </a:lnTo>
                  <a:lnTo>
                    <a:pt x="510" y="1062"/>
                  </a:lnTo>
                  <a:lnTo>
                    <a:pt x="510" y="1060"/>
                  </a:lnTo>
                  <a:lnTo>
                    <a:pt x="509" y="1058"/>
                  </a:lnTo>
                  <a:lnTo>
                    <a:pt x="509" y="1056"/>
                  </a:lnTo>
                  <a:lnTo>
                    <a:pt x="509" y="1052"/>
                  </a:lnTo>
                  <a:lnTo>
                    <a:pt x="507" y="1052"/>
                  </a:lnTo>
                  <a:lnTo>
                    <a:pt x="507" y="1050"/>
                  </a:lnTo>
                  <a:lnTo>
                    <a:pt x="505" y="1050"/>
                  </a:lnTo>
                  <a:lnTo>
                    <a:pt x="507" y="1050"/>
                  </a:lnTo>
                  <a:lnTo>
                    <a:pt x="505" y="1048"/>
                  </a:lnTo>
                  <a:lnTo>
                    <a:pt x="507" y="1048"/>
                  </a:lnTo>
                  <a:lnTo>
                    <a:pt x="505" y="1048"/>
                  </a:lnTo>
                  <a:lnTo>
                    <a:pt x="503" y="1048"/>
                  </a:lnTo>
                  <a:lnTo>
                    <a:pt x="505" y="1047"/>
                  </a:lnTo>
                  <a:lnTo>
                    <a:pt x="505" y="1045"/>
                  </a:lnTo>
                  <a:lnTo>
                    <a:pt x="505" y="1043"/>
                  </a:lnTo>
                  <a:lnTo>
                    <a:pt x="505" y="1041"/>
                  </a:lnTo>
                  <a:lnTo>
                    <a:pt x="505" y="1039"/>
                  </a:lnTo>
                  <a:lnTo>
                    <a:pt x="503" y="1039"/>
                  </a:lnTo>
                  <a:lnTo>
                    <a:pt x="505" y="1039"/>
                  </a:lnTo>
                  <a:lnTo>
                    <a:pt x="505" y="1037"/>
                  </a:lnTo>
                  <a:lnTo>
                    <a:pt x="501" y="1035"/>
                  </a:lnTo>
                  <a:lnTo>
                    <a:pt x="501" y="1033"/>
                  </a:lnTo>
                  <a:lnTo>
                    <a:pt x="503" y="1033"/>
                  </a:lnTo>
                  <a:lnTo>
                    <a:pt x="503" y="1031"/>
                  </a:lnTo>
                  <a:lnTo>
                    <a:pt x="505" y="1031"/>
                  </a:lnTo>
                  <a:lnTo>
                    <a:pt x="505" y="1029"/>
                  </a:lnTo>
                  <a:lnTo>
                    <a:pt x="503" y="1029"/>
                  </a:lnTo>
                  <a:lnTo>
                    <a:pt x="501" y="1022"/>
                  </a:lnTo>
                  <a:lnTo>
                    <a:pt x="501" y="1024"/>
                  </a:lnTo>
                  <a:lnTo>
                    <a:pt x="497" y="1024"/>
                  </a:lnTo>
                  <a:lnTo>
                    <a:pt x="497" y="1025"/>
                  </a:lnTo>
                  <a:lnTo>
                    <a:pt x="497" y="1027"/>
                  </a:lnTo>
                  <a:lnTo>
                    <a:pt x="495" y="1027"/>
                  </a:lnTo>
                  <a:lnTo>
                    <a:pt x="493" y="1024"/>
                  </a:lnTo>
                  <a:lnTo>
                    <a:pt x="486" y="1025"/>
                  </a:lnTo>
                  <a:lnTo>
                    <a:pt x="486" y="1029"/>
                  </a:lnTo>
                  <a:lnTo>
                    <a:pt x="487" y="1029"/>
                  </a:lnTo>
                  <a:lnTo>
                    <a:pt x="489" y="1031"/>
                  </a:lnTo>
                  <a:lnTo>
                    <a:pt x="491" y="1033"/>
                  </a:lnTo>
                  <a:lnTo>
                    <a:pt x="491" y="1035"/>
                  </a:lnTo>
                  <a:lnTo>
                    <a:pt x="487" y="1039"/>
                  </a:lnTo>
                  <a:lnTo>
                    <a:pt x="489" y="1039"/>
                  </a:lnTo>
                  <a:lnTo>
                    <a:pt x="489" y="1045"/>
                  </a:lnTo>
                  <a:lnTo>
                    <a:pt x="487" y="1045"/>
                  </a:lnTo>
                  <a:lnTo>
                    <a:pt x="484" y="1043"/>
                  </a:lnTo>
                  <a:lnTo>
                    <a:pt x="480" y="1050"/>
                  </a:lnTo>
                  <a:lnTo>
                    <a:pt x="484" y="1052"/>
                  </a:lnTo>
                  <a:lnTo>
                    <a:pt x="484" y="1054"/>
                  </a:lnTo>
                  <a:lnTo>
                    <a:pt x="482" y="1054"/>
                  </a:lnTo>
                  <a:lnTo>
                    <a:pt x="480" y="1056"/>
                  </a:lnTo>
                  <a:lnTo>
                    <a:pt x="478" y="1056"/>
                  </a:lnTo>
                  <a:lnTo>
                    <a:pt x="478" y="1058"/>
                  </a:lnTo>
                  <a:lnTo>
                    <a:pt x="476" y="1058"/>
                  </a:lnTo>
                  <a:lnTo>
                    <a:pt x="476" y="1060"/>
                  </a:lnTo>
                  <a:lnTo>
                    <a:pt x="474" y="1060"/>
                  </a:lnTo>
                  <a:lnTo>
                    <a:pt x="474" y="1058"/>
                  </a:lnTo>
                  <a:lnTo>
                    <a:pt x="474" y="1060"/>
                  </a:lnTo>
                  <a:lnTo>
                    <a:pt x="474" y="1058"/>
                  </a:lnTo>
                  <a:lnTo>
                    <a:pt x="472" y="1058"/>
                  </a:lnTo>
                  <a:lnTo>
                    <a:pt x="470" y="1058"/>
                  </a:lnTo>
                  <a:lnTo>
                    <a:pt x="468" y="1058"/>
                  </a:lnTo>
                  <a:lnTo>
                    <a:pt x="466" y="1058"/>
                  </a:lnTo>
                  <a:lnTo>
                    <a:pt x="464" y="1058"/>
                  </a:lnTo>
                  <a:lnTo>
                    <a:pt x="464" y="1060"/>
                  </a:lnTo>
                  <a:lnTo>
                    <a:pt x="462" y="1060"/>
                  </a:lnTo>
                  <a:lnTo>
                    <a:pt x="461" y="1060"/>
                  </a:lnTo>
                  <a:lnTo>
                    <a:pt x="461" y="1062"/>
                  </a:lnTo>
                  <a:lnTo>
                    <a:pt x="459" y="1064"/>
                  </a:lnTo>
                  <a:lnTo>
                    <a:pt x="459" y="1066"/>
                  </a:lnTo>
                  <a:lnTo>
                    <a:pt x="457" y="1064"/>
                  </a:lnTo>
                  <a:lnTo>
                    <a:pt x="457" y="1066"/>
                  </a:lnTo>
                  <a:lnTo>
                    <a:pt x="455" y="1068"/>
                  </a:lnTo>
                  <a:lnTo>
                    <a:pt x="453" y="1068"/>
                  </a:lnTo>
                  <a:lnTo>
                    <a:pt x="451" y="1068"/>
                  </a:lnTo>
                  <a:lnTo>
                    <a:pt x="451" y="1066"/>
                  </a:lnTo>
                  <a:lnTo>
                    <a:pt x="449" y="1066"/>
                  </a:lnTo>
                  <a:lnTo>
                    <a:pt x="447" y="1068"/>
                  </a:lnTo>
                  <a:lnTo>
                    <a:pt x="445" y="1068"/>
                  </a:lnTo>
                  <a:lnTo>
                    <a:pt x="443" y="1068"/>
                  </a:lnTo>
                  <a:lnTo>
                    <a:pt x="441" y="1070"/>
                  </a:lnTo>
                  <a:lnTo>
                    <a:pt x="439" y="1068"/>
                  </a:lnTo>
                  <a:lnTo>
                    <a:pt x="438" y="1066"/>
                  </a:lnTo>
                  <a:lnTo>
                    <a:pt x="436" y="1066"/>
                  </a:lnTo>
                  <a:lnTo>
                    <a:pt x="436" y="1064"/>
                  </a:lnTo>
                  <a:lnTo>
                    <a:pt x="434" y="1064"/>
                  </a:lnTo>
                  <a:lnTo>
                    <a:pt x="432" y="1062"/>
                  </a:lnTo>
                  <a:lnTo>
                    <a:pt x="430" y="1060"/>
                  </a:lnTo>
                  <a:lnTo>
                    <a:pt x="428" y="1060"/>
                  </a:lnTo>
                  <a:lnTo>
                    <a:pt x="426" y="1060"/>
                  </a:lnTo>
                  <a:lnTo>
                    <a:pt x="426" y="1058"/>
                  </a:lnTo>
                  <a:lnTo>
                    <a:pt x="426" y="1056"/>
                  </a:lnTo>
                  <a:lnTo>
                    <a:pt x="422" y="1054"/>
                  </a:lnTo>
                  <a:lnTo>
                    <a:pt x="420" y="1052"/>
                  </a:lnTo>
                  <a:lnTo>
                    <a:pt x="422" y="1052"/>
                  </a:lnTo>
                  <a:lnTo>
                    <a:pt x="422" y="1050"/>
                  </a:lnTo>
                  <a:lnTo>
                    <a:pt x="424" y="1048"/>
                  </a:lnTo>
                  <a:lnTo>
                    <a:pt x="426" y="1048"/>
                  </a:lnTo>
                  <a:lnTo>
                    <a:pt x="428" y="1047"/>
                  </a:lnTo>
                  <a:lnTo>
                    <a:pt x="428" y="1045"/>
                  </a:lnTo>
                  <a:lnTo>
                    <a:pt x="430" y="1045"/>
                  </a:lnTo>
                  <a:lnTo>
                    <a:pt x="432" y="1043"/>
                  </a:lnTo>
                  <a:lnTo>
                    <a:pt x="432" y="1041"/>
                  </a:lnTo>
                  <a:lnTo>
                    <a:pt x="434" y="1041"/>
                  </a:lnTo>
                  <a:lnTo>
                    <a:pt x="436" y="1039"/>
                  </a:lnTo>
                  <a:lnTo>
                    <a:pt x="438" y="1039"/>
                  </a:lnTo>
                  <a:lnTo>
                    <a:pt x="439" y="1037"/>
                  </a:lnTo>
                  <a:lnTo>
                    <a:pt x="443" y="1037"/>
                  </a:lnTo>
                  <a:lnTo>
                    <a:pt x="445" y="1035"/>
                  </a:lnTo>
                  <a:lnTo>
                    <a:pt x="445" y="1033"/>
                  </a:lnTo>
                  <a:lnTo>
                    <a:pt x="445" y="1031"/>
                  </a:lnTo>
                  <a:lnTo>
                    <a:pt x="445" y="1027"/>
                  </a:lnTo>
                  <a:lnTo>
                    <a:pt x="445" y="1025"/>
                  </a:lnTo>
                  <a:lnTo>
                    <a:pt x="445" y="1022"/>
                  </a:lnTo>
                  <a:lnTo>
                    <a:pt x="445" y="1020"/>
                  </a:lnTo>
                  <a:lnTo>
                    <a:pt x="447" y="1016"/>
                  </a:lnTo>
                  <a:lnTo>
                    <a:pt x="449" y="1016"/>
                  </a:lnTo>
                  <a:lnTo>
                    <a:pt x="453" y="1012"/>
                  </a:lnTo>
                  <a:lnTo>
                    <a:pt x="453" y="1010"/>
                  </a:lnTo>
                  <a:lnTo>
                    <a:pt x="453" y="1008"/>
                  </a:lnTo>
                  <a:lnTo>
                    <a:pt x="451" y="1008"/>
                  </a:lnTo>
                  <a:lnTo>
                    <a:pt x="453" y="1006"/>
                  </a:lnTo>
                  <a:lnTo>
                    <a:pt x="451" y="1006"/>
                  </a:lnTo>
                  <a:lnTo>
                    <a:pt x="449" y="1006"/>
                  </a:lnTo>
                  <a:lnTo>
                    <a:pt x="447" y="1004"/>
                  </a:lnTo>
                  <a:lnTo>
                    <a:pt x="449" y="1004"/>
                  </a:lnTo>
                  <a:lnTo>
                    <a:pt x="451" y="1004"/>
                  </a:lnTo>
                  <a:lnTo>
                    <a:pt x="453" y="1004"/>
                  </a:lnTo>
                  <a:lnTo>
                    <a:pt x="455" y="1006"/>
                  </a:lnTo>
                  <a:lnTo>
                    <a:pt x="457" y="1004"/>
                  </a:lnTo>
                  <a:lnTo>
                    <a:pt x="459" y="1004"/>
                  </a:lnTo>
                  <a:lnTo>
                    <a:pt x="461" y="1006"/>
                  </a:lnTo>
                  <a:lnTo>
                    <a:pt x="462" y="1008"/>
                  </a:lnTo>
                  <a:lnTo>
                    <a:pt x="464" y="1008"/>
                  </a:lnTo>
                  <a:lnTo>
                    <a:pt x="466" y="1008"/>
                  </a:lnTo>
                  <a:lnTo>
                    <a:pt x="466" y="1006"/>
                  </a:lnTo>
                  <a:lnTo>
                    <a:pt x="464" y="1006"/>
                  </a:lnTo>
                  <a:lnTo>
                    <a:pt x="464" y="1004"/>
                  </a:lnTo>
                  <a:lnTo>
                    <a:pt x="462" y="1004"/>
                  </a:lnTo>
                  <a:lnTo>
                    <a:pt x="462" y="1002"/>
                  </a:lnTo>
                  <a:lnTo>
                    <a:pt x="464" y="1000"/>
                  </a:lnTo>
                  <a:lnTo>
                    <a:pt x="462" y="1000"/>
                  </a:lnTo>
                  <a:lnTo>
                    <a:pt x="461" y="1000"/>
                  </a:lnTo>
                  <a:lnTo>
                    <a:pt x="459" y="1000"/>
                  </a:lnTo>
                  <a:lnTo>
                    <a:pt x="457" y="1000"/>
                  </a:lnTo>
                  <a:lnTo>
                    <a:pt x="457" y="999"/>
                  </a:lnTo>
                  <a:lnTo>
                    <a:pt x="457" y="997"/>
                  </a:lnTo>
                  <a:lnTo>
                    <a:pt x="455" y="997"/>
                  </a:lnTo>
                  <a:lnTo>
                    <a:pt x="455" y="993"/>
                  </a:lnTo>
                  <a:lnTo>
                    <a:pt x="457" y="993"/>
                  </a:lnTo>
                  <a:lnTo>
                    <a:pt x="459" y="989"/>
                  </a:lnTo>
                  <a:lnTo>
                    <a:pt x="459" y="987"/>
                  </a:lnTo>
                  <a:lnTo>
                    <a:pt x="459" y="985"/>
                  </a:lnTo>
                  <a:lnTo>
                    <a:pt x="461" y="985"/>
                  </a:lnTo>
                  <a:lnTo>
                    <a:pt x="459" y="985"/>
                  </a:lnTo>
                  <a:lnTo>
                    <a:pt x="461" y="985"/>
                  </a:lnTo>
                  <a:lnTo>
                    <a:pt x="462" y="985"/>
                  </a:lnTo>
                  <a:lnTo>
                    <a:pt x="464" y="985"/>
                  </a:lnTo>
                  <a:lnTo>
                    <a:pt x="466" y="985"/>
                  </a:lnTo>
                  <a:lnTo>
                    <a:pt x="466" y="983"/>
                  </a:lnTo>
                  <a:lnTo>
                    <a:pt x="466" y="985"/>
                  </a:lnTo>
                  <a:lnTo>
                    <a:pt x="466" y="983"/>
                  </a:lnTo>
                  <a:lnTo>
                    <a:pt x="468" y="983"/>
                  </a:lnTo>
                  <a:lnTo>
                    <a:pt x="470" y="983"/>
                  </a:lnTo>
                  <a:lnTo>
                    <a:pt x="470" y="981"/>
                  </a:lnTo>
                  <a:lnTo>
                    <a:pt x="472" y="979"/>
                  </a:lnTo>
                  <a:lnTo>
                    <a:pt x="472" y="977"/>
                  </a:lnTo>
                  <a:lnTo>
                    <a:pt x="472" y="976"/>
                  </a:lnTo>
                  <a:lnTo>
                    <a:pt x="470" y="976"/>
                  </a:lnTo>
                  <a:lnTo>
                    <a:pt x="468" y="974"/>
                  </a:lnTo>
                  <a:lnTo>
                    <a:pt x="464" y="974"/>
                  </a:lnTo>
                  <a:lnTo>
                    <a:pt x="464" y="972"/>
                  </a:lnTo>
                  <a:lnTo>
                    <a:pt x="462" y="972"/>
                  </a:lnTo>
                  <a:lnTo>
                    <a:pt x="461" y="970"/>
                  </a:lnTo>
                  <a:lnTo>
                    <a:pt x="459" y="970"/>
                  </a:lnTo>
                  <a:lnTo>
                    <a:pt x="461" y="968"/>
                  </a:lnTo>
                  <a:lnTo>
                    <a:pt x="461" y="966"/>
                  </a:lnTo>
                  <a:lnTo>
                    <a:pt x="461" y="964"/>
                  </a:lnTo>
                  <a:lnTo>
                    <a:pt x="461" y="962"/>
                  </a:lnTo>
                  <a:lnTo>
                    <a:pt x="459" y="962"/>
                  </a:lnTo>
                  <a:lnTo>
                    <a:pt x="459" y="960"/>
                  </a:lnTo>
                  <a:lnTo>
                    <a:pt x="457" y="960"/>
                  </a:lnTo>
                  <a:lnTo>
                    <a:pt x="453" y="960"/>
                  </a:lnTo>
                  <a:lnTo>
                    <a:pt x="449" y="958"/>
                  </a:lnTo>
                  <a:lnTo>
                    <a:pt x="447" y="956"/>
                  </a:lnTo>
                  <a:lnTo>
                    <a:pt x="445" y="956"/>
                  </a:lnTo>
                  <a:lnTo>
                    <a:pt x="447" y="954"/>
                  </a:lnTo>
                  <a:lnTo>
                    <a:pt x="447" y="952"/>
                  </a:lnTo>
                  <a:lnTo>
                    <a:pt x="447" y="951"/>
                  </a:lnTo>
                  <a:lnTo>
                    <a:pt x="449" y="951"/>
                  </a:lnTo>
                  <a:lnTo>
                    <a:pt x="449" y="949"/>
                  </a:lnTo>
                  <a:lnTo>
                    <a:pt x="449" y="947"/>
                  </a:lnTo>
                  <a:lnTo>
                    <a:pt x="449" y="945"/>
                  </a:lnTo>
                  <a:lnTo>
                    <a:pt x="447" y="945"/>
                  </a:lnTo>
                  <a:lnTo>
                    <a:pt x="447" y="943"/>
                  </a:lnTo>
                  <a:lnTo>
                    <a:pt x="445" y="941"/>
                  </a:lnTo>
                  <a:lnTo>
                    <a:pt x="441" y="939"/>
                  </a:lnTo>
                  <a:lnTo>
                    <a:pt x="439" y="939"/>
                  </a:lnTo>
                  <a:lnTo>
                    <a:pt x="441" y="937"/>
                  </a:lnTo>
                  <a:lnTo>
                    <a:pt x="439" y="937"/>
                  </a:lnTo>
                  <a:lnTo>
                    <a:pt x="441" y="937"/>
                  </a:lnTo>
                  <a:lnTo>
                    <a:pt x="439" y="937"/>
                  </a:lnTo>
                  <a:lnTo>
                    <a:pt x="441" y="937"/>
                  </a:lnTo>
                  <a:lnTo>
                    <a:pt x="443" y="935"/>
                  </a:lnTo>
                  <a:lnTo>
                    <a:pt x="443" y="937"/>
                  </a:lnTo>
                  <a:lnTo>
                    <a:pt x="445" y="937"/>
                  </a:lnTo>
                  <a:lnTo>
                    <a:pt x="445" y="935"/>
                  </a:lnTo>
                  <a:lnTo>
                    <a:pt x="447" y="935"/>
                  </a:lnTo>
                  <a:lnTo>
                    <a:pt x="443" y="933"/>
                  </a:lnTo>
                  <a:lnTo>
                    <a:pt x="438" y="933"/>
                  </a:lnTo>
                  <a:lnTo>
                    <a:pt x="434" y="933"/>
                  </a:lnTo>
                  <a:lnTo>
                    <a:pt x="432" y="931"/>
                  </a:lnTo>
                  <a:lnTo>
                    <a:pt x="428" y="931"/>
                  </a:lnTo>
                  <a:lnTo>
                    <a:pt x="424" y="931"/>
                  </a:lnTo>
                  <a:lnTo>
                    <a:pt x="420" y="929"/>
                  </a:lnTo>
                  <a:lnTo>
                    <a:pt x="418" y="929"/>
                  </a:lnTo>
                  <a:lnTo>
                    <a:pt x="416" y="929"/>
                  </a:lnTo>
                  <a:lnTo>
                    <a:pt x="414" y="927"/>
                  </a:lnTo>
                  <a:lnTo>
                    <a:pt x="413" y="926"/>
                  </a:lnTo>
                  <a:lnTo>
                    <a:pt x="413" y="924"/>
                  </a:lnTo>
                  <a:lnTo>
                    <a:pt x="413" y="922"/>
                  </a:lnTo>
                  <a:lnTo>
                    <a:pt x="413" y="920"/>
                  </a:lnTo>
                  <a:lnTo>
                    <a:pt x="413" y="910"/>
                  </a:lnTo>
                  <a:lnTo>
                    <a:pt x="413" y="906"/>
                  </a:lnTo>
                  <a:lnTo>
                    <a:pt x="413" y="904"/>
                  </a:lnTo>
                  <a:lnTo>
                    <a:pt x="414" y="901"/>
                  </a:lnTo>
                  <a:lnTo>
                    <a:pt x="414" y="899"/>
                  </a:lnTo>
                  <a:lnTo>
                    <a:pt x="414" y="897"/>
                  </a:lnTo>
                  <a:lnTo>
                    <a:pt x="414" y="893"/>
                  </a:lnTo>
                  <a:lnTo>
                    <a:pt x="414" y="891"/>
                  </a:lnTo>
                  <a:lnTo>
                    <a:pt x="414" y="889"/>
                  </a:lnTo>
                  <a:lnTo>
                    <a:pt x="414" y="887"/>
                  </a:lnTo>
                  <a:lnTo>
                    <a:pt x="414" y="883"/>
                  </a:lnTo>
                  <a:lnTo>
                    <a:pt x="414" y="881"/>
                  </a:lnTo>
                  <a:lnTo>
                    <a:pt x="416" y="879"/>
                  </a:lnTo>
                  <a:lnTo>
                    <a:pt x="416" y="878"/>
                  </a:lnTo>
                  <a:lnTo>
                    <a:pt x="416" y="876"/>
                  </a:lnTo>
                  <a:lnTo>
                    <a:pt x="414" y="876"/>
                  </a:lnTo>
                  <a:lnTo>
                    <a:pt x="414" y="878"/>
                  </a:lnTo>
                  <a:lnTo>
                    <a:pt x="413" y="876"/>
                  </a:lnTo>
                  <a:lnTo>
                    <a:pt x="413" y="878"/>
                  </a:lnTo>
                  <a:lnTo>
                    <a:pt x="411" y="876"/>
                  </a:lnTo>
                  <a:lnTo>
                    <a:pt x="409" y="874"/>
                  </a:lnTo>
                  <a:lnTo>
                    <a:pt x="407" y="872"/>
                  </a:lnTo>
                  <a:lnTo>
                    <a:pt x="405" y="870"/>
                  </a:lnTo>
                  <a:lnTo>
                    <a:pt x="403" y="868"/>
                  </a:lnTo>
                  <a:lnTo>
                    <a:pt x="401" y="866"/>
                  </a:lnTo>
                  <a:lnTo>
                    <a:pt x="399" y="864"/>
                  </a:lnTo>
                  <a:lnTo>
                    <a:pt x="397" y="862"/>
                  </a:lnTo>
                  <a:lnTo>
                    <a:pt x="391" y="858"/>
                  </a:lnTo>
                  <a:lnTo>
                    <a:pt x="391" y="856"/>
                  </a:lnTo>
                  <a:lnTo>
                    <a:pt x="390" y="858"/>
                  </a:lnTo>
                  <a:lnTo>
                    <a:pt x="388" y="864"/>
                  </a:lnTo>
                  <a:lnTo>
                    <a:pt x="386" y="862"/>
                  </a:lnTo>
                  <a:lnTo>
                    <a:pt x="382" y="858"/>
                  </a:lnTo>
                  <a:lnTo>
                    <a:pt x="378" y="854"/>
                  </a:lnTo>
                  <a:lnTo>
                    <a:pt x="376" y="853"/>
                  </a:lnTo>
                  <a:lnTo>
                    <a:pt x="378" y="851"/>
                  </a:lnTo>
                  <a:lnTo>
                    <a:pt x="378" y="849"/>
                  </a:lnTo>
                  <a:lnTo>
                    <a:pt x="378" y="847"/>
                  </a:lnTo>
                  <a:lnTo>
                    <a:pt x="380" y="845"/>
                  </a:lnTo>
                  <a:lnTo>
                    <a:pt x="380" y="843"/>
                  </a:lnTo>
                  <a:lnTo>
                    <a:pt x="380" y="841"/>
                  </a:lnTo>
                  <a:lnTo>
                    <a:pt x="380" y="839"/>
                  </a:lnTo>
                  <a:lnTo>
                    <a:pt x="382" y="837"/>
                  </a:lnTo>
                  <a:lnTo>
                    <a:pt x="382" y="833"/>
                  </a:lnTo>
                  <a:lnTo>
                    <a:pt x="384" y="830"/>
                  </a:lnTo>
                  <a:lnTo>
                    <a:pt x="386" y="826"/>
                  </a:lnTo>
                  <a:lnTo>
                    <a:pt x="386" y="824"/>
                  </a:lnTo>
                  <a:lnTo>
                    <a:pt x="388" y="818"/>
                  </a:lnTo>
                  <a:lnTo>
                    <a:pt x="390" y="816"/>
                  </a:lnTo>
                  <a:lnTo>
                    <a:pt x="390" y="818"/>
                  </a:lnTo>
                  <a:lnTo>
                    <a:pt x="391" y="818"/>
                  </a:lnTo>
                  <a:lnTo>
                    <a:pt x="393" y="818"/>
                  </a:lnTo>
                  <a:lnTo>
                    <a:pt x="395" y="818"/>
                  </a:lnTo>
                  <a:lnTo>
                    <a:pt x="397" y="820"/>
                  </a:lnTo>
                  <a:lnTo>
                    <a:pt x="399" y="820"/>
                  </a:lnTo>
                  <a:lnTo>
                    <a:pt x="399" y="818"/>
                  </a:lnTo>
                  <a:lnTo>
                    <a:pt x="401" y="818"/>
                  </a:lnTo>
                  <a:lnTo>
                    <a:pt x="407" y="814"/>
                  </a:lnTo>
                  <a:lnTo>
                    <a:pt x="409" y="814"/>
                  </a:lnTo>
                  <a:lnTo>
                    <a:pt x="411" y="814"/>
                  </a:lnTo>
                  <a:lnTo>
                    <a:pt x="413" y="814"/>
                  </a:lnTo>
                  <a:lnTo>
                    <a:pt x="413" y="812"/>
                  </a:lnTo>
                  <a:lnTo>
                    <a:pt x="414" y="810"/>
                  </a:lnTo>
                  <a:lnTo>
                    <a:pt x="416" y="810"/>
                  </a:lnTo>
                  <a:lnTo>
                    <a:pt x="418" y="810"/>
                  </a:lnTo>
                  <a:lnTo>
                    <a:pt x="424" y="810"/>
                  </a:lnTo>
                  <a:lnTo>
                    <a:pt x="430" y="810"/>
                  </a:lnTo>
                  <a:lnTo>
                    <a:pt x="432" y="810"/>
                  </a:lnTo>
                  <a:lnTo>
                    <a:pt x="434" y="810"/>
                  </a:lnTo>
                  <a:lnTo>
                    <a:pt x="434" y="808"/>
                  </a:lnTo>
                  <a:lnTo>
                    <a:pt x="436" y="810"/>
                  </a:lnTo>
                  <a:lnTo>
                    <a:pt x="436" y="808"/>
                  </a:lnTo>
                  <a:lnTo>
                    <a:pt x="438" y="808"/>
                  </a:lnTo>
                  <a:lnTo>
                    <a:pt x="439" y="808"/>
                  </a:lnTo>
                  <a:lnTo>
                    <a:pt x="439" y="806"/>
                  </a:lnTo>
                  <a:lnTo>
                    <a:pt x="439" y="805"/>
                  </a:lnTo>
                  <a:lnTo>
                    <a:pt x="441" y="805"/>
                  </a:lnTo>
                  <a:lnTo>
                    <a:pt x="441" y="803"/>
                  </a:lnTo>
                  <a:lnTo>
                    <a:pt x="439" y="803"/>
                  </a:lnTo>
                  <a:lnTo>
                    <a:pt x="441" y="803"/>
                  </a:lnTo>
                  <a:lnTo>
                    <a:pt x="443" y="803"/>
                  </a:lnTo>
                  <a:lnTo>
                    <a:pt x="443" y="805"/>
                  </a:lnTo>
                  <a:lnTo>
                    <a:pt x="443" y="803"/>
                  </a:lnTo>
                  <a:lnTo>
                    <a:pt x="443" y="805"/>
                  </a:lnTo>
                  <a:lnTo>
                    <a:pt x="447" y="803"/>
                  </a:lnTo>
                  <a:lnTo>
                    <a:pt x="445" y="803"/>
                  </a:lnTo>
                  <a:lnTo>
                    <a:pt x="447" y="803"/>
                  </a:lnTo>
                  <a:lnTo>
                    <a:pt x="447" y="801"/>
                  </a:lnTo>
                  <a:lnTo>
                    <a:pt x="445" y="801"/>
                  </a:lnTo>
                  <a:lnTo>
                    <a:pt x="447" y="801"/>
                  </a:lnTo>
                  <a:lnTo>
                    <a:pt x="447" y="799"/>
                  </a:lnTo>
                  <a:lnTo>
                    <a:pt x="449" y="799"/>
                  </a:lnTo>
                  <a:lnTo>
                    <a:pt x="449" y="801"/>
                  </a:lnTo>
                  <a:lnTo>
                    <a:pt x="447" y="801"/>
                  </a:lnTo>
                  <a:lnTo>
                    <a:pt x="449" y="805"/>
                  </a:lnTo>
                  <a:lnTo>
                    <a:pt x="449" y="806"/>
                  </a:lnTo>
                  <a:lnTo>
                    <a:pt x="453" y="806"/>
                  </a:lnTo>
                  <a:lnTo>
                    <a:pt x="455" y="805"/>
                  </a:lnTo>
                  <a:lnTo>
                    <a:pt x="461" y="801"/>
                  </a:lnTo>
                  <a:lnTo>
                    <a:pt x="462" y="801"/>
                  </a:lnTo>
                  <a:lnTo>
                    <a:pt x="462" y="799"/>
                  </a:lnTo>
                  <a:lnTo>
                    <a:pt x="464" y="799"/>
                  </a:lnTo>
                  <a:lnTo>
                    <a:pt x="466" y="799"/>
                  </a:lnTo>
                  <a:lnTo>
                    <a:pt x="468" y="799"/>
                  </a:lnTo>
                  <a:lnTo>
                    <a:pt x="470" y="799"/>
                  </a:lnTo>
                  <a:lnTo>
                    <a:pt x="472" y="799"/>
                  </a:lnTo>
                  <a:lnTo>
                    <a:pt x="472" y="797"/>
                  </a:lnTo>
                  <a:lnTo>
                    <a:pt x="474" y="797"/>
                  </a:lnTo>
                  <a:lnTo>
                    <a:pt x="478" y="797"/>
                  </a:lnTo>
                  <a:lnTo>
                    <a:pt x="480" y="799"/>
                  </a:lnTo>
                  <a:lnTo>
                    <a:pt x="484" y="799"/>
                  </a:lnTo>
                  <a:lnTo>
                    <a:pt x="493" y="799"/>
                  </a:lnTo>
                  <a:lnTo>
                    <a:pt x="493" y="801"/>
                  </a:lnTo>
                  <a:lnTo>
                    <a:pt x="495" y="801"/>
                  </a:lnTo>
                  <a:lnTo>
                    <a:pt x="497" y="799"/>
                  </a:lnTo>
                  <a:lnTo>
                    <a:pt x="495" y="799"/>
                  </a:lnTo>
                  <a:lnTo>
                    <a:pt x="493" y="797"/>
                  </a:lnTo>
                  <a:lnTo>
                    <a:pt x="491" y="797"/>
                  </a:lnTo>
                  <a:lnTo>
                    <a:pt x="493" y="797"/>
                  </a:lnTo>
                  <a:lnTo>
                    <a:pt x="493" y="795"/>
                  </a:lnTo>
                  <a:lnTo>
                    <a:pt x="491" y="795"/>
                  </a:lnTo>
                  <a:lnTo>
                    <a:pt x="489" y="795"/>
                  </a:lnTo>
                  <a:lnTo>
                    <a:pt x="487" y="797"/>
                  </a:lnTo>
                  <a:lnTo>
                    <a:pt x="486" y="797"/>
                  </a:lnTo>
                  <a:lnTo>
                    <a:pt x="484" y="797"/>
                  </a:lnTo>
                  <a:lnTo>
                    <a:pt x="482" y="797"/>
                  </a:lnTo>
                  <a:lnTo>
                    <a:pt x="480" y="797"/>
                  </a:lnTo>
                  <a:lnTo>
                    <a:pt x="478" y="797"/>
                  </a:lnTo>
                  <a:lnTo>
                    <a:pt x="476" y="797"/>
                  </a:lnTo>
                  <a:lnTo>
                    <a:pt x="474" y="797"/>
                  </a:lnTo>
                  <a:lnTo>
                    <a:pt x="472" y="797"/>
                  </a:lnTo>
                  <a:lnTo>
                    <a:pt x="470" y="797"/>
                  </a:lnTo>
                  <a:lnTo>
                    <a:pt x="468" y="797"/>
                  </a:lnTo>
                  <a:lnTo>
                    <a:pt x="468" y="799"/>
                  </a:lnTo>
                  <a:lnTo>
                    <a:pt x="468" y="797"/>
                  </a:lnTo>
                  <a:lnTo>
                    <a:pt x="466" y="799"/>
                  </a:lnTo>
                  <a:lnTo>
                    <a:pt x="462" y="799"/>
                  </a:lnTo>
                  <a:lnTo>
                    <a:pt x="461" y="799"/>
                  </a:lnTo>
                  <a:lnTo>
                    <a:pt x="459" y="799"/>
                  </a:lnTo>
                  <a:lnTo>
                    <a:pt x="459" y="801"/>
                  </a:lnTo>
                  <a:lnTo>
                    <a:pt x="457" y="801"/>
                  </a:lnTo>
                  <a:lnTo>
                    <a:pt x="455" y="801"/>
                  </a:lnTo>
                  <a:lnTo>
                    <a:pt x="457" y="801"/>
                  </a:lnTo>
                  <a:lnTo>
                    <a:pt x="453" y="803"/>
                  </a:lnTo>
                  <a:lnTo>
                    <a:pt x="457" y="801"/>
                  </a:lnTo>
                  <a:lnTo>
                    <a:pt x="461" y="799"/>
                  </a:lnTo>
                  <a:lnTo>
                    <a:pt x="462" y="799"/>
                  </a:lnTo>
                  <a:lnTo>
                    <a:pt x="466" y="799"/>
                  </a:lnTo>
                  <a:lnTo>
                    <a:pt x="466" y="797"/>
                  </a:lnTo>
                  <a:lnTo>
                    <a:pt x="468" y="797"/>
                  </a:lnTo>
                  <a:lnTo>
                    <a:pt x="470" y="797"/>
                  </a:lnTo>
                  <a:lnTo>
                    <a:pt x="472" y="797"/>
                  </a:lnTo>
                  <a:lnTo>
                    <a:pt x="474" y="797"/>
                  </a:lnTo>
                  <a:lnTo>
                    <a:pt x="478" y="797"/>
                  </a:lnTo>
                  <a:lnTo>
                    <a:pt x="480" y="797"/>
                  </a:lnTo>
                  <a:lnTo>
                    <a:pt x="487" y="795"/>
                  </a:lnTo>
                  <a:lnTo>
                    <a:pt x="487" y="797"/>
                  </a:lnTo>
                  <a:lnTo>
                    <a:pt x="487" y="795"/>
                  </a:lnTo>
                  <a:lnTo>
                    <a:pt x="489" y="795"/>
                  </a:lnTo>
                  <a:lnTo>
                    <a:pt x="491" y="795"/>
                  </a:lnTo>
                  <a:lnTo>
                    <a:pt x="493" y="795"/>
                  </a:lnTo>
                  <a:lnTo>
                    <a:pt x="493" y="797"/>
                  </a:lnTo>
                  <a:lnTo>
                    <a:pt x="495" y="799"/>
                  </a:lnTo>
                  <a:lnTo>
                    <a:pt x="497" y="799"/>
                  </a:lnTo>
                  <a:lnTo>
                    <a:pt x="497" y="797"/>
                  </a:lnTo>
                  <a:lnTo>
                    <a:pt x="499" y="797"/>
                  </a:lnTo>
                  <a:lnTo>
                    <a:pt x="497" y="797"/>
                  </a:lnTo>
                  <a:lnTo>
                    <a:pt x="499" y="797"/>
                  </a:lnTo>
                  <a:lnTo>
                    <a:pt x="499" y="795"/>
                  </a:lnTo>
                  <a:lnTo>
                    <a:pt x="499" y="793"/>
                  </a:lnTo>
                  <a:lnTo>
                    <a:pt x="499" y="789"/>
                  </a:lnTo>
                  <a:lnTo>
                    <a:pt x="499" y="791"/>
                  </a:lnTo>
                  <a:lnTo>
                    <a:pt x="499" y="793"/>
                  </a:lnTo>
                  <a:lnTo>
                    <a:pt x="501" y="793"/>
                  </a:lnTo>
                  <a:lnTo>
                    <a:pt x="503" y="791"/>
                  </a:lnTo>
                  <a:lnTo>
                    <a:pt x="501" y="789"/>
                  </a:lnTo>
                  <a:lnTo>
                    <a:pt x="499" y="789"/>
                  </a:lnTo>
                  <a:lnTo>
                    <a:pt x="501" y="789"/>
                  </a:lnTo>
                  <a:lnTo>
                    <a:pt x="503" y="789"/>
                  </a:lnTo>
                  <a:lnTo>
                    <a:pt x="505" y="789"/>
                  </a:lnTo>
                  <a:lnTo>
                    <a:pt x="505" y="787"/>
                  </a:lnTo>
                  <a:lnTo>
                    <a:pt x="505" y="785"/>
                  </a:lnTo>
                  <a:lnTo>
                    <a:pt x="507" y="785"/>
                  </a:lnTo>
                  <a:lnTo>
                    <a:pt x="507" y="783"/>
                  </a:lnTo>
                  <a:lnTo>
                    <a:pt x="507" y="781"/>
                  </a:lnTo>
                  <a:lnTo>
                    <a:pt x="509" y="781"/>
                  </a:lnTo>
                  <a:lnTo>
                    <a:pt x="509" y="780"/>
                  </a:lnTo>
                  <a:lnTo>
                    <a:pt x="509" y="778"/>
                  </a:lnTo>
                  <a:lnTo>
                    <a:pt x="509" y="780"/>
                  </a:lnTo>
                  <a:lnTo>
                    <a:pt x="509" y="778"/>
                  </a:lnTo>
                  <a:lnTo>
                    <a:pt x="510" y="778"/>
                  </a:lnTo>
                  <a:lnTo>
                    <a:pt x="510" y="776"/>
                  </a:lnTo>
                  <a:lnTo>
                    <a:pt x="510" y="774"/>
                  </a:lnTo>
                  <a:lnTo>
                    <a:pt x="509" y="774"/>
                  </a:lnTo>
                  <a:lnTo>
                    <a:pt x="510" y="774"/>
                  </a:lnTo>
                  <a:lnTo>
                    <a:pt x="510" y="772"/>
                  </a:lnTo>
                  <a:lnTo>
                    <a:pt x="510" y="774"/>
                  </a:lnTo>
                  <a:lnTo>
                    <a:pt x="510" y="772"/>
                  </a:lnTo>
                  <a:lnTo>
                    <a:pt x="510" y="770"/>
                  </a:lnTo>
                  <a:lnTo>
                    <a:pt x="512" y="772"/>
                  </a:lnTo>
                  <a:lnTo>
                    <a:pt x="512" y="770"/>
                  </a:lnTo>
                  <a:lnTo>
                    <a:pt x="512" y="768"/>
                  </a:lnTo>
                  <a:lnTo>
                    <a:pt x="514" y="766"/>
                  </a:lnTo>
                  <a:lnTo>
                    <a:pt x="514" y="764"/>
                  </a:lnTo>
                  <a:lnTo>
                    <a:pt x="514" y="762"/>
                  </a:lnTo>
                  <a:lnTo>
                    <a:pt x="516" y="762"/>
                  </a:lnTo>
                  <a:lnTo>
                    <a:pt x="516" y="760"/>
                  </a:lnTo>
                  <a:lnTo>
                    <a:pt x="516" y="758"/>
                  </a:lnTo>
                  <a:lnTo>
                    <a:pt x="518" y="757"/>
                  </a:lnTo>
                  <a:lnTo>
                    <a:pt x="518" y="755"/>
                  </a:lnTo>
                  <a:lnTo>
                    <a:pt x="518" y="753"/>
                  </a:lnTo>
                  <a:lnTo>
                    <a:pt x="520" y="753"/>
                  </a:lnTo>
                  <a:lnTo>
                    <a:pt x="520" y="751"/>
                  </a:lnTo>
                  <a:lnTo>
                    <a:pt x="520" y="749"/>
                  </a:lnTo>
                  <a:lnTo>
                    <a:pt x="522" y="747"/>
                  </a:lnTo>
                  <a:lnTo>
                    <a:pt x="522" y="745"/>
                  </a:lnTo>
                  <a:lnTo>
                    <a:pt x="522" y="743"/>
                  </a:lnTo>
                  <a:lnTo>
                    <a:pt x="524" y="743"/>
                  </a:lnTo>
                  <a:lnTo>
                    <a:pt x="522" y="743"/>
                  </a:lnTo>
                  <a:lnTo>
                    <a:pt x="524" y="743"/>
                  </a:lnTo>
                  <a:lnTo>
                    <a:pt x="524" y="741"/>
                  </a:lnTo>
                  <a:lnTo>
                    <a:pt x="526" y="739"/>
                  </a:lnTo>
                  <a:lnTo>
                    <a:pt x="524" y="739"/>
                  </a:lnTo>
                  <a:lnTo>
                    <a:pt x="526" y="739"/>
                  </a:lnTo>
                  <a:lnTo>
                    <a:pt x="526" y="737"/>
                  </a:lnTo>
                  <a:lnTo>
                    <a:pt x="526" y="735"/>
                  </a:lnTo>
                  <a:lnTo>
                    <a:pt x="528" y="735"/>
                  </a:lnTo>
                  <a:lnTo>
                    <a:pt x="528" y="733"/>
                  </a:lnTo>
                  <a:lnTo>
                    <a:pt x="526" y="732"/>
                  </a:lnTo>
                  <a:lnTo>
                    <a:pt x="528" y="732"/>
                  </a:lnTo>
                  <a:lnTo>
                    <a:pt x="526" y="732"/>
                  </a:lnTo>
                  <a:lnTo>
                    <a:pt x="528" y="732"/>
                  </a:lnTo>
                  <a:lnTo>
                    <a:pt x="528" y="730"/>
                  </a:lnTo>
                  <a:lnTo>
                    <a:pt x="528" y="728"/>
                  </a:lnTo>
                  <a:lnTo>
                    <a:pt x="528" y="726"/>
                  </a:lnTo>
                  <a:lnTo>
                    <a:pt x="530" y="726"/>
                  </a:lnTo>
                  <a:lnTo>
                    <a:pt x="528" y="728"/>
                  </a:lnTo>
                  <a:lnTo>
                    <a:pt x="528" y="730"/>
                  </a:lnTo>
                  <a:lnTo>
                    <a:pt x="530" y="730"/>
                  </a:lnTo>
                  <a:lnTo>
                    <a:pt x="532" y="728"/>
                  </a:lnTo>
                  <a:lnTo>
                    <a:pt x="532" y="726"/>
                  </a:lnTo>
                  <a:lnTo>
                    <a:pt x="532" y="728"/>
                  </a:lnTo>
                  <a:lnTo>
                    <a:pt x="530" y="726"/>
                  </a:lnTo>
                  <a:lnTo>
                    <a:pt x="532" y="726"/>
                  </a:lnTo>
                  <a:lnTo>
                    <a:pt x="533" y="726"/>
                  </a:lnTo>
                  <a:lnTo>
                    <a:pt x="532" y="726"/>
                  </a:lnTo>
                  <a:lnTo>
                    <a:pt x="530" y="726"/>
                  </a:lnTo>
                  <a:lnTo>
                    <a:pt x="532" y="724"/>
                  </a:lnTo>
                  <a:lnTo>
                    <a:pt x="533" y="724"/>
                  </a:lnTo>
                  <a:lnTo>
                    <a:pt x="533" y="726"/>
                  </a:lnTo>
                  <a:lnTo>
                    <a:pt x="535" y="724"/>
                  </a:lnTo>
                  <a:lnTo>
                    <a:pt x="533" y="724"/>
                  </a:lnTo>
                  <a:lnTo>
                    <a:pt x="535" y="724"/>
                  </a:lnTo>
                  <a:lnTo>
                    <a:pt x="535" y="722"/>
                  </a:lnTo>
                  <a:lnTo>
                    <a:pt x="535" y="720"/>
                  </a:lnTo>
                  <a:lnTo>
                    <a:pt x="537" y="720"/>
                  </a:lnTo>
                  <a:lnTo>
                    <a:pt x="537" y="718"/>
                  </a:lnTo>
                  <a:lnTo>
                    <a:pt x="539" y="718"/>
                  </a:lnTo>
                  <a:lnTo>
                    <a:pt x="539" y="716"/>
                  </a:lnTo>
                  <a:lnTo>
                    <a:pt x="541" y="716"/>
                  </a:lnTo>
                  <a:lnTo>
                    <a:pt x="541" y="714"/>
                  </a:lnTo>
                  <a:lnTo>
                    <a:pt x="543" y="714"/>
                  </a:lnTo>
                  <a:lnTo>
                    <a:pt x="545" y="712"/>
                  </a:lnTo>
                  <a:lnTo>
                    <a:pt x="547" y="710"/>
                  </a:lnTo>
                  <a:lnTo>
                    <a:pt x="549" y="710"/>
                  </a:lnTo>
                  <a:lnTo>
                    <a:pt x="549" y="709"/>
                  </a:lnTo>
                  <a:lnTo>
                    <a:pt x="551" y="709"/>
                  </a:lnTo>
                  <a:lnTo>
                    <a:pt x="553" y="709"/>
                  </a:lnTo>
                  <a:lnTo>
                    <a:pt x="555" y="709"/>
                  </a:lnTo>
                  <a:lnTo>
                    <a:pt x="555" y="707"/>
                  </a:lnTo>
                  <a:lnTo>
                    <a:pt x="557" y="705"/>
                  </a:lnTo>
                  <a:lnTo>
                    <a:pt x="558" y="705"/>
                  </a:lnTo>
                  <a:lnTo>
                    <a:pt x="558" y="703"/>
                  </a:lnTo>
                  <a:lnTo>
                    <a:pt x="560" y="705"/>
                  </a:lnTo>
                  <a:lnTo>
                    <a:pt x="560" y="703"/>
                  </a:lnTo>
                  <a:lnTo>
                    <a:pt x="562" y="701"/>
                  </a:lnTo>
                  <a:lnTo>
                    <a:pt x="564" y="701"/>
                  </a:lnTo>
                  <a:lnTo>
                    <a:pt x="564" y="699"/>
                  </a:lnTo>
                  <a:lnTo>
                    <a:pt x="564" y="701"/>
                  </a:lnTo>
                  <a:lnTo>
                    <a:pt x="564" y="699"/>
                  </a:lnTo>
                  <a:lnTo>
                    <a:pt x="566" y="699"/>
                  </a:lnTo>
                  <a:lnTo>
                    <a:pt x="566" y="697"/>
                  </a:lnTo>
                  <a:lnTo>
                    <a:pt x="568" y="697"/>
                  </a:lnTo>
                  <a:lnTo>
                    <a:pt x="568" y="695"/>
                  </a:lnTo>
                  <a:lnTo>
                    <a:pt x="570" y="695"/>
                  </a:lnTo>
                  <a:lnTo>
                    <a:pt x="570" y="693"/>
                  </a:lnTo>
                  <a:lnTo>
                    <a:pt x="572" y="693"/>
                  </a:lnTo>
                  <a:lnTo>
                    <a:pt x="572" y="691"/>
                  </a:lnTo>
                  <a:lnTo>
                    <a:pt x="574" y="691"/>
                  </a:lnTo>
                  <a:lnTo>
                    <a:pt x="574" y="689"/>
                  </a:lnTo>
                  <a:lnTo>
                    <a:pt x="576" y="689"/>
                  </a:lnTo>
                  <a:lnTo>
                    <a:pt x="576" y="687"/>
                  </a:lnTo>
                  <a:lnTo>
                    <a:pt x="576" y="685"/>
                  </a:lnTo>
                  <a:lnTo>
                    <a:pt x="576" y="684"/>
                  </a:lnTo>
                  <a:lnTo>
                    <a:pt x="578" y="684"/>
                  </a:lnTo>
                  <a:lnTo>
                    <a:pt x="576" y="682"/>
                  </a:lnTo>
                  <a:lnTo>
                    <a:pt x="578" y="682"/>
                  </a:lnTo>
                  <a:lnTo>
                    <a:pt x="578" y="684"/>
                  </a:lnTo>
                  <a:lnTo>
                    <a:pt x="578" y="682"/>
                  </a:lnTo>
                  <a:lnTo>
                    <a:pt x="576" y="682"/>
                  </a:lnTo>
                  <a:lnTo>
                    <a:pt x="578" y="680"/>
                  </a:lnTo>
                  <a:lnTo>
                    <a:pt x="578" y="678"/>
                  </a:lnTo>
                  <a:lnTo>
                    <a:pt x="578" y="674"/>
                  </a:lnTo>
                  <a:lnTo>
                    <a:pt x="576" y="672"/>
                  </a:lnTo>
                  <a:lnTo>
                    <a:pt x="578" y="672"/>
                  </a:lnTo>
                  <a:lnTo>
                    <a:pt x="578" y="674"/>
                  </a:lnTo>
                  <a:lnTo>
                    <a:pt x="580" y="676"/>
                  </a:lnTo>
                  <a:lnTo>
                    <a:pt x="581" y="678"/>
                  </a:lnTo>
                  <a:lnTo>
                    <a:pt x="583" y="678"/>
                  </a:lnTo>
                  <a:lnTo>
                    <a:pt x="581" y="680"/>
                  </a:lnTo>
                  <a:lnTo>
                    <a:pt x="583" y="680"/>
                  </a:lnTo>
                  <a:lnTo>
                    <a:pt x="583" y="682"/>
                  </a:lnTo>
                  <a:lnTo>
                    <a:pt x="585" y="682"/>
                  </a:lnTo>
                  <a:lnTo>
                    <a:pt x="585" y="684"/>
                  </a:lnTo>
                  <a:lnTo>
                    <a:pt x="585" y="682"/>
                  </a:lnTo>
                  <a:lnTo>
                    <a:pt x="583" y="680"/>
                  </a:lnTo>
                  <a:lnTo>
                    <a:pt x="583" y="678"/>
                  </a:lnTo>
                  <a:lnTo>
                    <a:pt x="585" y="676"/>
                  </a:lnTo>
                  <a:lnTo>
                    <a:pt x="585" y="678"/>
                  </a:lnTo>
                  <a:lnTo>
                    <a:pt x="587" y="680"/>
                  </a:lnTo>
                  <a:lnTo>
                    <a:pt x="589" y="680"/>
                  </a:lnTo>
                  <a:lnTo>
                    <a:pt x="587" y="678"/>
                  </a:lnTo>
                  <a:lnTo>
                    <a:pt x="585" y="676"/>
                  </a:lnTo>
                  <a:lnTo>
                    <a:pt x="583" y="676"/>
                  </a:lnTo>
                  <a:lnTo>
                    <a:pt x="581" y="676"/>
                  </a:lnTo>
                  <a:lnTo>
                    <a:pt x="580" y="676"/>
                  </a:lnTo>
                  <a:lnTo>
                    <a:pt x="580" y="674"/>
                  </a:lnTo>
                  <a:lnTo>
                    <a:pt x="581" y="672"/>
                  </a:lnTo>
                  <a:lnTo>
                    <a:pt x="583" y="672"/>
                  </a:lnTo>
                  <a:lnTo>
                    <a:pt x="581" y="672"/>
                  </a:lnTo>
                  <a:lnTo>
                    <a:pt x="581" y="670"/>
                  </a:lnTo>
                  <a:lnTo>
                    <a:pt x="581" y="672"/>
                  </a:lnTo>
                  <a:lnTo>
                    <a:pt x="580" y="672"/>
                  </a:lnTo>
                  <a:lnTo>
                    <a:pt x="580" y="674"/>
                  </a:lnTo>
                  <a:lnTo>
                    <a:pt x="578" y="674"/>
                  </a:lnTo>
                  <a:lnTo>
                    <a:pt x="578" y="672"/>
                  </a:lnTo>
                  <a:lnTo>
                    <a:pt x="580" y="670"/>
                  </a:lnTo>
                  <a:lnTo>
                    <a:pt x="581" y="670"/>
                  </a:lnTo>
                  <a:lnTo>
                    <a:pt x="581" y="668"/>
                  </a:lnTo>
                  <a:lnTo>
                    <a:pt x="580" y="670"/>
                  </a:lnTo>
                  <a:lnTo>
                    <a:pt x="580" y="668"/>
                  </a:lnTo>
                  <a:lnTo>
                    <a:pt x="578" y="666"/>
                  </a:lnTo>
                  <a:lnTo>
                    <a:pt x="576" y="664"/>
                  </a:lnTo>
                  <a:lnTo>
                    <a:pt x="574" y="664"/>
                  </a:lnTo>
                  <a:lnTo>
                    <a:pt x="574" y="662"/>
                  </a:lnTo>
                  <a:lnTo>
                    <a:pt x="572" y="662"/>
                  </a:lnTo>
                  <a:lnTo>
                    <a:pt x="570" y="662"/>
                  </a:lnTo>
                  <a:lnTo>
                    <a:pt x="568" y="662"/>
                  </a:lnTo>
                  <a:lnTo>
                    <a:pt x="566" y="662"/>
                  </a:lnTo>
                  <a:lnTo>
                    <a:pt x="557" y="664"/>
                  </a:lnTo>
                  <a:lnTo>
                    <a:pt x="555" y="664"/>
                  </a:lnTo>
                  <a:lnTo>
                    <a:pt x="553" y="664"/>
                  </a:lnTo>
                  <a:lnTo>
                    <a:pt x="551" y="664"/>
                  </a:lnTo>
                  <a:lnTo>
                    <a:pt x="549" y="662"/>
                  </a:lnTo>
                  <a:lnTo>
                    <a:pt x="537" y="659"/>
                  </a:lnTo>
                  <a:lnTo>
                    <a:pt x="535" y="657"/>
                  </a:lnTo>
                  <a:lnTo>
                    <a:pt x="530" y="662"/>
                  </a:lnTo>
                  <a:lnTo>
                    <a:pt x="516" y="676"/>
                  </a:lnTo>
                  <a:lnTo>
                    <a:pt x="514" y="678"/>
                  </a:lnTo>
                  <a:lnTo>
                    <a:pt x="512" y="680"/>
                  </a:lnTo>
                  <a:lnTo>
                    <a:pt x="512" y="682"/>
                  </a:lnTo>
                  <a:lnTo>
                    <a:pt x="510" y="682"/>
                  </a:lnTo>
                  <a:lnTo>
                    <a:pt x="510" y="684"/>
                  </a:lnTo>
                  <a:lnTo>
                    <a:pt x="510" y="685"/>
                  </a:lnTo>
                  <a:lnTo>
                    <a:pt x="512" y="687"/>
                  </a:lnTo>
                  <a:lnTo>
                    <a:pt x="512" y="689"/>
                  </a:lnTo>
                  <a:lnTo>
                    <a:pt x="514" y="697"/>
                  </a:lnTo>
                  <a:lnTo>
                    <a:pt x="514" y="699"/>
                  </a:lnTo>
                  <a:lnTo>
                    <a:pt x="516" y="701"/>
                  </a:lnTo>
                  <a:lnTo>
                    <a:pt x="520" y="701"/>
                  </a:lnTo>
                  <a:lnTo>
                    <a:pt x="524" y="703"/>
                  </a:lnTo>
                  <a:lnTo>
                    <a:pt x="522" y="707"/>
                  </a:lnTo>
                  <a:lnTo>
                    <a:pt x="522" y="705"/>
                  </a:lnTo>
                  <a:lnTo>
                    <a:pt x="520" y="705"/>
                  </a:lnTo>
                  <a:lnTo>
                    <a:pt x="522" y="705"/>
                  </a:lnTo>
                  <a:lnTo>
                    <a:pt x="522" y="703"/>
                  </a:lnTo>
                  <a:lnTo>
                    <a:pt x="520" y="703"/>
                  </a:lnTo>
                  <a:lnTo>
                    <a:pt x="520" y="705"/>
                  </a:lnTo>
                  <a:lnTo>
                    <a:pt x="520" y="703"/>
                  </a:lnTo>
                  <a:lnTo>
                    <a:pt x="520" y="701"/>
                  </a:lnTo>
                  <a:lnTo>
                    <a:pt x="520" y="703"/>
                  </a:lnTo>
                  <a:lnTo>
                    <a:pt x="518" y="703"/>
                  </a:lnTo>
                  <a:lnTo>
                    <a:pt x="516" y="703"/>
                  </a:lnTo>
                  <a:lnTo>
                    <a:pt x="516" y="705"/>
                  </a:lnTo>
                  <a:lnTo>
                    <a:pt x="518" y="705"/>
                  </a:lnTo>
                  <a:lnTo>
                    <a:pt x="516" y="705"/>
                  </a:lnTo>
                  <a:lnTo>
                    <a:pt x="516" y="707"/>
                  </a:lnTo>
                  <a:lnTo>
                    <a:pt x="518" y="707"/>
                  </a:lnTo>
                  <a:lnTo>
                    <a:pt x="518" y="705"/>
                  </a:lnTo>
                  <a:lnTo>
                    <a:pt x="520" y="707"/>
                  </a:lnTo>
                  <a:lnTo>
                    <a:pt x="518" y="707"/>
                  </a:lnTo>
                  <a:lnTo>
                    <a:pt x="516" y="707"/>
                  </a:lnTo>
                  <a:lnTo>
                    <a:pt x="518" y="707"/>
                  </a:lnTo>
                  <a:lnTo>
                    <a:pt x="516" y="707"/>
                  </a:lnTo>
                  <a:lnTo>
                    <a:pt x="518" y="709"/>
                  </a:lnTo>
                  <a:lnTo>
                    <a:pt x="520" y="709"/>
                  </a:lnTo>
                  <a:lnTo>
                    <a:pt x="520" y="707"/>
                  </a:lnTo>
                  <a:lnTo>
                    <a:pt x="522" y="707"/>
                  </a:lnTo>
                  <a:lnTo>
                    <a:pt x="520" y="709"/>
                  </a:lnTo>
                  <a:lnTo>
                    <a:pt x="520" y="710"/>
                  </a:lnTo>
                  <a:lnTo>
                    <a:pt x="518" y="710"/>
                  </a:lnTo>
                  <a:lnTo>
                    <a:pt x="518" y="712"/>
                  </a:lnTo>
                  <a:lnTo>
                    <a:pt x="520" y="714"/>
                  </a:lnTo>
                  <a:lnTo>
                    <a:pt x="520" y="716"/>
                  </a:lnTo>
                  <a:lnTo>
                    <a:pt x="520" y="718"/>
                  </a:lnTo>
                  <a:lnTo>
                    <a:pt x="522" y="718"/>
                  </a:lnTo>
                  <a:lnTo>
                    <a:pt x="522" y="720"/>
                  </a:lnTo>
                  <a:lnTo>
                    <a:pt x="520" y="720"/>
                  </a:lnTo>
                  <a:lnTo>
                    <a:pt x="522" y="720"/>
                  </a:lnTo>
                  <a:lnTo>
                    <a:pt x="522" y="722"/>
                  </a:lnTo>
                  <a:lnTo>
                    <a:pt x="522" y="724"/>
                  </a:lnTo>
                  <a:lnTo>
                    <a:pt x="520" y="724"/>
                  </a:lnTo>
                  <a:lnTo>
                    <a:pt x="520" y="726"/>
                  </a:lnTo>
                  <a:lnTo>
                    <a:pt x="518" y="728"/>
                  </a:lnTo>
                  <a:lnTo>
                    <a:pt x="518" y="730"/>
                  </a:lnTo>
                  <a:lnTo>
                    <a:pt x="518" y="732"/>
                  </a:lnTo>
                  <a:lnTo>
                    <a:pt x="518" y="733"/>
                  </a:lnTo>
                  <a:lnTo>
                    <a:pt x="516" y="733"/>
                  </a:lnTo>
                  <a:lnTo>
                    <a:pt x="516" y="735"/>
                  </a:lnTo>
                  <a:lnTo>
                    <a:pt x="518" y="735"/>
                  </a:lnTo>
                  <a:lnTo>
                    <a:pt x="518" y="733"/>
                  </a:lnTo>
                  <a:lnTo>
                    <a:pt x="518" y="735"/>
                  </a:lnTo>
                  <a:lnTo>
                    <a:pt x="516" y="735"/>
                  </a:lnTo>
                  <a:lnTo>
                    <a:pt x="516" y="737"/>
                  </a:lnTo>
                  <a:lnTo>
                    <a:pt x="514" y="737"/>
                  </a:lnTo>
                  <a:lnTo>
                    <a:pt x="514" y="739"/>
                  </a:lnTo>
                  <a:lnTo>
                    <a:pt x="514" y="741"/>
                  </a:lnTo>
                  <a:lnTo>
                    <a:pt x="514" y="743"/>
                  </a:lnTo>
                  <a:lnTo>
                    <a:pt x="512" y="745"/>
                  </a:lnTo>
                  <a:lnTo>
                    <a:pt x="512" y="747"/>
                  </a:lnTo>
                  <a:lnTo>
                    <a:pt x="512" y="749"/>
                  </a:lnTo>
                  <a:lnTo>
                    <a:pt x="512" y="751"/>
                  </a:lnTo>
                  <a:lnTo>
                    <a:pt x="510" y="751"/>
                  </a:lnTo>
                  <a:lnTo>
                    <a:pt x="510" y="753"/>
                  </a:lnTo>
                  <a:lnTo>
                    <a:pt x="509" y="753"/>
                  </a:lnTo>
                  <a:lnTo>
                    <a:pt x="509" y="755"/>
                  </a:lnTo>
                  <a:lnTo>
                    <a:pt x="509" y="757"/>
                  </a:lnTo>
                  <a:lnTo>
                    <a:pt x="507" y="758"/>
                  </a:lnTo>
                  <a:lnTo>
                    <a:pt x="507" y="760"/>
                  </a:lnTo>
                  <a:lnTo>
                    <a:pt x="509" y="762"/>
                  </a:lnTo>
                  <a:lnTo>
                    <a:pt x="507" y="762"/>
                  </a:lnTo>
                  <a:lnTo>
                    <a:pt x="507" y="764"/>
                  </a:lnTo>
                  <a:lnTo>
                    <a:pt x="507" y="762"/>
                  </a:lnTo>
                  <a:lnTo>
                    <a:pt x="507" y="760"/>
                  </a:lnTo>
                  <a:lnTo>
                    <a:pt x="507" y="762"/>
                  </a:lnTo>
                  <a:lnTo>
                    <a:pt x="507" y="760"/>
                  </a:lnTo>
                  <a:lnTo>
                    <a:pt x="507" y="762"/>
                  </a:lnTo>
                  <a:lnTo>
                    <a:pt x="505" y="762"/>
                  </a:lnTo>
                  <a:lnTo>
                    <a:pt x="505" y="764"/>
                  </a:lnTo>
                  <a:lnTo>
                    <a:pt x="507" y="764"/>
                  </a:lnTo>
                  <a:lnTo>
                    <a:pt x="505" y="764"/>
                  </a:lnTo>
                  <a:lnTo>
                    <a:pt x="505" y="766"/>
                  </a:lnTo>
                  <a:lnTo>
                    <a:pt x="503" y="766"/>
                  </a:lnTo>
                  <a:lnTo>
                    <a:pt x="503" y="768"/>
                  </a:lnTo>
                  <a:lnTo>
                    <a:pt x="503" y="770"/>
                  </a:lnTo>
                  <a:lnTo>
                    <a:pt x="503" y="772"/>
                  </a:lnTo>
                  <a:lnTo>
                    <a:pt x="501" y="772"/>
                  </a:lnTo>
                  <a:lnTo>
                    <a:pt x="501" y="774"/>
                  </a:lnTo>
                  <a:lnTo>
                    <a:pt x="501" y="776"/>
                  </a:lnTo>
                  <a:lnTo>
                    <a:pt x="499" y="778"/>
                  </a:lnTo>
                  <a:lnTo>
                    <a:pt x="499" y="780"/>
                  </a:lnTo>
                  <a:lnTo>
                    <a:pt x="499" y="781"/>
                  </a:lnTo>
                  <a:lnTo>
                    <a:pt x="499" y="783"/>
                  </a:lnTo>
                  <a:lnTo>
                    <a:pt x="497" y="783"/>
                  </a:lnTo>
                  <a:lnTo>
                    <a:pt x="497" y="785"/>
                  </a:lnTo>
                  <a:lnTo>
                    <a:pt x="495" y="785"/>
                  </a:lnTo>
                  <a:lnTo>
                    <a:pt x="495" y="787"/>
                  </a:lnTo>
                  <a:lnTo>
                    <a:pt x="493" y="785"/>
                  </a:lnTo>
                  <a:lnTo>
                    <a:pt x="491" y="785"/>
                  </a:lnTo>
                  <a:lnTo>
                    <a:pt x="491" y="787"/>
                  </a:lnTo>
                  <a:lnTo>
                    <a:pt x="489" y="787"/>
                  </a:lnTo>
                  <a:lnTo>
                    <a:pt x="487" y="787"/>
                  </a:lnTo>
                  <a:lnTo>
                    <a:pt x="486" y="787"/>
                  </a:lnTo>
                  <a:lnTo>
                    <a:pt x="484" y="789"/>
                  </a:lnTo>
                  <a:lnTo>
                    <a:pt x="482" y="789"/>
                  </a:lnTo>
                  <a:lnTo>
                    <a:pt x="480" y="789"/>
                  </a:lnTo>
                  <a:lnTo>
                    <a:pt x="478" y="789"/>
                  </a:lnTo>
                  <a:lnTo>
                    <a:pt x="476" y="789"/>
                  </a:lnTo>
                  <a:lnTo>
                    <a:pt x="476" y="791"/>
                  </a:lnTo>
                  <a:lnTo>
                    <a:pt x="474" y="789"/>
                  </a:lnTo>
                  <a:lnTo>
                    <a:pt x="474" y="791"/>
                  </a:lnTo>
                  <a:lnTo>
                    <a:pt x="472" y="791"/>
                  </a:lnTo>
                  <a:lnTo>
                    <a:pt x="470" y="791"/>
                  </a:lnTo>
                  <a:lnTo>
                    <a:pt x="468" y="791"/>
                  </a:lnTo>
                  <a:lnTo>
                    <a:pt x="468" y="793"/>
                  </a:lnTo>
                  <a:lnTo>
                    <a:pt x="466" y="791"/>
                  </a:lnTo>
                  <a:lnTo>
                    <a:pt x="466" y="793"/>
                  </a:lnTo>
                  <a:lnTo>
                    <a:pt x="464" y="793"/>
                  </a:lnTo>
                  <a:lnTo>
                    <a:pt x="462" y="793"/>
                  </a:lnTo>
                  <a:lnTo>
                    <a:pt x="462" y="795"/>
                  </a:lnTo>
                  <a:lnTo>
                    <a:pt x="462" y="793"/>
                  </a:lnTo>
                  <a:lnTo>
                    <a:pt x="461" y="793"/>
                  </a:lnTo>
                  <a:lnTo>
                    <a:pt x="461" y="795"/>
                  </a:lnTo>
                  <a:lnTo>
                    <a:pt x="461" y="793"/>
                  </a:lnTo>
                  <a:lnTo>
                    <a:pt x="461" y="795"/>
                  </a:lnTo>
                  <a:lnTo>
                    <a:pt x="455" y="795"/>
                  </a:lnTo>
                  <a:lnTo>
                    <a:pt x="451" y="797"/>
                  </a:lnTo>
                  <a:lnTo>
                    <a:pt x="449" y="797"/>
                  </a:lnTo>
                  <a:lnTo>
                    <a:pt x="447" y="797"/>
                  </a:lnTo>
                  <a:lnTo>
                    <a:pt x="447" y="799"/>
                  </a:lnTo>
                  <a:lnTo>
                    <a:pt x="449" y="799"/>
                  </a:lnTo>
                  <a:lnTo>
                    <a:pt x="451" y="799"/>
                  </a:lnTo>
                  <a:lnTo>
                    <a:pt x="449" y="799"/>
                  </a:lnTo>
                  <a:lnTo>
                    <a:pt x="447" y="799"/>
                  </a:lnTo>
                  <a:lnTo>
                    <a:pt x="443" y="801"/>
                  </a:lnTo>
                  <a:lnTo>
                    <a:pt x="443" y="799"/>
                  </a:lnTo>
                  <a:lnTo>
                    <a:pt x="447" y="799"/>
                  </a:lnTo>
                  <a:lnTo>
                    <a:pt x="447" y="797"/>
                  </a:lnTo>
                  <a:lnTo>
                    <a:pt x="445" y="797"/>
                  </a:lnTo>
                  <a:lnTo>
                    <a:pt x="443" y="797"/>
                  </a:lnTo>
                  <a:lnTo>
                    <a:pt x="439" y="799"/>
                  </a:lnTo>
                  <a:lnTo>
                    <a:pt x="438" y="799"/>
                  </a:lnTo>
                  <a:lnTo>
                    <a:pt x="432" y="801"/>
                  </a:lnTo>
                  <a:lnTo>
                    <a:pt x="434" y="801"/>
                  </a:lnTo>
                  <a:lnTo>
                    <a:pt x="432" y="801"/>
                  </a:lnTo>
                  <a:lnTo>
                    <a:pt x="432" y="803"/>
                  </a:lnTo>
                  <a:lnTo>
                    <a:pt x="430" y="803"/>
                  </a:lnTo>
                  <a:lnTo>
                    <a:pt x="428" y="803"/>
                  </a:lnTo>
                  <a:lnTo>
                    <a:pt x="426" y="803"/>
                  </a:lnTo>
                  <a:lnTo>
                    <a:pt x="424" y="803"/>
                  </a:lnTo>
                  <a:lnTo>
                    <a:pt x="422" y="803"/>
                  </a:lnTo>
                  <a:lnTo>
                    <a:pt x="422" y="805"/>
                  </a:lnTo>
                  <a:lnTo>
                    <a:pt x="420" y="805"/>
                  </a:lnTo>
                  <a:lnTo>
                    <a:pt x="420" y="803"/>
                  </a:lnTo>
                  <a:lnTo>
                    <a:pt x="420" y="805"/>
                  </a:lnTo>
                  <a:lnTo>
                    <a:pt x="418" y="805"/>
                  </a:lnTo>
                  <a:lnTo>
                    <a:pt x="414" y="805"/>
                  </a:lnTo>
                  <a:lnTo>
                    <a:pt x="414" y="806"/>
                  </a:lnTo>
                  <a:lnTo>
                    <a:pt x="411" y="806"/>
                  </a:lnTo>
                  <a:lnTo>
                    <a:pt x="409" y="806"/>
                  </a:lnTo>
                  <a:lnTo>
                    <a:pt x="407" y="806"/>
                  </a:lnTo>
                  <a:lnTo>
                    <a:pt x="405" y="806"/>
                  </a:lnTo>
                  <a:lnTo>
                    <a:pt x="405" y="808"/>
                  </a:lnTo>
                  <a:lnTo>
                    <a:pt x="403" y="808"/>
                  </a:lnTo>
                  <a:lnTo>
                    <a:pt x="401" y="808"/>
                  </a:lnTo>
                  <a:lnTo>
                    <a:pt x="399" y="808"/>
                  </a:lnTo>
                  <a:lnTo>
                    <a:pt x="397" y="808"/>
                  </a:lnTo>
                  <a:lnTo>
                    <a:pt x="397" y="810"/>
                  </a:lnTo>
                  <a:lnTo>
                    <a:pt x="397" y="808"/>
                  </a:lnTo>
                  <a:lnTo>
                    <a:pt x="395" y="808"/>
                  </a:lnTo>
                  <a:lnTo>
                    <a:pt x="393" y="808"/>
                  </a:lnTo>
                  <a:lnTo>
                    <a:pt x="388" y="808"/>
                  </a:lnTo>
                  <a:lnTo>
                    <a:pt x="386" y="806"/>
                  </a:lnTo>
                  <a:lnTo>
                    <a:pt x="386" y="805"/>
                  </a:lnTo>
                  <a:lnTo>
                    <a:pt x="384" y="805"/>
                  </a:lnTo>
                  <a:lnTo>
                    <a:pt x="382" y="803"/>
                  </a:lnTo>
                  <a:lnTo>
                    <a:pt x="384" y="803"/>
                  </a:lnTo>
                  <a:lnTo>
                    <a:pt x="382" y="803"/>
                  </a:lnTo>
                  <a:lnTo>
                    <a:pt x="382" y="801"/>
                  </a:lnTo>
                  <a:lnTo>
                    <a:pt x="380" y="803"/>
                  </a:lnTo>
                  <a:lnTo>
                    <a:pt x="382" y="805"/>
                  </a:lnTo>
                  <a:lnTo>
                    <a:pt x="380" y="803"/>
                  </a:lnTo>
                  <a:lnTo>
                    <a:pt x="380" y="801"/>
                  </a:lnTo>
                  <a:lnTo>
                    <a:pt x="380" y="799"/>
                  </a:lnTo>
                  <a:lnTo>
                    <a:pt x="378" y="799"/>
                  </a:lnTo>
                  <a:lnTo>
                    <a:pt x="378" y="797"/>
                  </a:lnTo>
                  <a:lnTo>
                    <a:pt x="376" y="797"/>
                  </a:lnTo>
                  <a:lnTo>
                    <a:pt x="378" y="797"/>
                  </a:lnTo>
                  <a:lnTo>
                    <a:pt x="376" y="795"/>
                  </a:lnTo>
                  <a:lnTo>
                    <a:pt x="376" y="797"/>
                  </a:lnTo>
                  <a:lnTo>
                    <a:pt x="376" y="795"/>
                  </a:lnTo>
                  <a:lnTo>
                    <a:pt x="374" y="793"/>
                  </a:lnTo>
                  <a:lnTo>
                    <a:pt x="374" y="791"/>
                  </a:lnTo>
                  <a:lnTo>
                    <a:pt x="349" y="764"/>
                  </a:lnTo>
                  <a:lnTo>
                    <a:pt x="328" y="741"/>
                  </a:lnTo>
                  <a:lnTo>
                    <a:pt x="326" y="739"/>
                  </a:lnTo>
                  <a:lnTo>
                    <a:pt x="319" y="733"/>
                  </a:lnTo>
                  <a:lnTo>
                    <a:pt x="315" y="728"/>
                  </a:lnTo>
                  <a:lnTo>
                    <a:pt x="311" y="726"/>
                  </a:lnTo>
                  <a:lnTo>
                    <a:pt x="307" y="722"/>
                  </a:lnTo>
                  <a:lnTo>
                    <a:pt x="303" y="720"/>
                  </a:lnTo>
                  <a:lnTo>
                    <a:pt x="297" y="716"/>
                  </a:lnTo>
                  <a:lnTo>
                    <a:pt x="292" y="712"/>
                  </a:lnTo>
                  <a:lnTo>
                    <a:pt x="288" y="709"/>
                  </a:lnTo>
                  <a:lnTo>
                    <a:pt x="284" y="707"/>
                  </a:lnTo>
                  <a:lnTo>
                    <a:pt x="278" y="703"/>
                  </a:lnTo>
                  <a:lnTo>
                    <a:pt x="274" y="701"/>
                  </a:lnTo>
                  <a:lnTo>
                    <a:pt x="269" y="697"/>
                  </a:lnTo>
                  <a:lnTo>
                    <a:pt x="267" y="697"/>
                  </a:lnTo>
                  <a:lnTo>
                    <a:pt x="265" y="697"/>
                  </a:lnTo>
                  <a:lnTo>
                    <a:pt x="265" y="695"/>
                  </a:lnTo>
                  <a:lnTo>
                    <a:pt x="261" y="695"/>
                  </a:lnTo>
                  <a:lnTo>
                    <a:pt x="259" y="695"/>
                  </a:lnTo>
                  <a:lnTo>
                    <a:pt x="255" y="693"/>
                  </a:lnTo>
                  <a:lnTo>
                    <a:pt x="253" y="691"/>
                  </a:lnTo>
                  <a:lnTo>
                    <a:pt x="251" y="691"/>
                  </a:lnTo>
                  <a:lnTo>
                    <a:pt x="249" y="691"/>
                  </a:lnTo>
                  <a:lnTo>
                    <a:pt x="248" y="689"/>
                  </a:lnTo>
                  <a:lnTo>
                    <a:pt x="244" y="687"/>
                  </a:lnTo>
                  <a:lnTo>
                    <a:pt x="242" y="687"/>
                  </a:lnTo>
                  <a:lnTo>
                    <a:pt x="240" y="687"/>
                  </a:lnTo>
                  <a:lnTo>
                    <a:pt x="240" y="689"/>
                  </a:lnTo>
                  <a:close/>
                </a:path>
              </a:pathLst>
            </a:custGeom>
            <a:solidFill>
              <a:srgbClr val="E6E6E6"/>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333" name="Oval 332">
            <a:extLst>
              <a:ext uri="{FF2B5EF4-FFF2-40B4-BE49-F238E27FC236}">
                <a16:creationId xmlns:a16="http://schemas.microsoft.com/office/drawing/2014/main" id="{742323E0-1C9E-4D14-9C30-880E7DAB67C7}"/>
              </a:ext>
            </a:extLst>
          </p:cNvPr>
          <p:cNvSpPr>
            <a:spLocks/>
          </p:cNvSpPr>
          <p:nvPr/>
        </p:nvSpPr>
        <p:spPr>
          <a:xfrm>
            <a:off x="3625291" y="2159629"/>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34" name="Oval 333">
            <a:extLst>
              <a:ext uri="{FF2B5EF4-FFF2-40B4-BE49-F238E27FC236}">
                <a16:creationId xmlns:a16="http://schemas.microsoft.com/office/drawing/2014/main" id="{78E8A2F8-E45A-4819-B8C0-842D7B8A1B95}"/>
              </a:ext>
            </a:extLst>
          </p:cNvPr>
          <p:cNvSpPr>
            <a:spLocks/>
          </p:cNvSpPr>
          <p:nvPr/>
        </p:nvSpPr>
        <p:spPr>
          <a:xfrm>
            <a:off x="4911218" y="1740624"/>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35" name="Oval 334">
            <a:extLst>
              <a:ext uri="{FF2B5EF4-FFF2-40B4-BE49-F238E27FC236}">
                <a16:creationId xmlns:a16="http://schemas.microsoft.com/office/drawing/2014/main" id="{961FD39F-5DFC-41A8-B2FE-D217BBC0DE7B}"/>
              </a:ext>
            </a:extLst>
          </p:cNvPr>
          <p:cNvSpPr>
            <a:spLocks/>
          </p:cNvSpPr>
          <p:nvPr/>
        </p:nvSpPr>
        <p:spPr>
          <a:xfrm>
            <a:off x="4934769" y="1754408"/>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36" name="Oval 335">
            <a:extLst>
              <a:ext uri="{FF2B5EF4-FFF2-40B4-BE49-F238E27FC236}">
                <a16:creationId xmlns:a16="http://schemas.microsoft.com/office/drawing/2014/main" id="{330D57F7-2ABB-42CE-ABA7-6295E897379F}"/>
              </a:ext>
            </a:extLst>
          </p:cNvPr>
          <p:cNvSpPr>
            <a:spLocks/>
          </p:cNvSpPr>
          <p:nvPr/>
        </p:nvSpPr>
        <p:spPr>
          <a:xfrm>
            <a:off x="4950522" y="1725626"/>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37" name="Oval 336">
            <a:extLst>
              <a:ext uri="{FF2B5EF4-FFF2-40B4-BE49-F238E27FC236}">
                <a16:creationId xmlns:a16="http://schemas.microsoft.com/office/drawing/2014/main" id="{5F3C6446-5F7C-4603-8CE0-5976C923FE92}"/>
              </a:ext>
            </a:extLst>
          </p:cNvPr>
          <p:cNvSpPr>
            <a:spLocks/>
          </p:cNvSpPr>
          <p:nvPr/>
        </p:nvSpPr>
        <p:spPr>
          <a:xfrm>
            <a:off x="4989358" y="1741379"/>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38" name="Oval 337">
            <a:extLst>
              <a:ext uri="{FF2B5EF4-FFF2-40B4-BE49-F238E27FC236}">
                <a16:creationId xmlns:a16="http://schemas.microsoft.com/office/drawing/2014/main" id="{B2D9CD37-5AB7-4847-A8F8-EE05F3C4B9F5}"/>
              </a:ext>
            </a:extLst>
          </p:cNvPr>
          <p:cNvSpPr>
            <a:spLocks/>
          </p:cNvSpPr>
          <p:nvPr/>
        </p:nvSpPr>
        <p:spPr>
          <a:xfrm>
            <a:off x="4896811" y="1619036"/>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39" name="Oval 338">
            <a:extLst>
              <a:ext uri="{FF2B5EF4-FFF2-40B4-BE49-F238E27FC236}">
                <a16:creationId xmlns:a16="http://schemas.microsoft.com/office/drawing/2014/main" id="{6C390B9A-8B42-425F-8CC9-7E8558EB6EF8}"/>
              </a:ext>
            </a:extLst>
          </p:cNvPr>
          <p:cNvSpPr>
            <a:spLocks/>
          </p:cNvSpPr>
          <p:nvPr/>
        </p:nvSpPr>
        <p:spPr>
          <a:xfrm>
            <a:off x="4788512" y="1567359"/>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40" name="Oval 339">
            <a:extLst>
              <a:ext uri="{FF2B5EF4-FFF2-40B4-BE49-F238E27FC236}">
                <a16:creationId xmlns:a16="http://schemas.microsoft.com/office/drawing/2014/main" id="{32C12AF0-C3DA-4FF5-9B01-FBBAD564D139}"/>
              </a:ext>
            </a:extLst>
          </p:cNvPr>
          <p:cNvSpPr>
            <a:spLocks/>
          </p:cNvSpPr>
          <p:nvPr/>
        </p:nvSpPr>
        <p:spPr>
          <a:xfrm>
            <a:off x="4720579" y="1583112"/>
            <a:ext cx="88365" cy="88365"/>
          </a:xfrm>
          <a:prstGeom prst="ellipse">
            <a:avLst/>
          </a:prstGeom>
          <a:solidFill>
            <a:srgbClr val="1974A6"/>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41" name="Oval 340">
            <a:extLst>
              <a:ext uri="{FF2B5EF4-FFF2-40B4-BE49-F238E27FC236}">
                <a16:creationId xmlns:a16="http://schemas.microsoft.com/office/drawing/2014/main" id="{041C14F4-7C51-4242-892D-1D64EF2B819D}"/>
              </a:ext>
            </a:extLst>
          </p:cNvPr>
          <p:cNvSpPr>
            <a:spLocks/>
          </p:cNvSpPr>
          <p:nvPr/>
        </p:nvSpPr>
        <p:spPr>
          <a:xfrm>
            <a:off x="4410754" y="1665813"/>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42" name="Oval 341">
            <a:extLst>
              <a:ext uri="{FF2B5EF4-FFF2-40B4-BE49-F238E27FC236}">
                <a16:creationId xmlns:a16="http://schemas.microsoft.com/office/drawing/2014/main" id="{B835107B-008F-4173-9BB3-879DABCDCE27}"/>
              </a:ext>
            </a:extLst>
          </p:cNvPr>
          <p:cNvSpPr>
            <a:spLocks/>
          </p:cNvSpPr>
          <p:nvPr/>
        </p:nvSpPr>
        <p:spPr>
          <a:xfrm>
            <a:off x="4348218" y="1672018"/>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43" name="Oval 342">
            <a:extLst>
              <a:ext uri="{FF2B5EF4-FFF2-40B4-BE49-F238E27FC236}">
                <a16:creationId xmlns:a16="http://schemas.microsoft.com/office/drawing/2014/main" id="{7C165B84-E95F-48F5-9DF5-2D0890B9FBD6}"/>
              </a:ext>
            </a:extLst>
          </p:cNvPr>
          <p:cNvSpPr>
            <a:spLocks/>
          </p:cNvSpPr>
          <p:nvPr/>
        </p:nvSpPr>
        <p:spPr>
          <a:xfrm>
            <a:off x="4461513" y="1670380"/>
            <a:ext cx="88365" cy="88365"/>
          </a:xfrm>
          <a:prstGeom prst="ellipse">
            <a:avLst/>
          </a:prstGeom>
          <a:solidFill>
            <a:srgbClr val="1974A6"/>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44" name="Oval 343">
            <a:extLst>
              <a:ext uri="{FF2B5EF4-FFF2-40B4-BE49-F238E27FC236}">
                <a16:creationId xmlns:a16="http://schemas.microsoft.com/office/drawing/2014/main" id="{42B02DE0-D7AB-49D5-8DE6-A91F68979D5E}"/>
              </a:ext>
            </a:extLst>
          </p:cNvPr>
          <p:cNvSpPr>
            <a:spLocks/>
          </p:cNvSpPr>
          <p:nvPr/>
        </p:nvSpPr>
        <p:spPr>
          <a:xfrm>
            <a:off x="4804324" y="1705478"/>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45" name="Oval 344">
            <a:extLst>
              <a:ext uri="{FF2B5EF4-FFF2-40B4-BE49-F238E27FC236}">
                <a16:creationId xmlns:a16="http://schemas.microsoft.com/office/drawing/2014/main" id="{55F4B85B-7B02-4523-A1BF-A272750EEBBC}"/>
              </a:ext>
            </a:extLst>
          </p:cNvPr>
          <p:cNvSpPr>
            <a:spLocks/>
          </p:cNvSpPr>
          <p:nvPr/>
        </p:nvSpPr>
        <p:spPr>
          <a:xfrm>
            <a:off x="4691029" y="1704109"/>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46" name="Oval 345">
            <a:extLst>
              <a:ext uri="{FF2B5EF4-FFF2-40B4-BE49-F238E27FC236}">
                <a16:creationId xmlns:a16="http://schemas.microsoft.com/office/drawing/2014/main" id="{44CD0E51-FA4F-48F7-85C8-7E248D6A00AE}"/>
              </a:ext>
            </a:extLst>
          </p:cNvPr>
          <p:cNvSpPr>
            <a:spLocks/>
          </p:cNvSpPr>
          <p:nvPr/>
        </p:nvSpPr>
        <p:spPr>
          <a:xfrm>
            <a:off x="4741384" y="1736025"/>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47" name="Oval 346">
            <a:extLst>
              <a:ext uri="{FF2B5EF4-FFF2-40B4-BE49-F238E27FC236}">
                <a16:creationId xmlns:a16="http://schemas.microsoft.com/office/drawing/2014/main" id="{C561AC02-C626-4C9B-8134-8297681ADA32}"/>
              </a:ext>
            </a:extLst>
          </p:cNvPr>
          <p:cNvSpPr>
            <a:spLocks/>
          </p:cNvSpPr>
          <p:nvPr/>
        </p:nvSpPr>
        <p:spPr>
          <a:xfrm>
            <a:off x="4776795" y="1781520"/>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48" name="Oval 347">
            <a:extLst>
              <a:ext uri="{FF2B5EF4-FFF2-40B4-BE49-F238E27FC236}">
                <a16:creationId xmlns:a16="http://schemas.microsoft.com/office/drawing/2014/main" id="{CD63F9B3-B207-471F-9F2A-8059738CE7B6}"/>
              </a:ext>
            </a:extLst>
          </p:cNvPr>
          <p:cNvSpPr>
            <a:spLocks/>
          </p:cNvSpPr>
          <p:nvPr/>
        </p:nvSpPr>
        <p:spPr>
          <a:xfrm>
            <a:off x="4647990" y="1768509"/>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49" name="Oval 348">
            <a:extLst>
              <a:ext uri="{FF2B5EF4-FFF2-40B4-BE49-F238E27FC236}">
                <a16:creationId xmlns:a16="http://schemas.microsoft.com/office/drawing/2014/main" id="{3B97B3A0-32FE-4586-B5DA-15C84F24EF56}"/>
              </a:ext>
            </a:extLst>
          </p:cNvPr>
          <p:cNvSpPr>
            <a:spLocks/>
          </p:cNvSpPr>
          <p:nvPr/>
        </p:nvSpPr>
        <p:spPr>
          <a:xfrm>
            <a:off x="4560726" y="1725189"/>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50" name="Oval 349">
            <a:extLst>
              <a:ext uri="{FF2B5EF4-FFF2-40B4-BE49-F238E27FC236}">
                <a16:creationId xmlns:a16="http://schemas.microsoft.com/office/drawing/2014/main" id="{919FA1D7-B28D-4DF1-A0B7-66E773127A49}"/>
              </a:ext>
            </a:extLst>
          </p:cNvPr>
          <p:cNvSpPr>
            <a:spLocks/>
          </p:cNvSpPr>
          <p:nvPr/>
        </p:nvSpPr>
        <p:spPr>
          <a:xfrm>
            <a:off x="4430121" y="1777691"/>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51" name="Oval 350">
            <a:extLst>
              <a:ext uri="{FF2B5EF4-FFF2-40B4-BE49-F238E27FC236}">
                <a16:creationId xmlns:a16="http://schemas.microsoft.com/office/drawing/2014/main" id="{04F6B6CC-C097-4517-8671-2C714EB4E10E}"/>
              </a:ext>
            </a:extLst>
          </p:cNvPr>
          <p:cNvSpPr>
            <a:spLocks/>
          </p:cNvSpPr>
          <p:nvPr/>
        </p:nvSpPr>
        <p:spPr>
          <a:xfrm>
            <a:off x="4333636" y="1838423"/>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52" name="Oval 351">
            <a:extLst>
              <a:ext uri="{FF2B5EF4-FFF2-40B4-BE49-F238E27FC236}">
                <a16:creationId xmlns:a16="http://schemas.microsoft.com/office/drawing/2014/main" id="{C692669A-51B6-4609-A1CB-7CCBD4396B79}"/>
              </a:ext>
            </a:extLst>
          </p:cNvPr>
          <p:cNvSpPr>
            <a:spLocks/>
          </p:cNvSpPr>
          <p:nvPr/>
        </p:nvSpPr>
        <p:spPr>
          <a:xfrm>
            <a:off x="4300487" y="1930344"/>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53" name="Oval 352">
            <a:extLst>
              <a:ext uri="{FF2B5EF4-FFF2-40B4-BE49-F238E27FC236}">
                <a16:creationId xmlns:a16="http://schemas.microsoft.com/office/drawing/2014/main" id="{F33A0849-F21C-4751-9207-FCAB868EF1E9}"/>
              </a:ext>
            </a:extLst>
          </p:cNvPr>
          <p:cNvSpPr>
            <a:spLocks/>
          </p:cNvSpPr>
          <p:nvPr/>
        </p:nvSpPr>
        <p:spPr>
          <a:xfrm>
            <a:off x="4375747" y="1930344"/>
            <a:ext cx="88365" cy="88365"/>
          </a:xfrm>
          <a:prstGeom prst="ellipse">
            <a:avLst/>
          </a:prstGeom>
          <a:solidFill>
            <a:srgbClr val="1974A6"/>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54" name="Oval 353">
            <a:extLst>
              <a:ext uri="{FF2B5EF4-FFF2-40B4-BE49-F238E27FC236}">
                <a16:creationId xmlns:a16="http://schemas.microsoft.com/office/drawing/2014/main" id="{2AD58361-482A-48BE-926A-5C339ACD263D}"/>
              </a:ext>
            </a:extLst>
          </p:cNvPr>
          <p:cNvSpPr>
            <a:spLocks/>
          </p:cNvSpPr>
          <p:nvPr/>
        </p:nvSpPr>
        <p:spPr>
          <a:xfrm>
            <a:off x="4380358" y="1916538"/>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55" name="Oval 354">
            <a:extLst>
              <a:ext uri="{FF2B5EF4-FFF2-40B4-BE49-F238E27FC236}">
                <a16:creationId xmlns:a16="http://schemas.microsoft.com/office/drawing/2014/main" id="{993C151F-A289-4B97-B7CD-01E34C3851E4}"/>
              </a:ext>
            </a:extLst>
          </p:cNvPr>
          <p:cNvSpPr>
            <a:spLocks/>
          </p:cNvSpPr>
          <p:nvPr/>
        </p:nvSpPr>
        <p:spPr>
          <a:xfrm>
            <a:off x="4309226" y="1942159"/>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56" name="Oval 355">
            <a:extLst>
              <a:ext uri="{FF2B5EF4-FFF2-40B4-BE49-F238E27FC236}">
                <a16:creationId xmlns:a16="http://schemas.microsoft.com/office/drawing/2014/main" id="{F7D64E36-A172-4B82-834C-AEACDC227C53}"/>
              </a:ext>
            </a:extLst>
          </p:cNvPr>
          <p:cNvSpPr>
            <a:spLocks/>
          </p:cNvSpPr>
          <p:nvPr/>
        </p:nvSpPr>
        <p:spPr>
          <a:xfrm>
            <a:off x="4161545" y="1822196"/>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57" name="Oval 356">
            <a:extLst>
              <a:ext uri="{FF2B5EF4-FFF2-40B4-BE49-F238E27FC236}">
                <a16:creationId xmlns:a16="http://schemas.microsoft.com/office/drawing/2014/main" id="{7625BC33-106C-4390-B1D8-040C7400DAD3}"/>
              </a:ext>
            </a:extLst>
          </p:cNvPr>
          <p:cNvSpPr>
            <a:spLocks/>
          </p:cNvSpPr>
          <p:nvPr/>
        </p:nvSpPr>
        <p:spPr>
          <a:xfrm>
            <a:off x="4000596" y="1796598"/>
            <a:ext cx="88365" cy="88365"/>
          </a:xfrm>
          <a:prstGeom prst="ellipse">
            <a:avLst/>
          </a:prstGeom>
          <a:solidFill>
            <a:srgbClr val="1974A6"/>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58" name="Oval 357">
            <a:extLst>
              <a:ext uri="{FF2B5EF4-FFF2-40B4-BE49-F238E27FC236}">
                <a16:creationId xmlns:a16="http://schemas.microsoft.com/office/drawing/2014/main" id="{FCBA3EF6-07AD-4E50-A3BB-01DD60CB895D}"/>
              </a:ext>
            </a:extLst>
          </p:cNvPr>
          <p:cNvSpPr>
            <a:spLocks/>
          </p:cNvSpPr>
          <p:nvPr/>
        </p:nvSpPr>
        <p:spPr>
          <a:xfrm>
            <a:off x="3784876" y="1924189"/>
            <a:ext cx="88365" cy="88365"/>
          </a:xfrm>
          <a:prstGeom prst="ellipse">
            <a:avLst/>
          </a:prstGeom>
          <a:solidFill>
            <a:schemeClr val="accent5">
              <a:lumMod val="20000"/>
              <a:lumOff val="80000"/>
            </a:schemeClr>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59" name="Oval 358">
            <a:extLst>
              <a:ext uri="{FF2B5EF4-FFF2-40B4-BE49-F238E27FC236}">
                <a16:creationId xmlns:a16="http://schemas.microsoft.com/office/drawing/2014/main" id="{A81FB8D0-AD2A-45E1-9F4E-8EB46F5E9848}"/>
              </a:ext>
            </a:extLst>
          </p:cNvPr>
          <p:cNvSpPr>
            <a:spLocks/>
          </p:cNvSpPr>
          <p:nvPr/>
        </p:nvSpPr>
        <p:spPr>
          <a:xfrm>
            <a:off x="3822297" y="1957416"/>
            <a:ext cx="88365" cy="88365"/>
          </a:xfrm>
          <a:prstGeom prst="ellipse">
            <a:avLst/>
          </a:prstGeom>
          <a:solidFill>
            <a:srgbClr val="0E436C"/>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60" name="Oval 359">
            <a:extLst>
              <a:ext uri="{FF2B5EF4-FFF2-40B4-BE49-F238E27FC236}">
                <a16:creationId xmlns:a16="http://schemas.microsoft.com/office/drawing/2014/main" id="{949E9528-4B27-4AF7-A190-9577858BF2F8}"/>
              </a:ext>
            </a:extLst>
          </p:cNvPr>
          <p:cNvSpPr>
            <a:spLocks/>
          </p:cNvSpPr>
          <p:nvPr/>
        </p:nvSpPr>
        <p:spPr>
          <a:xfrm>
            <a:off x="3737221" y="1955447"/>
            <a:ext cx="88365" cy="88365"/>
          </a:xfrm>
          <a:prstGeom prst="ellipse">
            <a:avLst/>
          </a:prstGeom>
          <a:solidFill>
            <a:srgbClr val="0E436C"/>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61" name="Oval 360">
            <a:extLst>
              <a:ext uri="{FF2B5EF4-FFF2-40B4-BE49-F238E27FC236}">
                <a16:creationId xmlns:a16="http://schemas.microsoft.com/office/drawing/2014/main" id="{8E07C324-5737-4CA9-96FD-CFBBDE16737E}"/>
              </a:ext>
            </a:extLst>
          </p:cNvPr>
          <p:cNvSpPr>
            <a:spLocks/>
          </p:cNvSpPr>
          <p:nvPr/>
        </p:nvSpPr>
        <p:spPr>
          <a:xfrm>
            <a:off x="3789949" y="1984983"/>
            <a:ext cx="88365" cy="88365"/>
          </a:xfrm>
          <a:prstGeom prst="ellipse">
            <a:avLst/>
          </a:prstGeom>
          <a:solidFill>
            <a:srgbClr val="1974A6"/>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62" name="Oval 361">
            <a:extLst>
              <a:ext uri="{FF2B5EF4-FFF2-40B4-BE49-F238E27FC236}">
                <a16:creationId xmlns:a16="http://schemas.microsoft.com/office/drawing/2014/main" id="{F7E239F6-B231-4703-8472-5E6B94F81768}"/>
              </a:ext>
            </a:extLst>
          </p:cNvPr>
          <p:cNvSpPr>
            <a:spLocks/>
          </p:cNvSpPr>
          <p:nvPr/>
        </p:nvSpPr>
        <p:spPr>
          <a:xfrm>
            <a:off x="3996142" y="1963582"/>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63" name="Oval 362">
            <a:extLst>
              <a:ext uri="{FF2B5EF4-FFF2-40B4-BE49-F238E27FC236}">
                <a16:creationId xmlns:a16="http://schemas.microsoft.com/office/drawing/2014/main" id="{8D01A7C6-C1BE-4E89-86F9-B8D4677DE3FB}"/>
              </a:ext>
            </a:extLst>
          </p:cNvPr>
          <p:cNvSpPr>
            <a:spLocks/>
          </p:cNvSpPr>
          <p:nvPr/>
        </p:nvSpPr>
        <p:spPr>
          <a:xfrm>
            <a:off x="4289599" y="2052191"/>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64" name="Oval 363">
            <a:extLst>
              <a:ext uri="{FF2B5EF4-FFF2-40B4-BE49-F238E27FC236}">
                <a16:creationId xmlns:a16="http://schemas.microsoft.com/office/drawing/2014/main" id="{4B937446-560A-4620-9D44-21EF61120063}"/>
              </a:ext>
            </a:extLst>
          </p:cNvPr>
          <p:cNvSpPr>
            <a:spLocks/>
          </p:cNvSpPr>
          <p:nvPr/>
        </p:nvSpPr>
        <p:spPr>
          <a:xfrm>
            <a:off x="4399813" y="2012809"/>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65" name="Oval 364">
            <a:extLst>
              <a:ext uri="{FF2B5EF4-FFF2-40B4-BE49-F238E27FC236}">
                <a16:creationId xmlns:a16="http://schemas.microsoft.com/office/drawing/2014/main" id="{31FF9B88-527A-4C9E-9C94-CFE836752F99}"/>
              </a:ext>
            </a:extLst>
          </p:cNvPr>
          <p:cNvSpPr>
            <a:spLocks/>
          </p:cNvSpPr>
          <p:nvPr/>
        </p:nvSpPr>
        <p:spPr>
          <a:xfrm>
            <a:off x="4436029" y="2065539"/>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66" name="Oval 365">
            <a:extLst>
              <a:ext uri="{FF2B5EF4-FFF2-40B4-BE49-F238E27FC236}">
                <a16:creationId xmlns:a16="http://schemas.microsoft.com/office/drawing/2014/main" id="{20629EF7-E725-4540-9558-DED9B6D10588}"/>
              </a:ext>
            </a:extLst>
          </p:cNvPr>
          <p:cNvSpPr>
            <a:spLocks/>
          </p:cNvSpPr>
          <p:nvPr/>
        </p:nvSpPr>
        <p:spPr>
          <a:xfrm>
            <a:off x="4754946" y="1939517"/>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67" name="Oval 366">
            <a:extLst>
              <a:ext uri="{FF2B5EF4-FFF2-40B4-BE49-F238E27FC236}">
                <a16:creationId xmlns:a16="http://schemas.microsoft.com/office/drawing/2014/main" id="{C770F55C-F705-4FF9-8F87-91E133467F0C}"/>
              </a:ext>
            </a:extLst>
          </p:cNvPr>
          <p:cNvSpPr>
            <a:spLocks/>
          </p:cNvSpPr>
          <p:nvPr/>
        </p:nvSpPr>
        <p:spPr>
          <a:xfrm>
            <a:off x="4854154" y="1939517"/>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68" name="Oval 367">
            <a:extLst>
              <a:ext uri="{FF2B5EF4-FFF2-40B4-BE49-F238E27FC236}">
                <a16:creationId xmlns:a16="http://schemas.microsoft.com/office/drawing/2014/main" id="{2705B29A-E79B-4E1F-B04E-18C7F2B2DA59}"/>
              </a:ext>
            </a:extLst>
          </p:cNvPr>
          <p:cNvSpPr>
            <a:spLocks/>
          </p:cNvSpPr>
          <p:nvPr/>
        </p:nvSpPr>
        <p:spPr>
          <a:xfrm>
            <a:off x="4808866" y="2039891"/>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69" name="Oval 368">
            <a:extLst>
              <a:ext uri="{FF2B5EF4-FFF2-40B4-BE49-F238E27FC236}">
                <a16:creationId xmlns:a16="http://schemas.microsoft.com/office/drawing/2014/main" id="{872AA066-C7D6-4CBF-9BFD-C5E4C861A904}"/>
              </a:ext>
            </a:extLst>
          </p:cNvPr>
          <p:cNvSpPr>
            <a:spLocks/>
          </p:cNvSpPr>
          <p:nvPr/>
        </p:nvSpPr>
        <p:spPr>
          <a:xfrm>
            <a:off x="4930776" y="2020200"/>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70" name="Oval 369">
            <a:extLst>
              <a:ext uri="{FF2B5EF4-FFF2-40B4-BE49-F238E27FC236}">
                <a16:creationId xmlns:a16="http://schemas.microsoft.com/office/drawing/2014/main" id="{73D2354D-87C0-44F5-8990-F49FB2186C67}"/>
              </a:ext>
            </a:extLst>
          </p:cNvPr>
          <p:cNvSpPr>
            <a:spLocks/>
          </p:cNvSpPr>
          <p:nvPr/>
        </p:nvSpPr>
        <p:spPr>
          <a:xfrm>
            <a:off x="4948498" y="2110015"/>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71" name="Oval 370">
            <a:extLst>
              <a:ext uri="{FF2B5EF4-FFF2-40B4-BE49-F238E27FC236}">
                <a16:creationId xmlns:a16="http://schemas.microsoft.com/office/drawing/2014/main" id="{644F5B2B-C7BD-4C39-8606-4C25227701E2}"/>
              </a:ext>
            </a:extLst>
          </p:cNvPr>
          <p:cNvSpPr>
            <a:spLocks/>
          </p:cNvSpPr>
          <p:nvPr/>
        </p:nvSpPr>
        <p:spPr>
          <a:xfrm>
            <a:off x="5069654" y="2127736"/>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72" name="Oval 371">
            <a:extLst>
              <a:ext uri="{FF2B5EF4-FFF2-40B4-BE49-F238E27FC236}">
                <a16:creationId xmlns:a16="http://schemas.microsoft.com/office/drawing/2014/main" id="{3592E0C1-0860-4E32-B728-6DACC0FCBEFF}"/>
              </a:ext>
            </a:extLst>
          </p:cNvPr>
          <p:cNvSpPr>
            <a:spLocks/>
          </p:cNvSpPr>
          <p:nvPr/>
        </p:nvSpPr>
        <p:spPr>
          <a:xfrm>
            <a:off x="5114084" y="2048973"/>
            <a:ext cx="88365" cy="88365"/>
          </a:xfrm>
          <a:prstGeom prst="ellipse">
            <a:avLst/>
          </a:prstGeom>
          <a:solidFill>
            <a:srgbClr val="1974A6"/>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73" name="Oval 372">
            <a:extLst>
              <a:ext uri="{FF2B5EF4-FFF2-40B4-BE49-F238E27FC236}">
                <a16:creationId xmlns:a16="http://schemas.microsoft.com/office/drawing/2014/main" id="{C27B63D7-B84D-4E42-ABE1-348BA3CC3A81}"/>
              </a:ext>
            </a:extLst>
          </p:cNvPr>
          <p:cNvSpPr>
            <a:spLocks/>
          </p:cNvSpPr>
          <p:nvPr/>
        </p:nvSpPr>
        <p:spPr>
          <a:xfrm>
            <a:off x="5114084" y="2074373"/>
            <a:ext cx="88365" cy="88365"/>
          </a:xfrm>
          <a:prstGeom prst="ellipse">
            <a:avLst/>
          </a:prstGeom>
          <a:solidFill>
            <a:srgbClr val="1974A6"/>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74" name="Oval 373">
            <a:extLst>
              <a:ext uri="{FF2B5EF4-FFF2-40B4-BE49-F238E27FC236}">
                <a16:creationId xmlns:a16="http://schemas.microsoft.com/office/drawing/2014/main" id="{6FACD363-F338-4CD9-AB43-2CD1E5B6FAF3}"/>
              </a:ext>
            </a:extLst>
          </p:cNvPr>
          <p:cNvSpPr>
            <a:spLocks/>
          </p:cNvSpPr>
          <p:nvPr/>
        </p:nvSpPr>
        <p:spPr>
          <a:xfrm>
            <a:off x="5240724" y="2115922"/>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75" name="Oval 374">
            <a:extLst>
              <a:ext uri="{FF2B5EF4-FFF2-40B4-BE49-F238E27FC236}">
                <a16:creationId xmlns:a16="http://schemas.microsoft.com/office/drawing/2014/main" id="{2E2E0595-448D-41F9-9CB1-A11F81CE2EAD}"/>
              </a:ext>
            </a:extLst>
          </p:cNvPr>
          <p:cNvSpPr>
            <a:spLocks/>
          </p:cNvSpPr>
          <p:nvPr/>
        </p:nvSpPr>
        <p:spPr>
          <a:xfrm>
            <a:off x="5014281" y="2329429"/>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76" name="Oval 375">
            <a:extLst>
              <a:ext uri="{FF2B5EF4-FFF2-40B4-BE49-F238E27FC236}">
                <a16:creationId xmlns:a16="http://schemas.microsoft.com/office/drawing/2014/main" id="{2A061343-5299-4101-8C15-8FE81CBFDF3C}"/>
              </a:ext>
            </a:extLst>
          </p:cNvPr>
          <p:cNvSpPr>
            <a:spLocks/>
          </p:cNvSpPr>
          <p:nvPr/>
        </p:nvSpPr>
        <p:spPr>
          <a:xfrm>
            <a:off x="5077291" y="2430567"/>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77" name="Oval 376">
            <a:extLst>
              <a:ext uri="{FF2B5EF4-FFF2-40B4-BE49-F238E27FC236}">
                <a16:creationId xmlns:a16="http://schemas.microsoft.com/office/drawing/2014/main" id="{57FEC36E-3430-4BA7-AA94-31CDA59AF7B6}"/>
              </a:ext>
            </a:extLst>
          </p:cNvPr>
          <p:cNvSpPr>
            <a:spLocks/>
          </p:cNvSpPr>
          <p:nvPr/>
        </p:nvSpPr>
        <p:spPr>
          <a:xfrm>
            <a:off x="5041847" y="2779762"/>
            <a:ext cx="88365" cy="88365"/>
          </a:xfrm>
          <a:prstGeom prst="ellipse">
            <a:avLst/>
          </a:prstGeom>
          <a:solidFill>
            <a:srgbClr val="0E436C"/>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78" name="Oval 377">
            <a:extLst>
              <a:ext uri="{FF2B5EF4-FFF2-40B4-BE49-F238E27FC236}">
                <a16:creationId xmlns:a16="http://schemas.microsoft.com/office/drawing/2014/main" id="{D099E85C-1079-4555-8B1E-0FD57850F2FB}"/>
              </a:ext>
            </a:extLst>
          </p:cNvPr>
          <p:cNvSpPr>
            <a:spLocks/>
          </p:cNvSpPr>
          <p:nvPr/>
        </p:nvSpPr>
        <p:spPr>
          <a:xfrm>
            <a:off x="5002466" y="2744510"/>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79" name="Oval 378">
            <a:extLst>
              <a:ext uri="{FF2B5EF4-FFF2-40B4-BE49-F238E27FC236}">
                <a16:creationId xmlns:a16="http://schemas.microsoft.com/office/drawing/2014/main" id="{3BD30AE6-67F8-43AB-9AF5-9A16D638E92B}"/>
              </a:ext>
            </a:extLst>
          </p:cNvPr>
          <p:cNvSpPr>
            <a:spLocks/>
          </p:cNvSpPr>
          <p:nvPr/>
        </p:nvSpPr>
        <p:spPr>
          <a:xfrm>
            <a:off x="4622433" y="2304927"/>
            <a:ext cx="88365" cy="88365"/>
          </a:xfrm>
          <a:prstGeom prst="ellipse">
            <a:avLst/>
          </a:prstGeom>
          <a:solidFill>
            <a:srgbClr val="0E436C"/>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80" name="Oval 379">
            <a:extLst>
              <a:ext uri="{FF2B5EF4-FFF2-40B4-BE49-F238E27FC236}">
                <a16:creationId xmlns:a16="http://schemas.microsoft.com/office/drawing/2014/main" id="{30EF4B75-CE17-44F1-8E28-DD27279B1274}"/>
              </a:ext>
            </a:extLst>
          </p:cNvPr>
          <p:cNvSpPr>
            <a:spLocks/>
          </p:cNvSpPr>
          <p:nvPr/>
        </p:nvSpPr>
        <p:spPr>
          <a:xfrm>
            <a:off x="4593555" y="2320076"/>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81" name="Oval 380">
            <a:extLst>
              <a:ext uri="{FF2B5EF4-FFF2-40B4-BE49-F238E27FC236}">
                <a16:creationId xmlns:a16="http://schemas.microsoft.com/office/drawing/2014/main" id="{130BA379-0787-4403-A073-B5B51B306E65}"/>
              </a:ext>
            </a:extLst>
          </p:cNvPr>
          <p:cNvSpPr>
            <a:spLocks/>
          </p:cNvSpPr>
          <p:nvPr/>
        </p:nvSpPr>
        <p:spPr>
          <a:xfrm>
            <a:off x="4312301" y="2337798"/>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82" name="Oval 381">
            <a:extLst>
              <a:ext uri="{FF2B5EF4-FFF2-40B4-BE49-F238E27FC236}">
                <a16:creationId xmlns:a16="http://schemas.microsoft.com/office/drawing/2014/main" id="{4FF24A36-8890-437D-9F68-82B320FA1373}"/>
              </a:ext>
            </a:extLst>
          </p:cNvPr>
          <p:cNvSpPr>
            <a:spLocks/>
          </p:cNvSpPr>
          <p:nvPr/>
        </p:nvSpPr>
        <p:spPr>
          <a:xfrm>
            <a:off x="4066165" y="2576248"/>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83" name="Oval 382">
            <a:extLst>
              <a:ext uri="{FF2B5EF4-FFF2-40B4-BE49-F238E27FC236}">
                <a16:creationId xmlns:a16="http://schemas.microsoft.com/office/drawing/2014/main" id="{BA0660C7-709E-43AB-836C-24199F596A3A}"/>
              </a:ext>
            </a:extLst>
          </p:cNvPr>
          <p:cNvSpPr>
            <a:spLocks/>
          </p:cNvSpPr>
          <p:nvPr/>
        </p:nvSpPr>
        <p:spPr>
          <a:xfrm>
            <a:off x="4386253" y="2609367"/>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84" name="Oval 383">
            <a:extLst>
              <a:ext uri="{FF2B5EF4-FFF2-40B4-BE49-F238E27FC236}">
                <a16:creationId xmlns:a16="http://schemas.microsoft.com/office/drawing/2014/main" id="{B55B8C6F-862E-49D8-BEC0-1262B8CEF858}"/>
              </a:ext>
            </a:extLst>
          </p:cNvPr>
          <p:cNvSpPr>
            <a:spLocks/>
          </p:cNvSpPr>
          <p:nvPr/>
        </p:nvSpPr>
        <p:spPr>
          <a:xfrm>
            <a:off x="4332878" y="2573924"/>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85" name="Oval 384">
            <a:extLst>
              <a:ext uri="{FF2B5EF4-FFF2-40B4-BE49-F238E27FC236}">
                <a16:creationId xmlns:a16="http://schemas.microsoft.com/office/drawing/2014/main" id="{37C5968B-C753-4E9E-91FB-72FF15E8C0BF}"/>
              </a:ext>
            </a:extLst>
          </p:cNvPr>
          <p:cNvSpPr>
            <a:spLocks/>
          </p:cNvSpPr>
          <p:nvPr/>
        </p:nvSpPr>
        <p:spPr>
          <a:xfrm>
            <a:off x="4577043" y="2456040"/>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86" name="Oval 385">
            <a:extLst>
              <a:ext uri="{FF2B5EF4-FFF2-40B4-BE49-F238E27FC236}">
                <a16:creationId xmlns:a16="http://schemas.microsoft.com/office/drawing/2014/main" id="{730DBBA7-F333-4350-A9EA-297EB1590452}"/>
              </a:ext>
            </a:extLst>
          </p:cNvPr>
          <p:cNvSpPr>
            <a:spLocks/>
          </p:cNvSpPr>
          <p:nvPr/>
        </p:nvSpPr>
        <p:spPr>
          <a:xfrm>
            <a:off x="4550460" y="2555901"/>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87" name="Oval 386">
            <a:extLst>
              <a:ext uri="{FF2B5EF4-FFF2-40B4-BE49-F238E27FC236}">
                <a16:creationId xmlns:a16="http://schemas.microsoft.com/office/drawing/2014/main" id="{E89DE243-09E5-4C6F-8AC1-AE184A18FF41}"/>
              </a:ext>
            </a:extLst>
          </p:cNvPr>
          <p:cNvSpPr>
            <a:spLocks/>
          </p:cNvSpPr>
          <p:nvPr/>
        </p:nvSpPr>
        <p:spPr>
          <a:xfrm>
            <a:off x="4531754" y="2499099"/>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88" name="Oval 387">
            <a:extLst>
              <a:ext uri="{FF2B5EF4-FFF2-40B4-BE49-F238E27FC236}">
                <a16:creationId xmlns:a16="http://schemas.microsoft.com/office/drawing/2014/main" id="{322C163E-E36F-4EF9-AE0C-EBC4D1053255}"/>
              </a:ext>
            </a:extLst>
          </p:cNvPr>
          <p:cNvSpPr>
            <a:spLocks/>
          </p:cNvSpPr>
          <p:nvPr/>
        </p:nvSpPr>
        <p:spPr>
          <a:xfrm>
            <a:off x="4643007" y="2721992"/>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89" name="Oval 388">
            <a:extLst>
              <a:ext uri="{FF2B5EF4-FFF2-40B4-BE49-F238E27FC236}">
                <a16:creationId xmlns:a16="http://schemas.microsoft.com/office/drawing/2014/main" id="{C25B87F9-5BC5-40DA-A6AD-0603801D00BE}"/>
              </a:ext>
            </a:extLst>
          </p:cNvPr>
          <p:cNvSpPr>
            <a:spLocks/>
          </p:cNvSpPr>
          <p:nvPr/>
        </p:nvSpPr>
        <p:spPr>
          <a:xfrm>
            <a:off x="4533825" y="2772229"/>
            <a:ext cx="88365" cy="88365"/>
          </a:xfrm>
          <a:prstGeom prst="ellipse">
            <a:avLst/>
          </a:prstGeom>
          <a:solidFill>
            <a:srgbClr val="0E436C"/>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90" name="Oval 389">
            <a:extLst>
              <a:ext uri="{FF2B5EF4-FFF2-40B4-BE49-F238E27FC236}">
                <a16:creationId xmlns:a16="http://schemas.microsoft.com/office/drawing/2014/main" id="{06B4D5AF-D299-47A6-9744-E54F65B99C87}"/>
              </a:ext>
            </a:extLst>
          </p:cNvPr>
          <p:cNvSpPr>
            <a:spLocks/>
          </p:cNvSpPr>
          <p:nvPr/>
        </p:nvSpPr>
        <p:spPr>
          <a:xfrm>
            <a:off x="4483502" y="2718054"/>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91" name="Oval 390">
            <a:extLst>
              <a:ext uri="{FF2B5EF4-FFF2-40B4-BE49-F238E27FC236}">
                <a16:creationId xmlns:a16="http://schemas.microsoft.com/office/drawing/2014/main" id="{8A4E7243-C76D-4B36-B8FF-A0476B98F605}"/>
              </a:ext>
            </a:extLst>
          </p:cNvPr>
          <p:cNvSpPr>
            <a:spLocks/>
          </p:cNvSpPr>
          <p:nvPr/>
        </p:nvSpPr>
        <p:spPr>
          <a:xfrm>
            <a:off x="4505162" y="2792777"/>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92" name="Oval 391">
            <a:extLst>
              <a:ext uri="{FF2B5EF4-FFF2-40B4-BE49-F238E27FC236}">
                <a16:creationId xmlns:a16="http://schemas.microsoft.com/office/drawing/2014/main" id="{69E1B2CD-AED4-4AF5-9C51-8F54C096C84B}"/>
              </a:ext>
            </a:extLst>
          </p:cNvPr>
          <p:cNvSpPr>
            <a:spLocks/>
          </p:cNvSpPr>
          <p:nvPr/>
        </p:nvSpPr>
        <p:spPr>
          <a:xfrm>
            <a:off x="4266953" y="2712044"/>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93" name="Oval 392">
            <a:extLst>
              <a:ext uri="{FF2B5EF4-FFF2-40B4-BE49-F238E27FC236}">
                <a16:creationId xmlns:a16="http://schemas.microsoft.com/office/drawing/2014/main" id="{865DFCAB-DADF-4CC6-BEC4-E8C270E26C31}"/>
              </a:ext>
            </a:extLst>
          </p:cNvPr>
          <p:cNvSpPr>
            <a:spLocks/>
          </p:cNvSpPr>
          <p:nvPr/>
        </p:nvSpPr>
        <p:spPr>
          <a:xfrm>
            <a:off x="4228194" y="2712044"/>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94" name="Oval 393">
            <a:extLst>
              <a:ext uri="{FF2B5EF4-FFF2-40B4-BE49-F238E27FC236}">
                <a16:creationId xmlns:a16="http://schemas.microsoft.com/office/drawing/2014/main" id="{E6721BA7-24CB-4FA5-9A6F-092637EA4ED2}"/>
              </a:ext>
            </a:extLst>
          </p:cNvPr>
          <p:cNvSpPr>
            <a:spLocks/>
          </p:cNvSpPr>
          <p:nvPr/>
        </p:nvSpPr>
        <p:spPr>
          <a:xfrm>
            <a:off x="3896235" y="2378275"/>
            <a:ext cx="88365" cy="88365"/>
          </a:xfrm>
          <a:prstGeom prst="ellipse">
            <a:avLst/>
          </a:prstGeom>
          <a:solidFill>
            <a:srgbClr val="1974A6"/>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95" name="Oval 394">
            <a:extLst>
              <a:ext uri="{FF2B5EF4-FFF2-40B4-BE49-F238E27FC236}">
                <a16:creationId xmlns:a16="http://schemas.microsoft.com/office/drawing/2014/main" id="{CF8946F0-F1AB-447A-8AAA-BFDAB10846E6}"/>
              </a:ext>
            </a:extLst>
          </p:cNvPr>
          <p:cNvSpPr>
            <a:spLocks/>
          </p:cNvSpPr>
          <p:nvPr/>
        </p:nvSpPr>
        <p:spPr>
          <a:xfrm>
            <a:off x="3927740" y="2401611"/>
            <a:ext cx="88365" cy="88365"/>
          </a:xfrm>
          <a:prstGeom prst="ellipse">
            <a:avLst/>
          </a:prstGeom>
          <a:solidFill>
            <a:srgbClr val="1974A6"/>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96" name="Oval 395">
            <a:extLst>
              <a:ext uri="{FF2B5EF4-FFF2-40B4-BE49-F238E27FC236}">
                <a16:creationId xmlns:a16="http://schemas.microsoft.com/office/drawing/2014/main" id="{11589B23-7684-484E-B556-CB262E5E093C}"/>
              </a:ext>
            </a:extLst>
          </p:cNvPr>
          <p:cNvSpPr>
            <a:spLocks/>
          </p:cNvSpPr>
          <p:nvPr/>
        </p:nvSpPr>
        <p:spPr>
          <a:xfrm>
            <a:off x="4203412" y="2861846"/>
            <a:ext cx="88365" cy="88365"/>
          </a:xfrm>
          <a:prstGeom prst="ellipse">
            <a:avLst/>
          </a:prstGeom>
          <a:solidFill>
            <a:srgbClr val="1974A6"/>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97" name="Oval 396">
            <a:extLst>
              <a:ext uri="{FF2B5EF4-FFF2-40B4-BE49-F238E27FC236}">
                <a16:creationId xmlns:a16="http://schemas.microsoft.com/office/drawing/2014/main" id="{F6D54B92-6953-44C0-B0F1-C7A348E73C05}"/>
              </a:ext>
            </a:extLst>
          </p:cNvPr>
          <p:cNvSpPr>
            <a:spLocks/>
          </p:cNvSpPr>
          <p:nvPr/>
        </p:nvSpPr>
        <p:spPr>
          <a:xfrm>
            <a:off x="4237115" y="2861846"/>
            <a:ext cx="88365" cy="88365"/>
          </a:xfrm>
          <a:prstGeom prst="ellipse">
            <a:avLst/>
          </a:prstGeom>
          <a:solidFill>
            <a:srgbClr val="1974A6"/>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98" name="Oval 397">
            <a:extLst>
              <a:ext uri="{FF2B5EF4-FFF2-40B4-BE49-F238E27FC236}">
                <a16:creationId xmlns:a16="http://schemas.microsoft.com/office/drawing/2014/main" id="{DAF33DAD-1F1B-488F-B396-0B97BFF7D322}"/>
              </a:ext>
            </a:extLst>
          </p:cNvPr>
          <p:cNvSpPr>
            <a:spLocks/>
          </p:cNvSpPr>
          <p:nvPr/>
        </p:nvSpPr>
        <p:spPr>
          <a:xfrm>
            <a:off x="4226535" y="2861846"/>
            <a:ext cx="88365" cy="88365"/>
          </a:xfrm>
          <a:prstGeom prst="ellipse">
            <a:avLst/>
          </a:prstGeom>
          <a:solidFill>
            <a:srgbClr val="1974A6"/>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99" name="Oval 398">
            <a:extLst>
              <a:ext uri="{FF2B5EF4-FFF2-40B4-BE49-F238E27FC236}">
                <a16:creationId xmlns:a16="http://schemas.microsoft.com/office/drawing/2014/main" id="{8BE9052C-B87A-40C0-AD89-5C84050E2A00}"/>
              </a:ext>
            </a:extLst>
          </p:cNvPr>
          <p:cNvSpPr>
            <a:spLocks/>
          </p:cNvSpPr>
          <p:nvPr/>
        </p:nvSpPr>
        <p:spPr>
          <a:xfrm>
            <a:off x="3738629" y="2814588"/>
            <a:ext cx="88365" cy="88365"/>
          </a:xfrm>
          <a:prstGeom prst="ellipse">
            <a:avLst/>
          </a:prstGeom>
          <a:solidFill>
            <a:srgbClr val="1974A6"/>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00" name="Oval 399">
            <a:extLst>
              <a:ext uri="{FF2B5EF4-FFF2-40B4-BE49-F238E27FC236}">
                <a16:creationId xmlns:a16="http://schemas.microsoft.com/office/drawing/2014/main" id="{B1995592-3495-40EC-97D0-2A5ADA7E80B6}"/>
              </a:ext>
            </a:extLst>
          </p:cNvPr>
          <p:cNvSpPr>
            <a:spLocks/>
          </p:cNvSpPr>
          <p:nvPr/>
        </p:nvSpPr>
        <p:spPr>
          <a:xfrm>
            <a:off x="3845040" y="2218823"/>
            <a:ext cx="88365" cy="88365"/>
          </a:xfrm>
          <a:prstGeom prst="ellipse">
            <a:avLst/>
          </a:prstGeom>
          <a:solidFill>
            <a:srgbClr val="1974A6"/>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01" name="Oval 400">
            <a:extLst>
              <a:ext uri="{FF2B5EF4-FFF2-40B4-BE49-F238E27FC236}">
                <a16:creationId xmlns:a16="http://schemas.microsoft.com/office/drawing/2014/main" id="{F9D4760A-737B-45FE-BC9C-1CEB6318800A}"/>
              </a:ext>
            </a:extLst>
          </p:cNvPr>
          <p:cNvSpPr>
            <a:spLocks/>
          </p:cNvSpPr>
          <p:nvPr/>
        </p:nvSpPr>
        <p:spPr>
          <a:xfrm>
            <a:off x="3793844" y="2366890"/>
            <a:ext cx="88365" cy="88365"/>
          </a:xfrm>
          <a:prstGeom prst="ellipse">
            <a:avLst/>
          </a:prstGeom>
          <a:solidFill>
            <a:srgbClr val="1974A6"/>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02" name="Oval 401">
            <a:extLst>
              <a:ext uri="{FF2B5EF4-FFF2-40B4-BE49-F238E27FC236}">
                <a16:creationId xmlns:a16="http://schemas.microsoft.com/office/drawing/2014/main" id="{F0D37F87-459C-4455-A8DB-CD391EDF789E}"/>
              </a:ext>
            </a:extLst>
          </p:cNvPr>
          <p:cNvSpPr>
            <a:spLocks/>
          </p:cNvSpPr>
          <p:nvPr/>
        </p:nvSpPr>
        <p:spPr>
          <a:xfrm>
            <a:off x="3644948" y="2055692"/>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03" name="Oval 402">
            <a:extLst>
              <a:ext uri="{FF2B5EF4-FFF2-40B4-BE49-F238E27FC236}">
                <a16:creationId xmlns:a16="http://schemas.microsoft.com/office/drawing/2014/main" id="{35CDE3D6-FE82-43A5-A0D5-09C6F12BA615}"/>
              </a:ext>
            </a:extLst>
          </p:cNvPr>
          <p:cNvSpPr>
            <a:spLocks/>
          </p:cNvSpPr>
          <p:nvPr/>
        </p:nvSpPr>
        <p:spPr>
          <a:xfrm>
            <a:off x="3613432" y="2041908"/>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04" name="Oval 403">
            <a:extLst>
              <a:ext uri="{FF2B5EF4-FFF2-40B4-BE49-F238E27FC236}">
                <a16:creationId xmlns:a16="http://schemas.microsoft.com/office/drawing/2014/main" id="{3B099F04-530C-424A-A3DA-5B03A5312B73}"/>
              </a:ext>
            </a:extLst>
          </p:cNvPr>
          <p:cNvSpPr>
            <a:spLocks/>
          </p:cNvSpPr>
          <p:nvPr/>
        </p:nvSpPr>
        <p:spPr>
          <a:xfrm>
            <a:off x="3562783" y="2110826"/>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05" name="Oval 404">
            <a:extLst>
              <a:ext uri="{FF2B5EF4-FFF2-40B4-BE49-F238E27FC236}">
                <a16:creationId xmlns:a16="http://schemas.microsoft.com/office/drawing/2014/main" id="{A61D25F6-7EBD-4E84-BA74-206DB110C8E3}"/>
              </a:ext>
            </a:extLst>
          </p:cNvPr>
          <p:cNvSpPr>
            <a:spLocks/>
          </p:cNvSpPr>
          <p:nvPr/>
        </p:nvSpPr>
        <p:spPr>
          <a:xfrm>
            <a:off x="3704060" y="2053347"/>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06" name="Oval 405">
            <a:extLst>
              <a:ext uri="{FF2B5EF4-FFF2-40B4-BE49-F238E27FC236}">
                <a16:creationId xmlns:a16="http://schemas.microsoft.com/office/drawing/2014/main" id="{05425A53-2469-4AD9-A6DC-9D0A565EBFB1}"/>
              </a:ext>
            </a:extLst>
          </p:cNvPr>
          <p:cNvSpPr>
            <a:spLocks/>
          </p:cNvSpPr>
          <p:nvPr/>
        </p:nvSpPr>
        <p:spPr>
          <a:xfrm>
            <a:off x="3746586" y="2077636"/>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07" name="Oval 406">
            <a:extLst>
              <a:ext uri="{FF2B5EF4-FFF2-40B4-BE49-F238E27FC236}">
                <a16:creationId xmlns:a16="http://schemas.microsoft.com/office/drawing/2014/main" id="{9821B6DE-84F2-454D-945B-857F5DA32EFD}"/>
              </a:ext>
            </a:extLst>
          </p:cNvPr>
          <p:cNvSpPr>
            <a:spLocks/>
          </p:cNvSpPr>
          <p:nvPr/>
        </p:nvSpPr>
        <p:spPr>
          <a:xfrm>
            <a:off x="3703359" y="2089451"/>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08" name="Oval 407">
            <a:extLst>
              <a:ext uri="{FF2B5EF4-FFF2-40B4-BE49-F238E27FC236}">
                <a16:creationId xmlns:a16="http://schemas.microsoft.com/office/drawing/2014/main" id="{96C63BEB-9B28-41F7-9C55-0E6F75F52A70}"/>
              </a:ext>
            </a:extLst>
          </p:cNvPr>
          <p:cNvSpPr>
            <a:spLocks/>
          </p:cNvSpPr>
          <p:nvPr/>
        </p:nvSpPr>
        <p:spPr>
          <a:xfrm>
            <a:off x="3721053" y="2128172"/>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09" name="Oval 408">
            <a:extLst>
              <a:ext uri="{FF2B5EF4-FFF2-40B4-BE49-F238E27FC236}">
                <a16:creationId xmlns:a16="http://schemas.microsoft.com/office/drawing/2014/main" id="{22A42061-215D-4942-9854-952872619810}"/>
              </a:ext>
            </a:extLst>
          </p:cNvPr>
          <p:cNvSpPr>
            <a:spLocks/>
          </p:cNvSpPr>
          <p:nvPr/>
        </p:nvSpPr>
        <p:spPr>
          <a:xfrm>
            <a:off x="3687832" y="2171492"/>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10" name="Oval 409">
            <a:extLst>
              <a:ext uri="{FF2B5EF4-FFF2-40B4-BE49-F238E27FC236}">
                <a16:creationId xmlns:a16="http://schemas.microsoft.com/office/drawing/2014/main" id="{3575CF26-18AC-4D11-A9EB-19F3C5B87270}"/>
              </a:ext>
            </a:extLst>
          </p:cNvPr>
          <p:cNvSpPr>
            <a:spLocks/>
          </p:cNvSpPr>
          <p:nvPr/>
        </p:nvSpPr>
        <p:spPr>
          <a:xfrm>
            <a:off x="3621353" y="2130141"/>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11" name="Oval 410">
            <a:extLst>
              <a:ext uri="{FF2B5EF4-FFF2-40B4-BE49-F238E27FC236}">
                <a16:creationId xmlns:a16="http://schemas.microsoft.com/office/drawing/2014/main" id="{6CCEB929-3153-4628-A563-8A1815C7E742}"/>
              </a:ext>
            </a:extLst>
          </p:cNvPr>
          <p:cNvSpPr>
            <a:spLocks/>
          </p:cNvSpPr>
          <p:nvPr/>
        </p:nvSpPr>
        <p:spPr>
          <a:xfrm>
            <a:off x="3767763" y="2218823"/>
            <a:ext cx="88365" cy="88365"/>
          </a:xfrm>
          <a:prstGeom prst="ellipse">
            <a:avLst/>
          </a:prstGeom>
          <a:solidFill>
            <a:srgbClr val="1974A6"/>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12" name="Oval 411">
            <a:extLst>
              <a:ext uri="{FF2B5EF4-FFF2-40B4-BE49-F238E27FC236}">
                <a16:creationId xmlns:a16="http://schemas.microsoft.com/office/drawing/2014/main" id="{5981DE47-FDA2-4D16-AFBE-1138385C74C7}"/>
              </a:ext>
            </a:extLst>
          </p:cNvPr>
          <p:cNvSpPr>
            <a:spLocks/>
          </p:cNvSpPr>
          <p:nvPr/>
        </p:nvSpPr>
        <p:spPr>
          <a:xfrm>
            <a:off x="3654357" y="2247454"/>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13" name="Oval 412">
            <a:extLst>
              <a:ext uri="{FF2B5EF4-FFF2-40B4-BE49-F238E27FC236}">
                <a16:creationId xmlns:a16="http://schemas.microsoft.com/office/drawing/2014/main" id="{EFEC6981-E252-4A72-BF42-A9E22913AB75}"/>
              </a:ext>
            </a:extLst>
          </p:cNvPr>
          <p:cNvSpPr>
            <a:spLocks/>
          </p:cNvSpPr>
          <p:nvPr/>
        </p:nvSpPr>
        <p:spPr>
          <a:xfrm>
            <a:off x="3621937" y="2250328"/>
            <a:ext cx="88365" cy="88365"/>
          </a:xfrm>
          <a:prstGeom prst="ellipse">
            <a:avLst/>
          </a:prstGeom>
          <a:solidFill>
            <a:srgbClr val="1974A6"/>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14" name="Oval 413">
            <a:extLst>
              <a:ext uri="{FF2B5EF4-FFF2-40B4-BE49-F238E27FC236}">
                <a16:creationId xmlns:a16="http://schemas.microsoft.com/office/drawing/2014/main" id="{545E5353-20B2-4266-AEC0-09BE0F7DEB19}"/>
              </a:ext>
            </a:extLst>
          </p:cNvPr>
          <p:cNvSpPr>
            <a:spLocks/>
          </p:cNvSpPr>
          <p:nvPr/>
        </p:nvSpPr>
        <p:spPr>
          <a:xfrm>
            <a:off x="3391686" y="2097042"/>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15" name="Oval 414">
            <a:extLst>
              <a:ext uri="{FF2B5EF4-FFF2-40B4-BE49-F238E27FC236}">
                <a16:creationId xmlns:a16="http://schemas.microsoft.com/office/drawing/2014/main" id="{5AD20CE6-AB6B-4A36-AB8D-F07B15EE7F0F}"/>
              </a:ext>
            </a:extLst>
          </p:cNvPr>
          <p:cNvSpPr>
            <a:spLocks/>
          </p:cNvSpPr>
          <p:nvPr/>
        </p:nvSpPr>
        <p:spPr>
          <a:xfrm>
            <a:off x="3431068" y="2124610"/>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16" name="Oval 415">
            <a:extLst>
              <a:ext uri="{FF2B5EF4-FFF2-40B4-BE49-F238E27FC236}">
                <a16:creationId xmlns:a16="http://schemas.microsoft.com/office/drawing/2014/main" id="{20F5070F-3C69-45FC-81A4-22E736645DA0}"/>
              </a:ext>
            </a:extLst>
          </p:cNvPr>
          <p:cNvSpPr>
            <a:spLocks/>
          </p:cNvSpPr>
          <p:nvPr/>
        </p:nvSpPr>
        <p:spPr>
          <a:xfrm>
            <a:off x="3356243" y="1558247"/>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17" name="Oval 416">
            <a:extLst>
              <a:ext uri="{FF2B5EF4-FFF2-40B4-BE49-F238E27FC236}">
                <a16:creationId xmlns:a16="http://schemas.microsoft.com/office/drawing/2014/main" id="{35D15025-DEDE-4F56-AAE0-A257777338E1}"/>
              </a:ext>
            </a:extLst>
          </p:cNvPr>
          <p:cNvSpPr>
            <a:spLocks/>
          </p:cNvSpPr>
          <p:nvPr/>
        </p:nvSpPr>
        <p:spPr>
          <a:xfrm>
            <a:off x="3368057" y="2206247"/>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18" name="Oval 417">
            <a:extLst>
              <a:ext uri="{FF2B5EF4-FFF2-40B4-BE49-F238E27FC236}">
                <a16:creationId xmlns:a16="http://schemas.microsoft.com/office/drawing/2014/main" id="{D90239C5-04B1-43AD-8B45-F2C9EB11BF35}"/>
              </a:ext>
            </a:extLst>
          </p:cNvPr>
          <p:cNvSpPr>
            <a:spLocks/>
          </p:cNvSpPr>
          <p:nvPr/>
        </p:nvSpPr>
        <p:spPr>
          <a:xfrm>
            <a:off x="3405778" y="2344801"/>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19" name="Oval 418">
            <a:extLst>
              <a:ext uri="{FF2B5EF4-FFF2-40B4-BE49-F238E27FC236}">
                <a16:creationId xmlns:a16="http://schemas.microsoft.com/office/drawing/2014/main" id="{2FCCF6BF-E2B1-41E0-AF77-9902C548A6B8}"/>
              </a:ext>
            </a:extLst>
          </p:cNvPr>
          <p:cNvSpPr>
            <a:spLocks/>
          </p:cNvSpPr>
          <p:nvPr/>
        </p:nvSpPr>
        <p:spPr>
          <a:xfrm>
            <a:off x="3374273" y="2410366"/>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20" name="Oval 419">
            <a:extLst>
              <a:ext uri="{FF2B5EF4-FFF2-40B4-BE49-F238E27FC236}">
                <a16:creationId xmlns:a16="http://schemas.microsoft.com/office/drawing/2014/main" id="{04E57B27-D2EC-4119-A8FD-A90E57FAE98F}"/>
              </a:ext>
            </a:extLst>
          </p:cNvPr>
          <p:cNvSpPr>
            <a:spLocks/>
          </p:cNvSpPr>
          <p:nvPr/>
        </p:nvSpPr>
        <p:spPr>
          <a:xfrm>
            <a:off x="3374273" y="2534035"/>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21" name="Oval 420">
            <a:extLst>
              <a:ext uri="{FF2B5EF4-FFF2-40B4-BE49-F238E27FC236}">
                <a16:creationId xmlns:a16="http://schemas.microsoft.com/office/drawing/2014/main" id="{5863CF21-8574-431C-9C88-DB50AF95CB34}"/>
              </a:ext>
            </a:extLst>
          </p:cNvPr>
          <p:cNvSpPr>
            <a:spLocks/>
          </p:cNvSpPr>
          <p:nvPr/>
        </p:nvSpPr>
        <p:spPr>
          <a:xfrm>
            <a:off x="3690983" y="2569478"/>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22" name="Oval 421">
            <a:extLst>
              <a:ext uri="{FF2B5EF4-FFF2-40B4-BE49-F238E27FC236}">
                <a16:creationId xmlns:a16="http://schemas.microsoft.com/office/drawing/2014/main" id="{0FD7C00A-D3DC-4C61-879C-6EA27239240E}"/>
              </a:ext>
            </a:extLst>
          </p:cNvPr>
          <p:cNvSpPr>
            <a:spLocks/>
          </p:cNvSpPr>
          <p:nvPr/>
        </p:nvSpPr>
        <p:spPr>
          <a:xfrm>
            <a:off x="3709793" y="2597046"/>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23" name="Oval 422">
            <a:extLst>
              <a:ext uri="{FF2B5EF4-FFF2-40B4-BE49-F238E27FC236}">
                <a16:creationId xmlns:a16="http://schemas.microsoft.com/office/drawing/2014/main" id="{651EB6F6-C4A5-4AFA-A35F-592844127178}"/>
              </a:ext>
            </a:extLst>
          </p:cNvPr>
          <p:cNvSpPr>
            <a:spLocks/>
          </p:cNvSpPr>
          <p:nvPr/>
        </p:nvSpPr>
        <p:spPr>
          <a:xfrm>
            <a:off x="4696388" y="3069615"/>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24" name="Oval 423">
            <a:extLst>
              <a:ext uri="{FF2B5EF4-FFF2-40B4-BE49-F238E27FC236}">
                <a16:creationId xmlns:a16="http://schemas.microsoft.com/office/drawing/2014/main" id="{126EB11B-56C1-4DAC-A300-FC65025C5D44}"/>
              </a:ext>
            </a:extLst>
          </p:cNvPr>
          <p:cNvSpPr>
            <a:spLocks/>
          </p:cNvSpPr>
          <p:nvPr/>
        </p:nvSpPr>
        <p:spPr>
          <a:xfrm>
            <a:off x="4667508" y="3154612"/>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25" name="Oval 424">
            <a:extLst>
              <a:ext uri="{FF2B5EF4-FFF2-40B4-BE49-F238E27FC236}">
                <a16:creationId xmlns:a16="http://schemas.microsoft.com/office/drawing/2014/main" id="{E0A78222-DAC3-4C64-8647-DAA8909A05CE}"/>
              </a:ext>
            </a:extLst>
          </p:cNvPr>
          <p:cNvSpPr>
            <a:spLocks/>
          </p:cNvSpPr>
          <p:nvPr/>
        </p:nvSpPr>
        <p:spPr>
          <a:xfrm>
            <a:off x="4671034" y="3066262"/>
            <a:ext cx="88365" cy="88365"/>
          </a:xfrm>
          <a:prstGeom prst="ellipse">
            <a:avLst/>
          </a:prstGeom>
          <a:solidFill>
            <a:srgbClr val="0E436C"/>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26" name="Oval 425">
            <a:extLst>
              <a:ext uri="{FF2B5EF4-FFF2-40B4-BE49-F238E27FC236}">
                <a16:creationId xmlns:a16="http://schemas.microsoft.com/office/drawing/2014/main" id="{92FE92B5-599E-40A8-B45F-FA31264BADFF}"/>
              </a:ext>
            </a:extLst>
          </p:cNvPr>
          <p:cNvSpPr>
            <a:spLocks/>
          </p:cNvSpPr>
          <p:nvPr/>
        </p:nvSpPr>
        <p:spPr>
          <a:xfrm>
            <a:off x="4171840" y="3180866"/>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27" name="Oval 426">
            <a:extLst>
              <a:ext uri="{FF2B5EF4-FFF2-40B4-BE49-F238E27FC236}">
                <a16:creationId xmlns:a16="http://schemas.microsoft.com/office/drawing/2014/main" id="{2313DAE4-66EA-4D93-AE2D-BBAF6E9C46CC}"/>
              </a:ext>
            </a:extLst>
          </p:cNvPr>
          <p:cNvSpPr>
            <a:spLocks/>
          </p:cNvSpPr>
          <p:nvPr/>
        </p:nvSpPr>
        <p:spPr>
          <a:xfrm>
            <a:off x="4119459" y="3141485"/>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28" name="Oval 427">
            <a:extLst>
              <a:ext uri="{FF2B5EF4-FFF2-40B4-BE49-F238E27FC236}">
                <a16:creationId xmlns:a16="http://schemas.microsoft.com/office/drawing/2014/main" id="{B82CFAD5-3233-4820-92BF-8F2C2E9E615A}"/>
              </a:ext>
            </a:extLst>
          </p:cNvPr>
          <p:cNvSpPr>
            <a:spLocks/>
          </p:cNvSpPr>
          <p:nvPr/>
        </p:nvSpPr>
        <p:spPr>
          <a:xfrm>
            <a:off x="4089545" y="3143716"/>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29" name="Oval 428">
            <a:extLst>
              <a:ext uri="{FF2B5EF4-FFF2-40B4-BE49-F238E27FC236}">
                <a16:creationId xmlns:a16="http://schemas.microsoft.com/office/drawing/2014/main" id="{274AA810-3EA7-452D-8B0D-EAB4E27AE2F1}"/>
              </a:ext>
            </a:extLst>
          </p:cNvPr>
          <p:cNvSpPr>
            <a:spLocks/>
          </p:cNvSpPr>
          <p:nvPr/>
        </p:nvSpPr>
        <p:spPr>
          <a:xfrm>
            <a:off x="4095693" y="3192283"/>
            <a:ext cx="88365" cy="88365"/>
          </a:xfrm>
          <a:prstGeom prst="ellipse">
            <a:avLst/>
          </a:prstGeom>
          <a:solidFill>
            <a:srgbClr val="0E436C"/>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30" name="Oval 429">
            <a:extLst>
              <a:ext uri="{FF2B5EF4-FFF2-40B4-BE49-F238E27FC236}">
                <a16:creationId xmlns:a16="http://schemas.microsoft.com/office/drawing/2014/main" id="{ACAAC3EF-C31D-4BBF-9D83-6BF1A7205F09}"/>
              </a:ext>
            </a:extLst>
          </p:cNvPr>
          <p:cNvSpPr>
            <a:spLocks/>
          </p:cNvSpPr>
          <p:nvPr/>
        </p:nvSpPr>
        <p:spPr>
          <a:xfrm>
            <a:off x="3279235" y="2776080"/>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31" name="Oval 430">
            <a:extLst>
              <a:ext uri="{FF2B5EF4-FFF2-40B4-BE49-F238E27FC236}">
                <a16:creationId xmlns:a16="http://schemas.microsoft.com/office/drawing/2014/main" id="{9FD2FAC2-D090-4EB1-9BCF-75A2C581FFED}"/>
              </a:ext>
            </a:extLst>
          </p:cNvPr>
          <p:cNvSpPr>
            <a:spLocks/>
          </p:cNvSpPr>
          <p:nvPr/>
        </p:nvSpPr>
        <p:spPr>
          <a:xfrm>
            <a:off x="2757042" y="2439640"/>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32" name="Oval 431">
            <a:extLst>
              <a:ext uri="{FF2B5EF4-FFF2-40B4-BE49-F238E27FC236}">
                <a16:creationId xmlns:a16="http://schemas.microsoft.com/office/drawing/2014/main" id="{B109C10E-A46F-4E55-A34E-85A98FCA1976}"/>
              </a:ext>
            </a:extLst>
          </p:cNvPr>
          <p:cNvSpPr>
            <a:spLocks/>
          </p:cNvSpPr>
          <p:nvPr/>
        </p:nvSpPr>
        <p:spPr>
          <a:xfrm>
            <a:off x="2746540" y="2328907"/>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33" name="Oval 432">
            <a:extLst>
              <a:ext uri="{FF2B5EF4-FFF2-40B4-BE49-F238E27FC236}">
                <a16:creationId xmlns:a16="http://schemas.microsoft.com/office/drawing/2014/main" id="{6EFA259B-99CC-47E0-A42C-CF645506A809}"/>
              </a:ext>
            </a:extLst>
          </p:cNvPr>
          <p:cNvSpPr>
            <a:spLocks/>
          </p:cNvSpPr>
          <p:nvPr/>
        </p:nvSpPr>
        <p:spPr>
          <a:xfrm>
            <a:off x="3130120" y="2651416"/>
            <a:ext cx="88365" cy="88365"/>
          </a:xfrm>
          <a:prstGeom prst="ellipse">
            <a:avLst/>
          </a:prstGeom>
          <a:solidFill>
            <a:srgbClr val="1974A6"/>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34" name="Oval 433">
            <a:extLst>
              <a:ext uri="{FF2B5EF4-FFF2-40B4-BE49-F238E27FC236}">
                <a16:creationId xmlns:a16="http://schemas.microsoft.com/office/drawing/2014/main" id="{FF94C1D0-CBF7-498A-A788-ED47902469AE}"/>
              </a:ext>
            </a:extLst>
          </p:cNvPr>
          <p:cNvSpPr>
            <a:spLocks/>
          </p:cNvSpPr>
          <p:nvPr/>
        </p:nvSpPr>
        <p:spPr>
          <a:xfrm>
            <a:off x="3402617" y="3164228"/>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35" name="Oval 434">
            <a:extLst>
              <a:ext uri="{FF2B5EF4-FFF2-40B4-BE49-F238E27FC236}">
                <a16:creationId xmlns:a16="http://schemas.microsoft.com/office/drawing/2014/main" id="{1C6A9015-6EE6-4164-A0A8-D4EA023919B6}"/>
              </a:ext>
            </a:extLst>
          </p:cNvPr>
          <p:cNvSpPr>
            <a:spLocks/>
          </p:cNvSpPr>
          <p:nvPr/>
        </p:nvSpPr>
        <p:spPr>
          <a:xfrm>
            <a:off x="3426246" y="3198119"/>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36" name="Oval 435">
            <a:extLst>
              <a:ext uri="{FF2B5EF4-FFF2-40B4-BE49-F238E27FC236}">
                <a16:creationId xmlns:a16="http://schemas.microsoft.com/office/drawing/2014/main" id="{184B18B4-A896-4C92-8155-9F0ADEAE251A}"/>
              </a:ext>
            </a:extLst>
          </p:cNvPr>
          <p:cNvSpPr>
            <a:spLocks/>
          </p:cNvSpPr>
          <p:nvPr/>
        </p:nvSpPr>
        <p:spPr>
          <a:xfrm>
            <a:off x="3562769" y="3507945"/>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37" name="Oval 436">
            <a:extLst>
              <a:ext uri="{FF2B5EF4-FFF2-40B4-BE49-F238E27FC236}">
                <a16:creationId xmlns:a16="http://schemas.microsoft.com/office/drawing/2014/main" id="{33D77227-2E0A-45D8-8F18-069B31DE736E}"/>
              </a:ext>
            </a:extLst>
          </p:cNvPr>
          <p:cNvSpPr>
            <a:spLocks/>
          </p:cNvSpPr>
          <p:nvPr/>
        </p:nvSpPr>
        <p:spPr>
          <a:xfrm>
            <a:off x="3215886" y="3559308"/>
            <a:ext cx="88365" cy="88365"/>
          </a:xfrm>
          <a:prstGeom prst="ellipse">
            <a:avLst/>
          </a:prstGeom>
          <a:solidFill>
            <a:srgbClr val="1974A6"/>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38" name="Oval 437">
            <a:extLst>
              <a:ext uri="{FF2B5EF4-FFF2-40B4-BE49-F238E27FC236}">
                <a16:creationId xmlns:a16="http://schemas.microsoft.com/office/drawing/2014/main" id="{4CB4AD31-35BA-46F1-B775-91FFB13708A8}"/>
              </a:ext>
            </a:extLst>
          </p:cNvPr>
          <p:cNvSpPr>
            <a:spLocks/>
          </p:cNvSpPr>
          <p:nvPr/>
        </p:nvSpPr>
        <p:spPr>
          <a:xfrm>
            <a:off x="3282879" y="3366171"/>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39" name="Oval 438">
            <a:extLst>
              <a:ext uri="{FF2B5EF4-FFF2-40B4-BE49-F238E27FC236}">
                <a16:creationId xmlns:a16="http://schemas.microsoft.com/office/drawing/2014/main" id="{0D1B339B-EB7E-4630-97CB-BFD33CB68849}"/>
              </a:ext>
            </a:extLst>
          </p:cNvPr>
          <p:cNvSpPr>
            <a:spLocks/>
          </p:cNvSpPr>
          <p:nvPr/>
        </p:nvSpPr>
        <p:spPr>
          <a:xfrm>
            <a:off x="3191365" y="3489857"/>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40" name="Oval 439">
            <a:extLst>
              <a:ext uri="{FF2B5EF4-FFF2-40B4-BE49-F238E27FC236}">
                <a16:creationId xmlns:a16="http://schemas.microsoft.com/office/drawing/2014/main" id="{9007729C-C5A3-4423-808B-071097A3F043}"/>
              </a:ext>
            </a:extLst>
          </p:cNvPr>
          <p:cNvSpPr>
            <a:spLocks/>
          </p:cNvSpPr>
          <p:nvPr/>
        </p:nvSpPr>
        <p:spPr>
          <a:xfrm>
            <a:off x="3167001" y="3489857"/>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41" name="Oval 440">
            <a:extLst>
              <a:ext uri="{FF2B5EF4-FFF2-40B4-BE49-F238E27FC236}">
                <a16:creationId xmlns:a16="http://schemas.microsoft.com/office/drawing/2014/main" id="{55628E70-55C9-49F8-9B8A-5756C383D154}"/>
              </a:ext>
            </a:extLst>
          </p:cNvPr>
          <p:cNvSpPr>
            <a:spLocks/>
          </p:cNvSpPr>
          <p:nvPr/>
        </p:nvSpPr>
        <p:spPr>
          <a:xfrm>
            <a:off x="3160888" y="3464328"/>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42" name="Oval 441">
            <a:extLst>
              <a:ext uri="{FF2B5EF4-FFF2-40B4-BE49-F238E27FC236}">
                <a16:creationId xmlns:a16="http://schemas.microsoft.com/office/drawing/2014/main" id="{E14ECA4B-1B31-44DF-BB19-03204ABA6B88}"/>
              </a:ext>
            </a:extLst>
          </p:cNvPr>
          <p:cNvSpPr>
            <a:spLocks/>
          </p:cNvSpPr>
          <p:nvPr/>
        </p:nvSpPr>
        <p:spPr>
          <a:xfrm>
            <a:off x="3195215" y="3414417"/>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812" name="Oval 811">
            <a:extLst>
              <a:ext uri="{FF2B5EF4-FFF2-40B4-BE49-F238E27FC236}">
                <a16:creationId xmlns:a16="http://schemas.microsoft.com/office/drawing/2014/main" id="{AA1CF767-9955-42A7-8C09-D7AAD705CEDF}"/>
              </a:ext>
            </a:extLst>
          </p:cNvPr>
          <p:cNvSpPr>
            <a:spLocks/>
          </p:cNvSpPr>
          <p:nvPr/>
        </p:nvSpPr>
        <p:spPr>
          <a:xfrm>
            <a:off x="3149126" y="3708966"/>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813" name="Oval 812">
            <a:extLst>
              <a:ext uri="{FF2B5EF4-FFF2-40B4-BE49-F238E27FC236}">
                <a16:creationId xmlns:a16="http://schemas.microsoft.com/office/drawing/2014/main" id="{1CEF67FB-C277-442F-AC99-4D4E21690250}"/>
              </a:ext>
            </a:extLst>
          </p:cNvPr>
          <p:cNvSpPr>
            <a:spLocks/>
          </p:cNvSpPr>
          <p:nvPr/>
        </p:nvSpPr>
        <p:spPr>
          <a:xfrm>
            <a:off x="3120162" y="3698654"/>
            <a:ext cx="88365" cy="88365"/>
          </a:xfrm>
          <a:prstGeom prst="ellipse">
            <a:avLst/>
          </a:prstGeom>
          <a:solidFill>
            <a:srgbClr val="0E436C"/>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44" name="Oval 443">
            <a:extLst>
              <a:ext uri="{FF2B5EF4-FFF2-40B4-BE49-F238E27FC236}">
                <a16:creationId xmlns:a16="http://schemas.microsoft.com/office/drawing/2014/main" id="{50E3C186-4B3C-4B0B-AAC4-00834BB9AD81}"/>
              </a:ext>
            </a:extLst>
          </p:cNvPr>
          <p:cNvSpPr>
            <a:spLocks/>
          </p:cNvSpPr>
          <p:nvPr/>
        </p:nvSpPr>
        <p:spPr>
          <a:xfrm>
            <a:off x="3175285" y="3641503"/>
            <a:ext cx="88365" cy="88365"/>
          </a:xfrm>
          <a:prstGeom prst="ellipse">
            <a:avLst/>
          </a:prstGeom>
          <a:solidFill>
            <a:srgbClr val="1974A6"/>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45" name="Oval 444">
            <a:extLst>
              <a:ext uri="{FF2B5EF4-FFF2-40B4-BE49-F238E27FC236}">
                <a16:creationId xmlns:a16="http://schemas.microsoft.com/office/drawing/2014/main" id="{4B6445B6-79BB-4315-A91C-E64532F509EF}"/>
              </a:ext>
            </a:extLst>
          </p:cNvPr>
          <p:cNvSpPr>
            <a:spLocks/>
          </p:cNvSpPr>
          <p:nvPr/>
        </p:nvSpPr>
        <p:spPr>
          <a:xfrm>
            <a:off x="3122566" y="3660600"/>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46" name="Oval 445">
            <a:extLst>
              <a:ext uri="{FF2B5EF4-FFF2-40B4-BE49-F238E27FC236}">
                <a16:creationId xmlns:a16="http://schemas.microsoft.com/office/drawing/2014/main" id="{07AB5124-C0C5-4F41-A7C0-886CF78B9AC5}"/>
              </a:ext>
            </a:extLst>
          </p:cNvPr>
          <p:cNvSpPr>
            <a:spLocks/>
          </p:cNvSpPr>
          <p:nvPr/>
        </p:nvSpPr>
        <p:spPr>
          <a:xfrm>
            <a:off x="3122566" y="3582635"/>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47" name="Oval 446">
            <a:extLst>
              <a:ext uri="{FF2B5EF4-FFF2-40B4-BE49-F238E27FC236}">
                <a16:creationId xmlns:a16="http://schemas.microsoft.com/office/drawing/2014/main" id="{3BEDDCBA-968F-4B8D-AF84-9914768F6F44}"/>
              </a:ext>
            </a:extLst>
          </p:cNvPr>
          <p:cNvSpPr>
            <a:spLocks/>
          </p:cNvSpPr>
          <p:nvPr/>
        </p:nvSpPr>
        <p:spPr>
          <a:xfrm>
            <a:off x="3133453" y="3628924"/>
            <a:ext cx="88365" cy="88365"/>
          </a:xfrm>
          <a:prstGeom prst="ellipse">
            <a:avLst/>
          </a:prstGeom>
          <a:solidFill>
            <a:srgbClr val="1974A6"/>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48" name="Oval 447">
            <a:extLst>
              <a:ext uri="{FF2B5EF4-FFF2-40B4-BE49-F238E27FC236}">
                <a16:creationId xmlns:a16="http://schemas.microsoft.com/office/drawing/2014/main" id="{E7D2DE6B-D05E-435F-9E1F-A0F35763E35B}"/>
              </a:ext>
            </a:extLst>
          </p:cNvPr>
          <p:cNvSpPr>
            <a:spLocks/>
          </p:cNvSpPr>
          <p:nvPr/>
        </p:nvSpPr>
        <p:spPr>
          <a:xfrm>
            <a:off x="2983833" y="3156805"/>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49" name="Oval 448">
            <a:extLst>
              <a:ext uri="{FF2B5EF4-FFF2-40B4-BE49-F238E27FC236}">
                <a16:creationId xmlns:a16="http://schemas.microsoft.com/office/drawing/2014/main" id="{73289B3E-EE61-4571-95A1-3C6FBA541C50}"/>
              </a:ext>
            </a:extLst>
          </p:cNvPr>
          <p:cNvSpPr>
            <a:spLocks/>
          </p:cNvSpPr>
          <p:nvPr/>
        </p:nvSpPr>
        <p:spPr>
          <a:xfrm>
            <a:off x="3021163" y="3188029"/>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50" name="Oval 449">
            <a:extLst>
              <a:ext uri="{FF2B5EF4-FFF2-40B4-BE49-F238E27FC236}">
                <a16:creationId xmlns:a16="http://schemas.microsoft.com/office/drawing/2014/main" id="{C6B5512E-6907-420B-946D-E26E56B50CBA}"/>
              </a:ext>
            </a:extLst>
          </p:cNvPr>
          <p:cNvSpPr>
            <a:spLocks/>
          </p:cNvSpPr>
          <p:nvPr/>
        </p:nvSpPr>
        <p:spPr>
          <a:xfrm>
            <a:off x="2920877" y="3188029"/>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51" name="Oval 450">
            <a:extLst>
              <a:ext uri="{FF2B5EF4-FFF2-40B4-BE49-F238E27FC236}">
                <a16:creationId xmlns:a16="http://schemas.microsoft.com/office/drawing/2014/main" id="{88C218DE-DFD2-43EA-B48B-55E6DF4371AB}"/>
              </a:ext>
            </a:extLst>
          </p:cNvPr>
          <p:cNvSpPr>
            <a:spLocks/>
          </p:cNvSpPr>
          <p:nvPr/>
        </p:nvSpPr>
        <p:spPr>
          <a:xfrm>
            <a:off x="2897285" y="3168203"/>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52" name="Oval 451">
            <a:extLst>
              <a:ext uri="{FF2B5EF4-FFF2-40B4-BE49-F238E27FC236}">
                <a16:creationId xmlns:a16="http://schemas.microsoft.com/office/drawing/2014/main" id="{9D4E5684-3265-489D-BB2F-B00E731C8848}"/>
              </a:ext>
            </a:extLst>
          </p:cNvPr>
          <p:cNvSpPr>
            <a:spLocks/>
          </p:cNvSpPr>
          <p:nvPr/>
        </p:nvSpPr>
        <p:spPr>
          <a:xfrm>
            <a:off x="2904545" y="3148377"/>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53" name="Oval 452">
            <a:extLst>
              <a:ext uri="{FF2B5EF4-FFF2-40B4-BE49-F238E27FC236}">
                <a16:creationId xmlns:a16="http://schemas.microsoft.com/office/drawing/2014/main" id="{DE18A080-1087-4307-9F9E-5A115E26B305}"/>
              </a:ext>
            </a:extLst>
          </p:cNvPr>
          <p:cNvSpPr>
            <a:spLocks/>
          </p:cNvSpPr>
          <p:nvPr/>
        </p:nvSpPr>
        <p:spPr>
          <a:xfrm>
            <a:off x="2837502" y="3101119"/>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54" name="Oval 453">
            <a:extLst>
              <a:ext uri="{FF2B5EF4-FFF2-40B4-BE49-F238E27FC236}">
                <a16:creationId xmlns:a16="http://schemas.microsoft.com/office/drawing/2014/main" id="{7AEC009B-29C7-4ADE-A251-32747F832CF3}"/>
              </a:ext>
            </a:extLst>
          </p:cNvPr>
          <p:cNvSpPr>
            <a:spLocks/>
          </p:cNvSpPr>
          <p:nvPr/>
        </p:nvSpPr>
        <p:spPr>
          <a:xfrm>
            <a:off x="2860959" y="3173308"/>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55" name="Oval 454">
            <a:extLst>
              <a:ext uri="{FF2B5EF4-FFF2-40B4-BE49-F238E27FC236}">
                <a16:creationId xmlns:a16="http://schemas.microsoft.com/office/drawing/2014/main" id="{1A8A5088-0003-4A7D-9246-4DEA6338611B}"/>
              </a:ext>
            </a:extLst>
          </p:cNvPr>
          <p:cNvSpPr>
            <a:spLocks/>
          </p:cNvSpPr>
          <p:nvPr/>
        </p:nvSpPr>
        <p:spPr>
          <a:xfrm>
            <a:off x="2849394" y="3205355"/>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56" name="Oval 455">
            <a:extLst>
              <a:ext uri="{FF2B5EF4-FFF2-40B4-BE49-F238E27FC236}">
                <a16:creationId xmlns:a16="http://schemas.microsoft.com/office/drawing/2014/main" id="{3963122B-9C71-49FE-931A-F3FEDC6C673D}"/>
              </a:ext>
            </a:extLst>
          </p:cNvPr>
          <p:cNvSpPr>
            <a:spLocks/>
          </p:cNvSpPr>
          <p:nvPr/>
        </p:nvSpPr>
        <p:spPr>
          <a:xfrm>
            <a:off x="2896766" y="3209294"/>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57" name="Oval 456">
            <a:extLst>
              <a:ext uri="{FF2B5EF4-FFF2-40B4-BE49-F238E27FC236}">
                <a16:creationId xmlns:a16="http://schemas.microsoft.com/office/drawing/2014/main" id="{BCE29700-0735-49ED-A2BE-78423741DE74}"/>
              </a:ext>
            </a:extLst>
          </p:cNvPr>
          <p:cNvSpPr>
            <a:spLocks/>
          </p:cNvSpPr>
          <p:nvPr/>
        </p:nvSpPr>
        <p:spPr>
          <a:xfrm>
            <a:off x="2969166" y="3268064"/>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58" name="Oval 457">
            <a:extLst>
              <a:ext uri="{FF2B5EF4-FFF2-40B4-BE49-F238E27FC236}">
                <a16:creationId xmlns:a16="http://schemas.microsoft.com/office/drawing/2014/main" id="{F3C75096-3943-4C4C-82E3-8FDB7F29C7E7}"/>
              </a:ext>
            </a:extLst>
          </p:cNvPr>
          <p:cNvSpPr>
            <a:spLocks/>
          </p:cNvSpPr>
          <p:nvPr/>
        </p:nvSpPr>
        <p:spPr>
          <a:xfrm>
            <a:off x="2981556" y="3286097"/>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59" name="Oval 458">
            <a:extLst>
              <a:ext uri="{FF2B5EF4-FFF2-40B4-BE49-F238E27FC236}">
                <a16:creationId xmlns:a16="http://schemas.microsoft.com/office/drawing/2014/main" id="{F067A8B9-9446-43AD-97CC-0BC045AD55A6}"/>
              </a:ext>
            </a:extLst>
          </p:cNvPr>
          <p:cNvSpPr>
            <a:spLocks/>
          </p:cNvSpPr>
          <p:nvPr/>
        </p:nvSpPr>
        <p:spPr>
          <a:xfrm>
            <a:off x="3056706" y="3260537"/>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60" name="Oval 459">
            <a:extLst>
              <a:ext uri="{FF2B5EF4-FFF2-40B4-BE49-F238E27FC236}">
                <a16:creationId xmlns:a16="http://schemas.microsoft.com/office/drawing/2014/main" id="{B0BEB168-D7F9-430E-B856-3B22B8FBCE86}"/>
              </a:ext>
            </a:extLst>
          </p:cNvPr>
          <p:cNvSpPr>
            <a:spLocks/>
          </p:cNvSpPr>
          <p:nvPr/>
        </p:nvSpPr>
        <p:spPr>
          <a:xfrm>
            <a:off x="2883399" y="3256826"/>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61" name="Oval 460">
            <a:extLst>
              <a:ext uri="{FF2B5EF4-FFF2-40B4-BE49-F238E27FC236}">
                <a16:creationId xmlns:a16="http://schemas.microsoft.com/office/drawing/2014/main" id="{277F624B-2F32-4705-AB1D-7F52D7AF06F6}"/>
              </a:ext>
            </a:extLst>
          </p:cNvPr>
          <p:cNvSpPr>
            <a:spLocks/>
          </p:cNvSpPr>
          <p:nvPr/>
        </p:nvSpPr>
        <p:spPr>
          <a:xfrm>
            <a:off x="2840125" y="3304359"/>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62" name="Oval 461">
            <a:extLst>
              <a:ext uri="{FF2B5EF4-FFF2-40B4-BE49-F238E27FC236}">
                <a16:creationId xmlns:a16="http://schemas.microsoft.com/office/drawing/2014/main" id="{68000953-E23D-4550-9C17-0FD2B7E7BFCE}"/>
              </a:ext>
            </a:extLst>
          </p:cNvPr>
          <p:cNvSpPr>
            <a:spLocks/>
          </p:cNvSpPr>
          <p:nvPr/>
        </p:nvSpPr>
        <p:spPr>
          <a:xfrm>
            <a:off x="2796293" y="3302562"/>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63" name="Oval 462">
            <a:extLst>
              <a:ext uri="{FF2B5EF4-FFF2-40B4-BE49-F238E27FC236}">
                <a16:creationId xmlns:a16="http://schemas.microsoft.com/office/drawing/2014/main" id="{E8A30AA2-8AB3-4407-850B-744097628999}"/>
              </a:ext>
            </a:extLst>
          </p:cNvPr>
          <p:cNvSpPr>
            <a:spLocks/>
          </p:cNvSpPr>
          <p:nvPr/>
        </p:nvSpPr>
        <p:spPr>
          <a:xfrm>
            <a:off x="2762818" y="3253438"/>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64" name="Oval 463">
            <a:extLst>
              <a:ext uri="{FF2B5EF4-FFF2-40B4-BE49-F238E27FC236}">
                <a16:creationId xmlns:a16="http://schemas.microsoft.com/office/drawing/2014/main" id="{E7BFD9A3-D227-4076-B820-219577764A61}"/>
              </a:ext>
            </a:extLst>
          </p:cNvPr>
          <p:cNvSpPr>
            <a:spLocks/>
          </p:cNvSpPr>
          <p:nvPr/>
        </p:nvSpPr>
        <p:spPr>
          <a:xfrm>
            <a:off x="2745244" y="3253438"/>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65" name="Oval 464">
            <a:extLst>
              <a:ext uri="{FF2B5EF4-FFF2-40B4-BE49-F238E27FC236}">
                <a16:creationId xmlns:a16="http://schemas.microsoft.com/office/drawing/2014/main" id="{CDB4DCF2-E024-49B3-AB49-573E3FDA90BC}"/>
              </a:ext>
            </a:extLst>
          </p:cNvPr>
          <p:cNvSpPr>
            <a:spLocks/>
          </p:cNvSpPr>
          <p:nvPr/>
        </p:nvSpPr>
        <p:spPr>
          <a:xfrm>
            <a:off x="2719537" y="3222337"/>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66" name="Oval 465">
            <a:extLst>
              <a:ext uri="{FF2B5EF4-FFF2-40B4-BE49-F238E27FC236}">
                <a16:creationId xmlns:a16="http://schemas.microsoft.com/office/drawing/2014/main" id="{DDD6074C-6168-4297-B180-1DAE12888A1C}"/>
              </a:ext>
            </a:extLst>
          </p:cNvPr>
          <p:cNvSpPr>
            <a:spLocks/>
          </p:cNvSpPr>
          <p:nvPr/>
        </p:nvSpPr>
        <p:spPr>
          <a:xfrm>
            <a:off x="2683133" y="3179618"/>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67" name="Oval 466">
            <a:extLst>
              <a:ext uri="{FF2B5EF4-FFF2-40B4-BE49-F238E27FC236}">
                <a16:creationId xmlns:a16="http://schemas.microsoft.com/office/drawing/2014/main" id="{462AF0AE-1783-4705-86FB-885513FDE2F3}"/>
              </a:ext>
            </a:extLst>
          </p:cNvPr>
          <p:cNvSpPr>
            <a:spLocks/>
          </p:cNvSpPr>
          <p:nvPr/>
        </p:nvSpPr>
        <p:spPr>
          <a:xfrm>
            <a:off x="2713372" y="3166150"/>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68" name="Oval 467">
            <a:extLst>
              <a:ext uri="{FF2B5EF4-FFF2-40B4-BE49-F238E27FC236}">
                <a16:creationId xmlns:a16="http://schemas.microsoft.com/office/drawing/2014/main" id="{EB897B52-6206-4CA9-8565-8F0C47BC642D}"/>
              </a:ext>
            </a:extLst>
          </p:cNvPr>
          <p:cNvSpPr>
            <a:spLocks/>
          </p:cNvSpPr>
          <p:nvPr/>
        </p:nvSpPr>
        <p:spPr>
          <a:xfrm>
            <a:off x="2661901" y="3193423"/>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69" name="Oval 468">
            <a:extLst>
              <a:ext uri="{FF2B5EF4-FFF2-40B4-BE49-F238E27FC236}">
                <a16:creationId xmlns:a16="http://schemas.microsoft.com/office/drawing/2014/main" id="{0D1D4F8F-07B5-4F89-AC01-F9A28F53C817}"/>
              </a:ext>
            </a:extLst>
          </p:cNvPr>
          <p:cNvSpPr>
            <a:spLocks/>
          </p:cNvSpPr>
          <p:nvPr/>
        </p:nvSpPr>
        <p:spPr>
          <a:xfrm>
            <a:off x="2673969" y="3222500"/>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70" name="Oval 469">
            <a:extLst>
              <a:ext uri="{FF2B5EF4-FFF2-40B4-BE49-F238E27FC236}">
                <a16:creationId xmlns:a16="http://schemas.microsoft.com/office/drawing/2014/main" id="{AFBEA2BF-DD2F-47F7-97DE-E36CA0E8FE6D}"/>
              </a:ext>
            </a:extLst>
          </p:cNvPr>
          <p:cNvSpPr>
            <a:spLocks/>
          </p:cNvSpPr>
          <p:nvPr/>
        </p:nvSpPr>
        <p:spPr>
          <a:xfrm>
            <a:off x="2658648" y="3243747"/>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71" name="Oval 470">
            <a:extLst>
              <a:ext uri="{FF2B5EF4-FFF2-40B4-BE49-F238E27FC236}">
                <a16:creationId xmlns:a16="http://schemas.microsoft.com/office/drawing/2014/main" id="{5F1A15E3-8742-4BD4-860A-D86B64AA6A4D}"/>
              </a:ext>
            </a:extLst>
          </p:cNvPr>
          <p:cNvSpPr>
            <a:spLocks/>
          </p:cNvSpPr>
          <p:nvPr/>
        </p:nvSpPr>
        <p:spPr>
          <a:xfrm>
            <a:off x="2701530" y="3273163"/>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72" name="Oval 471">
            <a:extLst>
              <a:ext uri="{FF2B5EF4-FFF2-40B4-BE49-F238E27FC236}">
                <a16:creationId xmlns:a16="http://schemas.microsoft.com/office/drawing/2014/main" id="{D18DEC98-C575-438D-B573-912CC52D8826}"/>
              </a:ext>
            </a:extLst>
          </p:cNvPr>
          <p:cNvSpPr>
            <a:spLocks/>
          </p:cNvSpPr>
          <p:nvPr/>
        </p:nvSpPr>
        <p:spPr>
          <a:xfrm>
            <a:off x="2749170" y="3313303"/>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73" name="Oval 472">
            <a:extLst>
              <a:ext uri="{FF2B5EF4-FFF2-40B4-BE49-F238E27FC236}">
                <a16:creationId xmlns:a16="http://schemas.microsoft.com/office/drawing/2014/main" id="{4B1BB873-721B-4A13-8AAF-87C18AFCD5D6}"/>
              </a:ext>
            </a:extLst>
          </p:cNvPr>
          <p:cNvSpPr>
            <a:spLocks/>
          </p:cNvSpPr>
          <p:nvPr/>
        </p:nvSpPr>
        <p:spPr>
          <a:xfrm>
            <a:off x="2759010" y="3387288"/>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74" name="Oval 473">
            <a:extLst>
              <a:ext uri="{FF2B5EF4-FFF2-40B4-BE49-F238E27FC236}">
                <a16:creationId xmlns:a16="http://schemas.microsoft.com/office/drawing/2014/main" id="{1EF0FAB0-D34A-4D63-842B-D0DC4F4D6C4A}"/>
              </a:ext>
            </a:extLst>
          </p:cNvPr>
          <p:cNvSpPr>
            <a:spLocks/>
          </p:cNvSpPr>
          <p:nvPr/>
        </p:nvSpPr>
        <p:spPr>
          <a:xfrm>
            <a:off x="2708389" y="3453381"/>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75" name="Oval 474">
            <a:extLst>
              <a:ext uri="{FF2B5EF4-FFF2-40B4-BE49-F238E27FC236}">
                <a16:creationId xmlns:a16="http://schemas.microsoft.com/office/drawing/2014/main" id="{33B475DF-5A41-40AF-BD12-AC3B7FF86A2E}"/>
              </a:ext>
            </a:extLst>
          </p:cNvPr>
          <p:cNvSpPr>
            <a:spLocks/>
          </p:cNvSpPr>
          <p:nvPr/>
        </p:nvSpPr>
        <p:spPr>
          <a:xfrm>
            <a:off x="2716852" y="3427959"/>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76" name="Oval 475">
            <a:extLst>
              <a:ext uri="{FF2B5EF4-FFF2-40B4-BE49-F238E27FC236}">
                <a16:creationId xmlns:a16="http://schemas.microsoft.com/office/drawing/2014/main" id="{9D82623C-64DC-448D-BA5A-5A74086B136D}"/>
              </a:ext>
            </a:extLst>
          </p:cNvPr>
          <p:cNvSpPr>
            <a:spLocks/>
          </p:cNvSpPr>
          <p:nvPr/>
        </p:nvSpPr>
        <p:spPr>
          <a:xfrm>
            <a:off x="2882059" y="3431212"/>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77" name="Oval 476">
            <a:extLst>
              <a:ext uri="{FF2B5EF4-FFF2-40B4-BE49-F238E27FC236}">
                <a16:creationId xmlns:a16="http://schemas.microsoft.com/office/drawing/2014/main" id="{C1C673F6-97C2-4760-B9EB-50552A2F2D5C}"/>
              </a:ext>
            </a:extLst>
          </p:cNvPr>
          <p:cNvSpPr>
            <a:spLocks/>
          </p:cNvSpPr>
          <p:nvPr/>
        </p:nvSpPr>
        <p:spPr>
          <a:xfrm>
            <a:off x="2790700" y="3469796"/>
            <a:ext cx="88365" cy="88365"/>
          </a:xfrm>
          <a:prstGeom prst="ellipse">
            <a:avLst/>
          </a:prstGeom>
          <a:solidFill>
            <a:srgbClr val="1974A6"/>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78" name="Oval 477">
            <a:extLst>
              <a:ext uri="{FF2B5EF4-FFF2-40B4-BE49-F238E27FC236}">
                <a16:creationId xmlns:a16="http://schemas.microsoft.com/office/drawing/2014/main" id="{E950C3F0-E434-4BD8-B4BA-FADA30383248}"/>
              </a:ext>
            </a:extLst>
          </p:cNvPr>
          <p:cNvSpPr>
            <a:spLocks/>
          </p:cNvSpPr>
          <p:nvPr/>
        </p:nvSpPr>
        <p:spPr>
          <a:xfrm>
            <a:off x="2790700" y="3511634"/>
            <a:ext cx="88365" cy="88365"/>
          </a:xfrm>
          <a:prstGeom prst="ellipse">
            <a:avLst/>
          </a:prstGeom>
          <a:solidFill>
            <a:schemeClr val="accent5">
              <a:lumMod val="20000"/>
              <a:lumOff val="80000"/>
            </a:schemeClr>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79" name="Oval 478">
            <a:extLst>
              <a:ext uri="{FF2B5EF4-FFF2-40B4-BE49-F238E27FC236}">
                <a16:creationId xmlns:a16="http://schemas.microsoft.com/office/drawing/2014/main" id="{78C03A2C-90C3-46D0-87F7-C00FEF448D1F}"/>
              </a:ext>
            </a:extLst>
          </p:cNvPr>
          <p:cNvSpPr>
            <a:spLocks/>
          </p:cNvSpPr>
          <p:nvPr/>
        </p:nvSpPr>
        <p:spPr>
          <a:xfrm>
            <a:off x="2816337" y="3499179"/>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80" name="Oval 479">
            <a:extLst>
              <a:ext uri="{FF2B5EF4-FFF2-40B4-BE49-F238E27FC236}">
                <a16:creationId xmlns:a16="http://schemas.microsoft.com/office/drawing/2014/main" id="{DA0A3697-C13A-430D-B0DD-B3B8E658C2AB}"/>
              </a:ext>
            </a:extLst>
          </p:cNvPr>
          <p:cNvSpPr>
            <a:spLocks/>
          </p:cNvSpPr>
          <p:nvPr/>
        </p:nvSpPr>
        <p:spPr>
          <a:xfrm>
            <a:off x="2884029" y="3508798"/>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81" name="Oval 480">
            <a:extLst>
              <a:ext uri="{FF2B5EF4-FFF2-40B4-BE49-F238E27FC236}">
                <a16:creationId xmlns:a16="http://schemas.microsoft.com/office/drawing/2014/main" id="{61656104-3CC7-4A11-9251-0EE23A78D8AF}"/>
              </a:ext>
            </a:extLst>
          </p:cNvPr>
          <p:cNvSpPr>
            <a:spLocks/>
          </p:cNvSpPr>
          <p:nvPr/>
        </p:nvSpPr>
        <p:spPr>
          <a:xfrm>
            <a:off x="2914102" y="3500831"/>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82" name="Oval 481">
            <a:extLst>
              <a:ext uri="{FF2B5EF4-FFF2-40B4-BE49-F238E27FC236}">
                <a16:creationId xmlns:a16="http://schemas.microsoft.com/office/drawing/2014/main" id="{D79590D8-6D38-4FDD-9BC4-A2CE949C1A99}"/>
              </a:ext>
            </a:extLst>
          </p:cNvPr>
          <p:cNvSpPr>
            <a:spLocks/>
          </p:cNvSpPr>
          <p:nvPr/>
        </p:nvSpPr>
        <p:spPr>
          <a:xfrm>
            <a:off x="2907431" y="3539751"/>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83" name="Oval 482">
            <a:extLst>
              <a:ext uri="{FF2B5EF4-FFF2-40B4-BE49-F238E27FC236}">
                <a16:creationId xmlns:a16="http://schemas.microsoft.com/office/drawing/2014/main" id="{BDE02058-0EC7-4E50-B21C-DC978A0D3F9F}"/>
              </a:ext>
            </a:extLst>
          </p:cNvPr>
          <p:cNvSpPr>
            <a:spLocks/>
          </p:cNvSpPr>
          <p:nvPr/>
        </p:nvSpPr>
        <p:spPr>
          <a:xfrm>
            <a:off x="2911370" y="3602716"/>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84" name="Oval 483">
            <a:extLst>
              <a:ext uri="{FF2B5EF4-FFF2-40B4-BE49-F238E27FC236}">
                <a16:creationId xmlns:a16="http://schemas.microsoft.com/office/drawing/2014/main" id="{B2C6F53F-38B5-4D21-83A0-B59E2DEAB087}"/>
              </a:ext>
            </a:extLst>
          </p:cNvPr>
          <p:cNvSpPr>
            <a:spLocks/>
          </p:cNvSpPr>
          <p:nvPr/>
        </p:nvSpPr>
        <p:spPr>
          <a:xfrm>
            <a:off x="2974053" y="3624376"/>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85" name="Oval 484">
            <a:extLst>
              <a:ext uri="{FF2B5EF4-FFF2-40B4-BE49-F238E27FC236}">
                <a16:creationId xmlns:a16="http://schemas.microsoft.com/office/drawing/2014/main" id="{E6BEAEF1-9B93-4F12-92A5-00AC9C19FC37}"/>
              </a:ext>
            </a:extLst>
          </p:cNvPr>
          <p:cNvSpPr>
            <a:spLocks/>
          </p:cNvSpPr>
          <p:nvPr/>
        </p:nvSpPr>
        <p:spPr>
          <a:xfrm>
            <a:off x="2794266" y="3612561"/>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86" name="Oval 485">
            <a:extLst>
              <a:ext uri="{FF2B5EF4-FFF2-40B4-BE49-F238E27FC236}">
                <a16:creationId xmlns:a16="http://schemas.microsoft.com/office/drawing/2014/main" id="{923C0DCD-3835-4736-805E-B4ED5608E221}"/>
              </a:ext>
            </a:extLst>
          </p:cNvPr>
          <p:cNvSpPr>
            <a:spLocks/>
          </p:cNvSpPr>
          <p:nvPr/>
        </p:nvSpPr>
        <p:spPr>
          <a:xfrm>
            <a:off x="2735709" y="3634289"/>
            <a:ext cx="88365" cy="88365"/>
          </a:xfrm>
          <a:prstGeom prst="ellipse">
            <a:avLst/>
          </a:prstGeom>
          <a:solidFill>
            <a:srgbClr val="1974A6"/>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87" name="Oval 486">
            <a:extLst>
              <a:ext uri="{FF2B5EF4-FFF2-40B4-BE49-F238E27FC236}">
                <a16:creationId xmlns:a16="http://schemas.microsoft.com/office/drawing/2014/main" id="{EEE60440-AF65-43AA-ABC1-E83BF5A3B2E8}"/>
              </a:ext>
            </a:extLst>
          </p:cNvPr>
          <p:cNvSpPr>
            <a:spLocks/>
          </p:cNvSpPr>
          <p:nvPr/>
        </p:nvSpPr>
        <p:spPr>
          <a:xfrm>
            <a:off x="2576574" y="3309324"/>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88" name="Oval 487">
            <a:extLst>
              <a:ext uri="{FF2B5EF4-FFF2-40B4-BE49-F238E27FC236}">
                <a16:creationId xmlns:a16="http://schemas.microsoft.com/office/drawing/2014/main" id="{43CBDA16-5C0A-4439-A408-FC7194E586D5}"/>
              </a:ext>
            </a:extLst>
          </p:cNvPr>
          <p:cNvSpPr>
            <a:spLocks/>
          </p:cNvSpPr>
          <p:nvPr/>
        </p:nvSpPr>
        <p:spPr>
          <a:xfrm>
            <a:off x="2559000" y="3309324"/>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89" name="Oval 488">
            <a:extLst>
              <a:ext uri="{FF2B5EF4-FFF2-40B4-BE49-F238E27FC236}">
                <a16:creationId xmlns:a16="http://schemas.microsoft.com/office/drawing/2014/main" id="{BF9E019A-616C-4A1C-96AE-00B97C7C1DB2}"/>
              </a:ext>
            </a:extLst>
          </p:cNvPr>
          <p:cNvSpPr>
            <a:spLocks/>
          </p:cNvSpPr>
          <p:nvPr/>
        </p:nvSpPr>
        <p:spPr>
          <a:xfrm>
            <a:off x="2556090" y="3511043"/>
            <a:ext cx="88365" cy="88365"/>
          </a:xfrm>
          <a:prstGeom prst="ellipse">
            <a:avLst/>
          </a:prstGeom>
          <a:solidFill>
            <a:srgbClr val="0E436C"/>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90" name="Oval 489">
            <a:extLst>
              <a:ext uri="{FF2B5EF4-FFF2-40B4-BE49-F238E27FC236}">
                <a16:creationId xmlns:a16="http://schemas.microsoft.com/office/drawing/2014/main" id="{8E9FB197-E4ED-4D80-A6DA-49136772EB87}"/>
              </a:ext>
            </a:extLst>
          </p:cNvPr>
          <p:cNvSpPr>
            <a:spLocks/>
          </p:cNvSpPr>
          <p:nvPr/>
        </p:nvSpPr>
        <p:spPr>
          <a:xfrm>
            <a:off x="2513576" y="3504397"/>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91" name="Oval 490">
            <a:extLst>
              <a:ext uri="{FF2B5EF4-FFF2-40B4-BE49-F238E27FC236}">
                <a16:creationId xmlns:a16="http://schemas.microsoft.com/office/drawing/2014/main" id="{FF268E8E-4F11-4DDC-93A1-9D483F558B02}"/>
              </a:ext>
            </a:extLst>
          </p:cNvPr>
          <p:cNvSpPr>
            <a:spLocks/>
          </p:cNvSpPr>
          <p:nvPr/>
        </p:nvSpPr>
        <p:spPr>
          <a:xfrm>
            <a:off x="2489944" y="3392219"/>
            <a:ext cx="88365" cy="88365"/>
          </a:xfrm>
          <a:prstGeom prst="ellipse">
            <a:avLst/>
          </a:prstGeom>
          <a:solidFill>
            <a:srgbClr val="1974A6"/>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92" name="Oval 491">
            <a:extLst>
              <a:ext uri="{FF2B5EF4-FFF2-40B4-BE49-F238E27FC236}">
                <a16:creationId xmlns:a16="http://schemas.microsoft.com/office/drawing/2014/main" id="{AF22781C-179B-4F7B-8E6D-B051C5D5666A}"/>
              </a:ext>
            </a:extLst>
          </p:cNvPr>
          <p:cNvSpPr>
            <a:spLocks/>
          </p:cNvSpPr>
          <p:nvPr/>
        </p:nvSpPr>
        <p:spPr>
          <a:xfrm>
            <a:off x="2517649" y="3351862"/>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93" name="Oval 492">
            <a:extLst>
              <a:ext uri="{FF2B5EF4-FFF2-40B4-BE49-F238E27FC236}">
                <a16:creationId xmlns:a16="http://schemas.microsoft.com/office/drawing/2014/main" id="{CE7F37E7-1B7A-4C65-ACF9-B98183AAF8BF}"/>
              </a:ext>
            </a:extLst>
          </p:cNvPr>
          <p:cNvSpPr>
            <a:spLocks/>
          </p:cNvSpPr>
          <p:nvPr/>
        </p:nvSpPr>
        <p:spPr>
          <a:xfrm>
            <a:off x="2391714" y="3403058"/>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94" name="Oval 493">
            <a:extLst>
              <a:ext uri="{FF2B5EF4-FFF2-40B4-BE49-F238E27FC236}">
                <a16:creationId xmlns:a16="http://schemas.microsoft.com/office/drawing/2014/main" id="{8BAE49D6-E53B-4859-AFD9-C56D202A00EA}"/>
              </a:ext>
            </a:extLst>
          </p:cNvPr>
          <p:cNvSpPr>
            <a:spLocks/>
          </p:cNvSpPr>
          <p:nvPr/>
        </p:nvSpPr>
        <p:spPr>
          <a:xfrm>
            <a:off x="2409392" y="3389460"/>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95" name="Oval 494">
            <a:extLst>
              <a:ext uri="{FF2B5EF4-FFF2-40B4-BE49-F238E27FC236}">
                <a16:creationId xmlns:a16="http://schemas.microsoft.com/office/drawing/2014/main" id="{58CB3989-7F45-4B69-9F44-F8370A35EED5}"/>
              </a:ext>
            </a:extLst>
          </p:cNvPr>
          <p:cNvSpPr>
            <a:spLocks/>
          </p:cNvSpPr>
          <p:nvPr/>
        </p:nvSpPr>
        <p:spPr>
          <a:xfrm>
            <a:off x="2456507" y="3415459"/>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96" name="Oval 495">
            <a:extLst>
              <a:ext uri="{FF2B5EF4-FFF2-40B4-BE49-F238E27FC236}">
                <a16:creationId xmlns:a16="http://schemas.microsoft.com/office/drawing/2014/main" id="{D4B03CFF-0768-431C-BC94-17BC4CC25473}"/>
              </a:ext>
            </a:extLst>
          </p:cNvPr>
          <p:cNvSpPr>
            <a:spLocks/>
          </p:cNvSpPr>
          <p:nvPr/>
        </p:nvSpPr>
        <p:spPr>
          <a:xfrm>
            <a:off x="2476327" y="3459928"/>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97" name="Oval 496">
            <a:extLst>
              <a:ext uri="{FF2B5EF4-FFF2-40B4-BE49-F238E27FC236}">
                <a16:creationId xmlns:a16="http://schemas.microsoft.com/office/drawing/2014/main" id="{261F79D7-C111-41D9-AED7-38347C7D756E}"/>
              </a:ext>
            </a:extLst>
          </p:cNvPr>
          <p:cNvSpPr>
            <a:spLocks/>
          </p:cNvSpPr>
          <p:nvPr/>
        </p:nvSpPr>
        <p:spPr>
          <a:xfrm>
            <a:off x="2556879" y="3430988"/>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98" name="Oval 497">
            <a:extLst>
              <a:ext uri="{FF2B5EF4-FFF2-40B4-BE49-F238E27FC236}">
                <a16:creationId xmlns:a16="http://schemas.microsoft.com/office/drawing/2014/main" id="{7C0F0D0A-DA09-4306-8AD4-C612382BE891}"/>
              </a:ext>
            </a:extLst>
          </p:cNvPr>
          <p:cNvSpPr>
            <a:spLocks/>
          </p:cNvSpPr>
          <p:nvPr/>
        </p:nvSpPr>
        <p:spPr>
          <a:xfrm>
            <a:off x="2874183" y="3360708"/>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99" name="Oval 498">
            <a:extLst>
              <a:ext uri="{FF2B5EF4-FFF2-40B4-BE49-F238E27FC236}">
                <a16:creationId xmlns:a16="http://schemas.microsoft.com/office/drawing/2014/main" id="{6F9160D2-847C-4AC2-8A96-AC15A01121E0}"/>
              </a:ext>
            </a:extLst>
          </p:cNvPr>
          <p:cNvSpPr>
            <a:spLocks/>
          </p:cNvSpPr>
          <p:nvPr/>
        </p:nvSpPr>
        <p:spPr>
          <a:xfrm>
            <a:off x="2838409" y="3398024"/>
            <a:ext cx="88365" cy="88365"/>
          </a:xfrm>
          <a:prstGeom prst="ellipse">
            <a:avLst/>
          </a:prstGeom>
          <a:solidFill>
            <a:srgbClr val="1974A6"/>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00" name="Oval 499">
            <a:extLst>
              <a:ext uri="{FF2B5EF4-FFF2-40B4-BE49-F238E27FC236}">
                <a16:creationId xmlns:a16="http://schemas.microsoft.com/office/drawing/2014/main" id="{C677D713-9180-41B4-A97A-C26C510CA1C8}"/>
              </a:ext>
            </a:extLst>
          </p:cNvPr>
          <p:cNvSpPr>
            <a:spLocks/>
          </p:cNvSpPr>
          <p:nvPr/>
        </p:nvSpPr>
        <p:spPr>
          <a:xfrm>
            <a:off x="2348292" y="3608623"/>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01" name="Oval 500">
            <a:extLst>
              <a:ext uri="{FF2B5EF4-FFF2-40B4-BE49-F238E27FC236}">
                <a16:creationId xmlns:a16="http://schemas.microsoft.com/office/drawing/2014/main" id="{2B01B0A3-8E67-437A-A286-54802C8DDD3F}"/>
              </a:ext>
            </a:extLst>
          </p:cNvPr>
          <p:cNvSpPr>
            <a:spLocks/>
          </p:cNvSpPr>
          <p:nvPr/>
        </p:nvSpPr>
        <p:spPr>
          <a:xfrm>
            <a:off x="2348292" y="3652648"/>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02" name="Oval 501">
            <a:extLst>
              <a:ext uri="{FF2B5EF4-FFF2-40B4-BE49-F238E27FC236}">
                <a16:creationId xmlns:a16="http://schemas.microsoft.com/office/drawing/2014/main" id="{48B0DEF4-BE3C-41AF-A5C1-184C1D03B616}"/>
              </a:ext>
            </a:extLst>
          </p:cNvPr>
          <p:cNvSpPr>
            <a:spLocks/>
          </p:cNvSpPr>
          <p:nvPr/>
        </p:nvSpPr>
        <p:spPr>
          <a:xfrm>
            <a:off x="2415854" y="3639692"/>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03" name="Oval 502">
            <a:extLst>
              <a:ext uri="{FF2B5EF4-FFF2-40B4-BE49-F238E27FC236}">
                <a16:creationId xmlns:a16="http://schemas.microsoft.com/office/drawing/2014/main" id="{70CAE068-785B-4EF1-BC4B-F75E2C645296}"/>
              </a:ext>
            </a:extLst>
          </p:cNvPr>
          <p:cNvSpPr>
            <a:spLocks/>
          </p:cNvSpPr>
          <p:nvPr/>
        </p:nvSpPr>
        <p:spPr>
          <a:xfrm>
            <a:off x="2432844" y="3587475"/>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04" name="Oval 503">
            <a:extLst>
              <a:ext uri="{FF2B5EF4-FFF2-40B4-BE49-F238E27FC236}">
                <a16:creationId xmlns:a16="http://schemas.microsoft.com/office/drawing/2014/main" id="{EEFC129C-35E8-4E18-8EDD-9E81CA7026C4}"/>
              </a:ext>
            </a:extLst>
          </p:cNvPr>
          <p:cNvSpPr>
            <a:spLocks/>
          </p:cNvSpPr>
          <p:nvPr/>
        </p:nvSpPr>
        <p:spPr>
          <a:xfrm>
            <a:off x="2363911" y="3695531"/>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05" name="Oval 504">
            <a:extLst>
              <a:ext uri="{FF2B5EF4-FFF2-40B4-BE49-F238E27FC236}">
                <a16:creationId xmlns:a16="http://schemas.microsoft.com/office/drawing/2014/main" id="{BE1922CA-DCD8-43C1-B442-95711C0E182B}"/>
              </a:ext>
            </a:extLst>
          </p:cNvPr>
          <p:cNvSpPr>
            <a:spLocks/>
          </p:cNvSpPr>
          <p:nvPr/>
        </p:nvSpPr>
        <p:spPr>
          <a:xfrm>
            <a:off x="2267784" y="3701516"/>
            <a:ext cx="88365" cy="88365"/>
          </a:xfrm>
          <a:prstGeom prst="ellipse">
            <a:avLst/>
          </a:prstGeom>
          <a:solidFill>
            <a:srgbClr val="1974A6"/>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06" name="Oval 505">
            <a:extLst>
              <a:ext uri="{FF2B5EF4-FFF2-40B4-BE49-F238E27FC236}">
                <a16:creationId xmlns:a16="http://schemas.microsoft.com/office/drawing/2014/main" id="{CD101362-F666-46BD-AC63-C9CCC5E09316}"/>
              </a:ext>
            </a:extLst>
          </p:cNvPr>
          <p:cNvSpPr>
            <a:spLocks/>
          </p:cNvSpPr>
          <p:nvPr/>
        </p:nvSpPr>
        <p:spPr>
          <a:xfrm>
            <a:off x="2294171" y="3646147"/>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07" name="Oval 506">
            <a:extLst>
              <a:ext uri="{FF2B5EF4-FFF2-40B4-BE49-F238E27FC236}">
                <a16:creationId xmlns:a16="http://schemas.microsoft.com/office/drawing/2014/main" id="{569D51AF-D8BF-4334-8C4C-A81FF6AAD574}"/>
              </a:ext>
            </a:extLst>
          </p:cNvPr>
          <p:cNvSpPr>
            <a:spLocks/>
          </p:cNvSpPr>
          <p:nvPr/>
        </p:nvSpPr>
        <p:spPr>
          <a:xfrm>
            <a:off x="2289088" y="3768667"/>
            <a:ext cx="88365" cy="88365"/>
          </a:xfrm>
          <a:prstGeom prst="ellipse">
            <a:avLst/>
          </a:prstGeom>
          <a:solidFill>
            <a:srgbClr val="1974A6"/>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08" name="Oval 507">
            <a:extLst>
              <a:ext uri="{FF2B5EF4-FFF2-40B4-BE49-F238E27FC236}">
                <a16:creationId xmlns:a16="http://schemas.microsoft.com/office/drawing/2014/main" id="{E5122A2C-F0CF-4BDD-93C1-7628E126853D}"/>
              </a:ext>
            </a:extLst>
          </p:cNvPr>
          <p:cNvSpPr>
            <a:spLocks/>
          </p:cNvSpPr>
          <p:nvPr/>
        </p:nvSpPr>
        <p:spPr>
          <a:xfrm>
            <a:off x="2331972" y="3820209"/>
            <a:ext cx="88365" cy="88365"/>
          </a:xfrm>
          <a:prstGeom prst="ellipse">
            <a:avLst/>
          </a:prstGeom>
          <a:solidFill>
            <a:srgbClr val="0E436C"/>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09" name="Oval 508">
            <a:extLst>
              <a:ext uri="{FF2B5EF4-FFF2-40B4-BE49-F238E27FC236}">
                <a16:creationId xmlns:a16="http://schemas.microsoft.com/office/drawing/2014/main" id="{AC74F03A-B520-46CF-8142-447B6405221B}"/>
              </a:ext>
            </a:extLst>
          </p:cNvPr>
          <p:cNvSpPr>
            <a:spLocks/>
          </p:cNvSpPr>
          <p:nvPr/>
        </p:nvSpPr>
        <p:spPr>
          <a:xfrm>
            <a:off x="2404406" y="3764479"/>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10" name="Oval 509">
            <a:extLst>
              <a:ext uri="{FF2B5EF4-FFF2-40B4-BE49-F238E27FC236}">
                <a16:creationId xmlns:a16="http://schemas.microsoft.com/office/drawing/2014/main" id="{4D0DADD2-903C-4E3B-9161-E60A25F7C6A9}"/>
              </a:ext>
            </a:extLst>
          </p:cNvPr>
          <p:cNvSpPr>
            <a:spLocks/>
          </p:cNvSpPr>
          <p:nvPr/>
        </p:nvSpPr>
        <p:spPr>
          <a:xfrm>
            <a:off x="2331973" y="3775939"/>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11" name="Oval 510">
            <a:extLst>
              <a:ext uri="{FF2B5EF4-FFF2-40B4-BE49-F238E27FC236}">
                <a16:creationId xmlns:a16="http://schemas.microsoft.com/office/drawing/2014/main" id="{596031E9-80F6-4375-A03B-871B7A95281C}"/>
              </a:ext>
            </a:extLst>
          </p:cNvPr>
          <p:cNvSpPr>
            <a:spLocks/>
          </p:cNvSpPr>
          <p:nvPr/>
        </p:nvSpPr>
        <p:spPr>
          <a:xfrm>
            <a:off x="2372971" y="3785861"/>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12" name="Oval 511">
            <a:extLst>
              <a:ext uri="{FF2B5EF4-FFF2-40B4-BE49-F238E27FC236}">
                <a16:creationId xmlns:a16="http://schemas.microsoft.com/office/drawing/2014/main" id="{105D2385-A743-4534-B9E5-7ABD6BA0E000}"/>
              </a:ext>
            </a:extLst>
          </p:cNvPr>
          <p:cNvSpPr>
            <a:spLocks/>
          </p:cNvSpPr>
          <p:nvPr/>
        </p:nvSpPr>
        <p:spPr>
          <a:xfrm>
            <a:off x="4656233" y="3366007"/>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13" name="Oval 512">
            <a:extLst>
              <a:ext uri="{FF2B5EF4-FFF2-40B4-BE49-F238E27FC236}">
                <a16:creationId xmlns:a16="http://schemas.microsoft.com/office/drawing/2014/main" id="{AF9334E7-F72A-458D-9568-3050229BFEE4}"/>
              </a:ext>
            </a:extLst>
          </p:cNvPr>
          <p:cNvSpPr>
            <a:spLocks/>
          </p:cNvSpPr>
          <p:nvPr/>
        </p:nvSpPr>
        <p:spPr>
          <a:xfrm>
            <a:off x="4739271" y="3394484"/>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14" name="Oval 513">
            <a:extLst>
              <a:ext uri="{FF2B5EF4-FFF2-40B4-BE49-F238E27FC236}">
                <a16:creationId xmlns:a16="http://schemas.microsoft.com/office/drawing/2014/main" id="{2A1797BE-38F4-49F0-AA80-77F31FA12E64}"/>
              </a:ext>
            </a:extLst>
          </p:cNvPr>
          <p:cNvSpPr>
            <a:spLocks/>
          </p:cNvSpPr>
          <p:nvPr/>
        </p:nvSpPr>
        <p:spPr>
          <a:xfrm>
            <a:off x="4650063" y="3475870"/>
            <a:ext cx="88365" cy="88365"/>
          </a:xfrm>
          <a:prstGeom prst="ellipse">
            <a:avLst/>
          </a:prstGeom>
          <a:solidFill>
            <a:srgbClr val="0E436C"/>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15" name="Oval 514">
            <a:extLst>
              <a:ext uri="{FF2B5EF4-FFF2-40B4-BE49-F238E27FC236}">
                <a16:creationId xmlns:a16="http://schemas.microsoft.com/office/drawing/2014/main" id="{D52BCC4A-4869-45F6-A7FF-BAF5A205C49B}"/>
              </a:ext>
            </a:extLst>
          </p:cNvPr>
          <p:cNvSpPr>
            <a:spLocks/>
          </p:cNvSpPr>
          <p:nvPr/>
        </p:nvSpPr>
        <p:spPr>
          <a:xfrm>
            <a:off x="4691029" y="3432746"/>
            <a:ext cx="88365" cy="88365"/>
          </a:xfrm>
          <a:prstGeom prst="ellipse">
            <a:avLst/>
          </a:prstGeom>
          <a:solidFill>
            <a:srgbClr val="1974A6"/>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16" name="Oval 515">
            <a:extLst>
              <a:ext uri="{FF2B5EF4-FFF2-40B4-BE49-F238E27FC236}">
                <a16:creationId xmlns:a16="http://schemas.microsoft.com/office/drawing/2014/main" id="{0B5AF5A2-0C2E-458D-A1AC-BFCF5B991E3F}"/>
              </a:ext>
            </a:extLst>
          </p:cNvPr>
          <p:cNvSpPr>
            <a:spLocks/>
          </p:cNvSpPr>
          <p:nvPr/>
        </p:nvSpPr>
        <p:spPr>
          <a:xfrm>
            <a:off x="4713917" y="3425867"/>
            <a:ext cx="88365" cy="88365"/>
          </a:xfrm>
          <a:prstGeom prst="ellipse">
            <a:avLst/>
          </a:prstGeom>
          <a:solidFill>
            <a:srgbClr val="1974A6"/>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17" name="Oval 516">
            <a:extLst>
              <a:ext uri="{FF2B5EF4-FFF2-40B4-BE49-F238E27FC236}">
                <a16:creationId xmlns:a16="http://schemas.microsoft.com/office/drawing/2014/main" id="{34AEA78C-617F-420B-965F-05180E3E3EBB}"/>
              </a:ext>
            </a:extLst>
          </p:cNvPr>
          <p:cNvSpPr>
            <a:spLocks/>
          </p:cNvSpPr>
          <p:nvPr/>
        </p:nvSpPr>
        <p:spPr>
          <a:xfrm>
            <a:off x="4713917" y="3453985"/>
            <a:ext cx="88365" cy="88365"/>
          </a:xfrm>
          <a:prstGeom prst="ellipse">
            <a:avLst/>
          </a:prstGeom>
          <a:solidFill>
            <a:srgbClr val="1974A6"/>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18" name="Oval 517">
            <a:extLst>
              <a:ext uri="{FF2B5EF4-FFF2-40B4-BE49-F238E27FC236}">
                <a16:creationId xmlns:a16="http://schemas.microsoft.com/office/drawing/2014/main" id="{54BCEE67-9CB4-4430-8B83-91BBD8796CB2}"/>
              </a:ext>
            </a:extLst>
          </p:cNvPr>
          <p:cNvSpPr>
            <a:spLocks/>
          </p:cNvSpPr>
          <p:nvPr/>
        </p:nvSpPr>
        <p:spPr>
          <a:xfrm>
            <a:off x="4718558" y="3483790"/>
            <a:ext cx="88365" cy="88365"/>
          </a:xfrm>
          <a:prstGeom prst="ellipse">
            <a:avLst/>
          </a:prstGeom>
          <a:solidFill>
            <a:srgbClr val="0E436C"/>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19" name="Oval 518">
            <a:extLst>
              <a:ext uri="{FF2B5EF4-FFF2-40B4-BE49-F238E27FC236}">
                <a16:creationId xmlns:a16="http://schemas.microsoft.com/office/drawing/2014/main" id="{E233D42C-2637-4115-8EDE-AC4E3424C105}"/>
              </a:ext>
            </a:extLst>
          </p:cNvPr>
          <p:cNvSpPr>
            <a:spLocks/>
          </p:cNvSpPr>
          <p:nvPr/>
        </p:nvSpPr>
        <p:spPr>
          <a:xfrm>
            <a:off x="4847785" y="3603904"/>
            <a:ext cx="88365" cy="88365"/>
          </a:xfrm>
          <a:prstGeom prst="ellipse">
            <a:avLst/>
          </a:prstGeom>
          <a:solidFill>
            <a:srgbClr val="0E436C"/>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20" name="Oval 519">
            <a:extLst>
              <a:ext uri="{FF2B5EF4-FFF2-40B4-BE49-F238E27FC236}">
                <a16:creationId xmlns:a16="http://schemas.microsoft.com/office/drawing/2014/main" id="{6760E0F8-39BA-4CDB-AA78-24D3326F8383}"/>
              </a:ext>
            </a:extLst>
          </p:cNvPr>
          <p:cNvSpPr>
            <a:spLocks/>
          </p:cNvSpPr>
          <p:nvPr/>
        </p:nvSpPr>
        <p:spPr>
          <a:xfrm>
            <a:off x="4905615" y="3655770"/>
            <a:ext cx="88365" cy="88365"/>
          </a:xfrm>
          <a:prstGeom prst="ellipse">
            <a:avLst/>
          </a:prstGeom>
          <a:solidFill>
            <a:srgbClr val="0E436C"/>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21" name="Oval 520">
            <a:extLst>
              <a:ext uri="{FF2B5EF4-FFF2-40B4-BE49-F238E27FC236}">
                <a16:creationId xmlns:a16="http://schemas.microsoft.com/office/drawing/2014/main" id="{B39C3143-206C-428C-8A53-FB964329A681}"/>
              </a:ext>
            </a:extLst>
          </p:cNvPr>
          <p:cNvSpPr>
            <a:spLocks/>
          </p:cNvSpPr>
          <p:nvPr/>
        </p:nvSpPr>
        <p:spPr>
          <a:xfrm>
            <a:off x="4952437" y="3706967"/>
            <a:ext cx="88365" cy="88365"/>
          </a:xfrm>
          <a:prstGeom prst="ellipse">
            <a:avLst/>
          </a:prstGeom>
          <a:solidFill>
            <a:srgbClr val="0E436C"/>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22" name="Oval 521">
            <a:extLst>
              <a:ext uri="{FF2B5EF4-FFF2-40B4-BE49-F238E27FC236}">
                <a16:creationId xmlns:a16="http://schemas.microsoft.com/office/drawing/2014/main" id="{FDD3A401-0F86-478D-A0C9-EBD7FE6CB66D}"/>
              </a:ext>
            </a:extLst>
          </p:cNvPr>
          <p:cNvSpPr>
            <a:spLocks/>
          </p:cNvSpPr>
          <p:nvPr/>
        </p:nvSpPr>
        <p:spPr>
          <a:xfrm>
            <a:off x="4817548" y="3621200"/>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23" name="Oval 522">
            <a:extLst>
              <a:ext uri="{FF2B5EF4-FFF2-40B4-BE49-F238E27FC236}">
                <a16:creationId xmlns:a16="http://schemas.microsoft.com/office/drawing/2014/main" id="{9F1085E6-0A4B-4988-88B1-16A20362BFEF}"/>
              </a:ext>
            </a:extLst>
          </p:cNvPr>
          <p:cNvSpPr>
            <a:spLocks/>
          </p:cNvSpPr>
          <p:nvPr/>
        </p:nvSpPr>
        <p:spPr>
          <a:xfrm>
            <a:off x="4349217" y="3542437"/>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24" name="Oval 523">
            <a:extLst>
              <a:ext uri="{FF2B5EF4-FFF2-40B4-BE49-F238E27FC236}">
                <a16:creationId xmlns:a16="http://schemas.microsoft.com/office/drawing/2014/main" id="{434C03B3-D89C-458F-ADC5-C46EDAE63CD8}"/>
              </a:ext>
            </a:extLst>
          </p:cNvPr>
          <p:cNvSpPr>
            <a:spLocks/>
          </p:cNvSpPr>
          <p:nvPr/>
        </p:nvSpPr>
        <p:spPr>
          <a:xfrm>
            <a:off x="4214208" y="3586040"/>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25" name="Oval 524">
            <a:extLst>
              <a:ext uri="{FF2B5EF4-FFF2-40B4-BE49-F238E27FC236}">
                <a16:creationId xmlns:a16="http://schemas.microsoft.com/office/drawing/2014/main" id="{4F4DDA50-4A2D-4B39-8A08-F05BF100BE74}"/>
              </a:ext>
            </a:extLst>
          </p:cNvPr>
          <p:cNvSpPr>
            <a:spLocks/>
          </p:cNvSpPr>
          <p:nvPr/>
        </p:nvSpPr>
        <p:spPr>
          <a:xfrm>
            <a:off x="4245283" y="3706967"/>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26" name="Oval 525">
            <a:extLst>
              <a:ext uri="{FF2B5EF4-FFF2-40B4-BE49-F238E27FC236}">
                <a16:creationId xmlns:a16="http://schemas.microsoft.com/office/drawing/2014/main" id="{BEF887E7-14BD-4C7C-A01A-646CBDA04E4A}"/>
              </a:ext>
            </a:extLst>
          </p:cNvPr>
          <p:cNvSpPr>
            <a:spLocks/>
          </p:cNvSpPr>
          <p:nvPr/>
        </p:nvSpPr>
        <p:spPr>
          <a:xfrm>
            <a:off x="4207980" y="3720706"/>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27" name="Oval 526">
            <a:extLst>
              <a:ext uri="{FF2B5EF4-FFF2-40B4-BE49-F238E27FC236}">
                <a16:creationId xmlns:a16="http://schemas.microsoft.com/office/drawing/2014/main" id="{C67DF371-78F5-4044-AB7F-640B5500D0B6}"/>
              </a:ext>
            </a:extLst>
          </p:cNvPr>
          <p:cNvSpPr>
            <a:spLocks/>
          </p:cNvSpPr>
          <p:nvPr/>
        </p:nvSpPr>
        <p:spPr>
          <a:xfrm>
            <a:off x="4196165" y="3571088"/>
            <a:ext cx="88365" cy="88365"/>
          </a:xfrm>
          <a:prstGeom prst="ellipse">
            <a:avLst/>
          </a:prstGeom>
          <a:solidFill>
            <a:srgbClr val="1974A6"/>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28" name="Oval 527">
            <a:extLst>
              <a:ext uri="{FF2B5EF4-FFF2-40B4-BE49-F238E27FC236}">
                <a16:creationId xmlns:a16="http://schemas.microsoft.com/office/drawing/2014/main" id="{B8C2E09D-B9AF-43E9-A94D-905EF613280A}"/>
              </a:ext>
            </a:extLst>
          </p:cNvPr>
          <p:cNvSpPr>
            <a:spLocks/>
          </p:cNvSpPr>
          <p:nvPr/>
        </p:nvSpPr>
        <p:spPr>
          <a:xfrm>
            <a:off x="4249666" y="3603762"/>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29" name="Oval 528">
            <a:extLst>
              <a:ext uri="{FF2B5EF4-FFF2-40B4-BE49-F238E27FC236}">
                <a16:creationId xmlns:a16="http://schemas.microsoft.com/office/drawing/2014/main" id="{DBB3D66C-F455-43DC-B8A3-5EF6BCF0B122}"/>
              </a:ext>
            </a:extLst>
          </p:cNvPr>
          <p:cNvSpPr>
            <a:spLocks/>
          </p:cNvSpPr>
          <p:nvPr/>
        </p:nvSpPr>
        <p:spPr>
          <a:xfrm>
            <a:off x="4179304" y="3625363"/>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30" name="Oval 529">
            <a:extLst>
              <a:ext uri="{FF2B5EF4-FFF2-40B4-BE49-F238E27FC236}">
                <a16:creationId xmlns:a16="http://schemas.microsoft.com/office/drawing/2014/main" id="{AB6EC12B-86B0-41C4-9450-4FCA529488AC}"/>
              </a:ext>
            </a:extLst>
          </p:cNvPr>
          <p:cNvSpPr>
            <a:spLocks/>
          </p:cNvSpPr>
          <p:nvPr/>
        </p:nvSpPr>
        <p:spPr>
          <a:xfrm>
            <a:off x="4148014" y="3595372"/>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31" name="Oval 530">
            <a:extLst>
              <a:ext uri="{FF2B5EF4-FFF2-40B4-BE49-F238E27FC236}">
                <a16:creationId xmlns:a16="http://schemas.microsoft.com/office/drawing/2014/main" id="{82D04792-4E88-407A-9E84-C461A1899660}"/>
              </a:ext>
            </a:extLst>
          </p:cNvPr>
          <p:cNvSpPr>
            <a:spLocks/>
          </p:cNvSpPr>
          <p:nvPr/>
        </p:nvSpPr>
        <p:spPr>
          <a:xfrm>
            <a:off x="4109853" y="3646786"/>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32" name="Oval 531">
            <a:extLst>
              <a:ext uri="{FF2B5EF4-FFF2-40B4-BE49-F238E27FC236}">
                <a16:creationId xmlns:a16="http://schemas.microsoft.com/office/drawing/2014/main" id="{25953B18-ABCD-433B-B20C-04E3F6DA29EA}"/>
              </a:ext>
            </a:extLst>
          </p:cNvPr>
          <p:cNvSpPr>
            <a:spLocks/>
          </p:cNvSpPr>
          <p:nvPr/>
        </p:nvSpPr>
        <p:spPr>
          <a:xfrm>
            <a:off x="4225603" y="3860782"/>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33" name="Oval 532">
            <a:extLst>
              <a:ext uri="{FF2B5EF4-FFF2-40B4-BE49-F238E27FC236}">
                <a16:creationId xmlns:a16="http://schemas.microsoft.com/office/drawing/2014/main" id="{8AC526FD-15F7-4567-A9E3-708F14F39452}"/>
              </a:ext>
            </a:extLst>
          </p:cNvPr>
          <p:cNvSpPr>
            <a:spLocks/>
          </p:cNvSpPr>
          <p:nvPr/>
        </p:nvSpPr>
        <p:spPr>
          <a:xfrm>
            <a:off x="4217505" y="3808953"/>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34" name="Oval 533">
            <a:extLst>
              <a:ext uri="{FF2B5EF4-FFF2-40B4-BE49-F238E27FC236}">
                <a16:creationId xmlns:a16="http://schemas.microsoft.com/office/drawing/2014/main" id="{11A92F83-205A-4AC1-B9F8-75811E65EB10}"/>
              </a:ext>
            </a:extLst>
          </p:cNvPr>
          <p:cNvSpPr>
            <a:spLocks/>
          </p:cNvSpPr>
          <p:nvPr/>
        </p:nvSpPr>
        <p:spPr>
          <a:xfrm>
            <a:off x="4214207" y="3952165"/>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35" name="Oval 534">
            <a:extLst>
              <a:ext uri="{FF2B5EF4-FFF2-40B4-BE49-F238E27FC236}">
                <a16:creationId xmlns:a16="http://schemas.microsoft.com/office/drawing/2014/main" id="{EC0571D2-4C94-4524-968C-A98F19E9165F}"/>
              </a:ext>
            </a:extLst>
          </p:cNvPr>
          <p:cNvSpPr>
            <a:spLocks/>
          </p:cNvSpPr>
          <p:nvPr/>
        </p:nvSpPr>
        <p:spPr>
          <a:xfrm>
            <a:off x="4062248" y="3887024"/>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36" name="Oval 535">
            <a:extLst>
              <a:ext uri="{FF2B5EF4-FFF2-40B4-BE49-F238E27FC236}">
                <a16:creationId xmlns:a16="http://schemas.microsoft.com/office/drawing/2014/main" id="{6B77870C-EAC4-447C-B09A-F41CB62681C7}"/>
              </a:ext>
            </a:extLst>
          </p:cNvPr>
          <p:cNvSpPr>
            <a:spLocks/>
          </p:cNvSpPr>
          <p:nvPr/>
        </p:nvSpPr>
        <p:spPr>
          <a:xfrm>
            <a:off x="4331049" y="4106033"/>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37" name="Oval 536">
            <a:extLst>
              <a:ext uri="{FF2B5EF4-FFF2-40B4-BE49-F238E27FC236}">
                <a16:creationId xmlns:a16="http://schemas.microsoft.com/office/drawing/2014/main" id="{270BD2BC-E898-4AB9-A63E-AC9D34D9DED8}"/>
              </a:ext>
            </a:extLst>
          </p:cNvPr>
          <p:cNvSpPr>
            <a:spLocks/>
          </p:cNvSpPr>
          <p:nvPr/>
        </p:nvSpPr>
        <p:spPr>
          <a:xfrm>
            <a:off x="4322881" y="4152853"/>
            <a:ext cx="88365" cy="88365"/>
          </a:xfrm>
          <a:prstGeom prst="ellipse">
            <a:avLst/>
          </a:prstGeom>
          <a:solidFill>
            <a:srgbClr val="0E436C"/>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38" name="Oval 537">
            <a:extLst>
              <a:ext uri="{FF2B5EF4-FFF2-40B4-BE49-F238E27FC236}">
                <a16:creationId xmlns:a16="http://schemas.microsoft.com/office/drawing/2014/main" id="{AD2C33BC-9DB9-4A9A-A357-E95E70FDCDF8}"/>
              </a:ext>
            </a:extLst>
          </p:cNvPr>
          <p:cNvSpPr>
            <a:spLocks/>
          </p:cNvSpPr>
          <p:nvPr/>
        </p:nvSpPr>
        <p:spPr>
          <a:xfrm>
            <a:off x="4619382" y="4045277"/>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39" name="Oval 538">
            <a:extLst>
              <a:ext uri="{FF2B5EF4-FFF2-40B4-BE49-F238E27FC236}">
                <a16:creationId xmlns:a16="http://schemas.microsoft.com/office/drawing/2014/main" id="{365F4B16-DB4E-4801-B0AE-502CA7BA3DC2}"/>
              </a:ext>
            </a:extLst>
          </p:cNvPr>
          <p:cNvSpPr>
            <a:spLocks/>
          </p:cNvSpPr>
          <p:nvPr/>
        </p:nvSpPr>
        <p:spPr>
          <a:xfrm>
            <a:off x="4764249" y="4129286"/>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40" name="Oval 539">
            <a:extLst>
              <a:ext uri="{FF2B5EF4-FFF2-40B4-BE49-F238E27FC236}">
                <a16:creationId xmlns:a16="http://schemas.microsoft.com/office/drawing/2014/main" id="{1384BADC-248D-4046-B2A8-A6EF6477BF7C}"/>
              </a:ext>
            </a:extLst>
          </p:cNvPr>
          <p:cNvSpPr>
            <a:spLocks/>
          </p:cNvSpPr>
          <p:nvPr/>
        </p:nvSpPr>
        <p:spPr>
          <a:xfrm>
            <a:off x="4590928" y="4114345"/>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41" name="Oval 540">
            <a:extLst>
              <a:ext uri="{FF2B5EF4-FFF2-40B4-BE49-F238E27FC236}">
                <a16:creationId xmlns:a16="http://schemas.microsoft.com/office/drawing/2014/main" id="{30CEA07F-D32D-4287-86B1-76776A4D061F}"/>
              </a:ext>
            </a:extLst>
          </p:cNvPr>
          <p:cNvSpPr>
            <a:spLocks/>
          </p:cNvSpPr>
          <p:nvPr/>
        </p:nvSpPr>
        <p:spPr>
          <a:xfrm>
            <a:off x="4593119" y="4154982"/>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42" name="Oval 541">
            <a:extLst>
              <a:ext uri="{FF2B5EF4-FFF2-40B4-BE49-F238E27FC236}">
                <a16:creationId xmlns:a16="http://schemas.microsoft.com/office/drawing/2014/main" id="{7B51E3F4-0FF0-4955-89FA-6AB78B2305CF}"/>
              </a:ext>
            </a:extLst>
          </p:cNvPr>
          <p:cNvSpPr>
            <a:spLocks/>
          </p:cNvSpPr>
          <p:nvPr/>
        </p:nvSpPr>
        <p:spPr>
          <a:xfrm>
            <a:off x="4555155" y="4143651"/>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43" name="Oval 542">
            <a:extLst>
              <a:ext uri="{FF2B5EF4-FFF2-40B4-BE49-F238E27FC236}">
                <a16:creationId xmlns:a16="http://schemas.microsoft.com/office/drawing/2014/main" id="{F35621C4-20EC-4380-A0DC-1556876FACD0}"/>
              </a:ext>
            </a:extLst>
          </p:cNvPr>
          <p:cNvSpPr>
            <a:spLocks/>
          </p:cNvSpPr>
          <p:nvPr/>
        </p:nvSpPr>
        <p:spPr>
          <a:xfrm>
            <a:off x="4581845" y="4238075"/>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44" name="Oval 543">
            <a:extLst>
              <a:ext uri="{FF2B5EF4-FFF2-40B4-BE49-F238E27FC236}">
                <a16:creationId xmlns:a16="http://schemas.microsoft.com/office/drawing/2014/main" id="{17EB3A28-2A40-4FD9-8067-03D666BAC0E1}"/>
              </a:ext>
            </a:extLst>
          </p:cNvPr>
          <p:cNvSpPr>
            <a:spLocks/>
          </p:cNvSpPr>
          <p:nvPr/>
        </p:nvSpPr>
        <p:spPr>
          <a:xfrm>
            <a:off x="4117402" y="4210400"/>
            <a:ext cx="88365" cy="88365"/>
          </a:xfrm>
          <a:prstGeom prst="ellipse">
            <a:avLst/>
          </a:prstGeom>
          <a:solidFill>
            <a:srgbClr val="1974A6"/>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45" name="Oval 544">
            <a:extLst>
              <a:ext uri="{FF2B5EF4-FFF2-40B4-BE49-F238E27FC236}">
                <a16:creationId xmlns:a16="http://schemas.microsoft.com/office/drawing/2014/main" id="{D14C114D-E1FC-4666-B1A6-7A1252DC52F6}"/>
              </a:ext>
            </a:extLst>
          </p:cNvPr>
          <p:cNvSpPr>
            <a:spLocks/>
          </p:cNvSpPr>
          <p:nvPr/>
        </p:nvSpPr>
        <p:spPr>
          <a:xfrm>
            <a:off x="4148014" y="4197328"/>
            <a:ext cx="88365" cy="88365"/>
          </a:xfrm>
          <a:prstGeom prst="ellipse">
            <a:avLst/>
          </a:prstGeom>
          <a:solidFill>
            <a:srgbClr val="1974A6"/>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46" name="Oval 545">
            <a:extLst>
              <a:ext uri="{FF2B5EF4-FFF2-40B4-BE49-F238E27FC236}">
                <a16:creationId xmlns:a16="http://schemas.microsoft.com/office/drawing/2014/main" id="{74FC7E74-0540-44BA-97FD-843E2E8E0CAD}"/>
              </a:ext>
            </a:extLst>
          </p:cNvPr>
          <p:cNvSpPr>
            <a:spLocks/>
          </p:cNvSpPr>
          <p:nvPr/>
        </p:nvSpPr>
        <p:spPr>
          <a:xfrm>
            <a:off x="4142428" y="4151384"/>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47" name="Oval 546">
            <a:extLst>
              <a:ext uri="{FF2B5EF4-FFF2-40B4-BE49-F238E27FC236}">
                <a16:creationId xmlns:a16="http://schemas.microsoft.com/office/drawing/2014/main" id="{52F04191-886B-4482-9095-9645A0F9FE64}"/>
              </a:ext>
            </a:extLst>
          </p:cNvPr>
          <p:cNvSpPr>
            <a:spLocks/>
          </p:cNvSpPr>
          <p:nvPr/>
        </p:nvSpPr>
        <p:spPr>
          <a:xfrm>
            <a:off x="4068316" y="4174355"/>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48" name="Oval 547">
            <a:extLst>
              <a:ext uri="{FF2B5EF4-FFF2-40B4-BE49-F238E27FC236}">
                <a16:creationId xmlns:a16="http://schemas.microsoft.com/office/drawing/2014/main" id="{733DFF93-C6D9-4FA8-9D96-7F2151FE84B7}"/>
              </a:ext>
            </a:extLst>
          </p:cNvPr>
          <p:cNvSpPr>
            <a:spLocks/>
          </p:cNvSpPr>
          <p:nvPr/>
        </p:nvSpPr>
        <p:spPr>
          <a:xfrm>
            <a:off x="4029969" y="4185952"/>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49" name="Oval 548">
            <a:extLst>
              <a:ext uri="{FF2B5EF4-FFF2-40B4-BE49-F238E27FC236}">
                <a16:creationId xmlns:a16="http://schemas.microsoft.com/office/drawing/2014/main" id="{EDFA2F26-8F43-4ACF-A12C-AB4B351E35D9}"/>
              </a:ext>
            </a:extLst>
          </p:cNvPr>
          <p:cNvSpPr>
            <a:spLocks/>
          </p:cNvSpPr>
          <p:nvPr/>
        </p:nvSpPr>
        <p:spPr>
          <a:xfrm>
            <a:off x="3780803" y="4101735"/>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50" name="Oval 549">
            <a:extLst>
              <a:ext uri="{FF2B5EF4-FFF2-40B4-BE49-F238E27FC236}">
                <a16:creationId xmlns:a16="http://schemas.microsoft.com/office/drawing/2014/main" id="{829BF585-71EF-4AA2-B7FE-7DE2E3263C2F}"/>
              </a:ext>
            </a:extLst>
          </p:cNvPr>
          <p:cNvSpPr>
            <a:spLocks/>
          </p:cNvSpPr>
          <p:nvPr/>
        </p:nvSpPr>
        <p:spPr>
          <a:xfrm>
            <a:off x="3834080" y="4088589"/>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51" name="Oval 550">
            <a:extLst>
              <a:ext uri="{FF2B5EF4-FFF2-40B4-BE49-F238E27FC236}">
                <a16:creationId xmlns:a16="http://schemas.microsoft.com/office/drawing/2014/main" id="{59783320-2F8F-423B-A3A7-B31555615F2C}"/>
              </a:ext>
            </a:extLst>
          </p:cNvPr>
          <p:cNvSpPr>
            <a:spLocks/>
          </p:cNvSpPr>
          <p:nvPr/>
        </p:nvSpPr>
        <p:spPr>
          <a:xfrm>
            <a:off x="3910376" y="4035359"/>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52" name="Oval 551">
            <a:extLst>
              <a:ext uri="{FF2B5EF4-FFF2-40B4-BE49-F238E27FC236}">
                <a16:creationId xmlns:a16="http://schemas.microsoft.com/office/drawing/2014/main" id="{267776E2-4A7F-4F63-8383-BD7A40BEA899}"/>
              </a:ext>
            </a:extLst>
          </p:cNvPr>
          <p:cNvSpPr>
            <a:spLocks/>
          </p:cNvSpPr>
          <p:nvPr/>
        </p:nvSpPr>
        <p:spPr>
          <a:xfrm>
            <a:off x="3831854" y="4142943"/>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53" name="Oval 552">
            <a:extLst>
              <a:ext uri="{FF2B5EF4-FFF2-40B4-BE49-F238E27FC236}">
                <a16:creationId xmlns:a16="http://schemas.microsoft.com/office/drawing/2014/main" id="{EF3E3457-04DF-4A21-A321-43A52FB6D21C}"/>
              </a:ext>
            </a:extLst>
          </p:cNvPr>
          <p:cNvSpPr>
            <a:spLocks/>
          </p:cNvSpPr>
          <p:nvPr/>
        </p:nvSpPr>
        <p:spPr>
          <a:xfrm>
            <a:off x="3853352" y="4198186"/>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54" name="Oval 553">
            <a:extLst>
              <a:ext uri="{FF2B5EF4-FFF2-40B4-BE49-F238E27FC236}">
                <a16:creationId xmlns:a16="http://schemas.microsoft.com/office/drawing/2014/main" id="{47E46AFC-36A2-45EB-9C24-9CBAEF86D52C}"/>
              </a:ext>
            </a:extLst>
          </p:cNvPr>
          <p:cNvSpPr>
            <a:spLocks/>
          </p:cNvSpPr>
          <p:nvPr/>
        </p:nvSpPr>
        <p:spPr>
          <a:xfrm>
            <a:off x="3909577" y="4168599"/>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55" name="Oval 554">
            <a:extLst>
              <a:ext uri="{FF2B5EF4-FFF2-40B4-BE49-F238E27FC236}">
                <a16:creationId xmlns:a16="http://schemas.microsoft.com/office/drawing/2014/main" id="{9D01D518-D6FD-410F-8E2D-E0753CCA1957}"/>
              </a:ext>
            </a:extLst>
          </p:cNvPr>
          <p:cNvSpPr>
            <a:spLocks/>
          </p:cNvSpPr>
          <p:nvPr/>
        </p:nvSpPr>
        <p:spPr>
          <a:xfrm>
            <a:off x="3860293" y="4136604"/>
            <a:ext cx="88365" cy="88365"/>
          </a:xfrm>
          <a:prstGeom prst="ellipse">
            <a:avLst/>
          </a:prstGeom>
          <a:solidFill>
            <a:srgbClr val="1974A6"/>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56" name="Oval 555">
            <a:extLst>
              <a:ext uri="{FF2B5EF4-FFF2-40B4-BE49-F238E27FC236}">
                <a16:creationId xmlns:a16="http://schemas.microsoft.com/office/drawing/2014/main" id="{53490C92-ABB4-4B99-9106-86FB161A36D8}"/>
              </a:ext>
            </a:extLst>
          </p:cNvPr>
          <p:cNvSpPr>
            <a:spLocks/>
          </p:cNvSpPr>
          <p:nvPr/>
        </p:nvSpPr>
        <p:spPr>
          <a:xfrm>
            <a:off x="3965239" y="4080988"/>
            <a:ext cx="88365" cy="88365"/>
          </a:xfrm>
          <a:prstGeom prst="ellipse">
            <a:avLst/>
          </a:prstGeom>
          <a:solidFill>
            <a:srgbClr val="1974A6"/>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57" name="Oval 556">
            <a:extLst>
              <a:ext uri="{FF2B5EF4-FFF2-40B4-BE49-F238E27FC236}">
                <a16:creationId xmlns:a16="http://schemas.microsoft.com/office/drawing/2014/main" id="{77D81649-B3EB-42CE-BAA3-F25A4B6F4412}"/>
              </a:ext>
            </a:extLst>
          </p:cNvPr>
          <p:cNvSpPr>
            <a:spLocks/>
          </p:cNvSpPr>
          <p:nvPr/>
        </p:nvSpPr>
        <p:spPr>
          <a:xfrm>
            <a:off x="3994580" y="4195736"/>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58" name="Oval 557">
            <a:extLst>
              <a:ext uri="{FF2B5EF4-FFF2-40B4-BE49-F238E27FC236}">
                <a16:creationId xmlns:a16="http://schemas.microsoft.com/office/drawing/2014/main" id="{B9AF9131-E6FE-49E7-969C-A73D13AF4836}"/>
              </a:ext>
            </a:extLst>
          </p:cNvPr>
          <p:cNvSpPr>
            <a:spLocks/>
          </p:cNvSpPr>
          <p:nvPr/>
        </p:nvSpPr>
        <p:spPr>
          <a:xfrm>
            <a:off x="3971912" y="4144619"/>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59" name="Oval 558">
            <a:extLst>
              <a:ext uri="{FF2B5EF4-FFF2-40B4-BE49-F238E27FC236}">
                <a16:creationId xmlns:a16="http://schemas.microsoft.com/office/drawing/2014/main" id="{AF362C23-CFD2-4FB9-AA5D-5F7B40FB8078}"/>
              </a:ext>
            </a:extLst>
          </p:cNvPr>
          <p:cNvSpPr>
            <a:spLocks/>
          </p:cNvSpPr>
          <p:nvPr/>
        </p:nvSpPr>
        <p:spPr>
          <a:xfrm>
            <a:off x="3971912" y="4122849"/>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60" name="Oval 559">
            <a:extLst>
              <a:ext uri="{FF2B5EF4-FFF2-40B4-BE49-F238E27FC236}">
                <a16:creationId xmlns:a16="http://schemas.microsoft.com/office/drawing/2014/main" id="{7F6A2538-32EB-406C-8666-97F1908182CC}"/>
              </a:ext>
            </a:extLst>
          </p:cNvPr>
          <p:cNvSpPr>
            <a:spLocks/>
          </p:cNvSpPr>
          <p:nvPr/>
        </p:nvSpPr>
        <p:spPr>
          <a:xfrm>
            <a:off x="3895866" y="4136604"/>
            <a:ext cx="88365" cy="88365"/>
          </a:xfrm>
          <a:prstGeom prst="ellipse">
            <a:avLst/>
          </a:prstGeom>
          <a:solidFill>
            <a:srgbClr val="0E436C"/>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61" name="Oval 560">
            <a:extLst>
              <a:ext uri="{FF2B5EF4-FFF2-40B4-BE49-F238E27FC236}">
                <a16:creationId xmlns:a16="http://schemas.microsoft.com/office/drawing/2014/main" id="{3FFF05D0-B1AA-42BC-AB17-D426A8A87CC6}"/>
              </a:ext>
            </a:extLst>
          </p:cNvPr>
          <p:cNvSpPr>
            <a:spLocks/>
          </p:cNvSpPr>
          <p:nvPr/>
        </p:nvSpPr>
        <p:spPr>
          <a:xfrm>
            <a:off x="3895866" y="4083121"/>
            <a:ext cx="88365" cy="88365"/>
          </a:xfrm>
          <a:prstGeom prst="ellipse">
            <a:avLst/>
          </a:prstGeom>
          <a:solidFill>
            <a:srgbClr val="0E436C"/>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62" name="Oval 561">
            <a:extLst>
              <a:ext uri="{FF2B5EF4-FFF2-40B4-BE49-F238E27FC236}">
                <a16:creationId xmlns:a16="http://schemas.microsoft.com/office/drawing/2014/main" id="{D688E28B-6BD7-4521-B2FD-56E7A05BFFCF}"/>
              </a:ext>
            </a:extLst>
          </p:cNvPr>
          <p:cNvSpPr>
            <a:spLocks/>
          </p:cNvSpPr>
          <p:nvPr/>
        </p:nvSpPr>
        <p:spPr>
          <a:xfrm>
            <a:off x="3756750" y="3890962"/>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63" name="Oval 562">
            <a:extLst>
              <a:ext uri="{FF2B5EF4-FFF2-40B4-BE49-F238E27FC236}">
                <a16:creationId xmlns:a16="http://schemas.microsoft.com/office/drawing/2014/main" id="{2F4D3352-DB6D-497C-9BC0-922802A1CAD3}"/>
              </a:ext>
            </a:extLst>
          </p:cNvPr>
          <p:cNvSpPr>
            <a:spLocks/>
          </p:cNvSpPr>
          <p:nvPr/>
        </p:nvSpPr>
        <p:spPr>
          <a:xfrm>
            <a:off x="3618890" y="3977813"/>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64" name="Oval 563">
            <a:extLst>
              <a:ext uri="{FF2B5EF4-FFF2-40B4-BE49-F238E27FC236}">
                <a16:creationId xmlns:a16="http://schemas.microsoft.com/office/drawing/2014/main" id="{DA3D7118-985B-4576-BAA8-1B8EC43F7665}"/>
              </a:ext>
            </a:extLst>
          </p:cNvPr>
          <p:cNvSpPr>
            <a:spLocks/>
          </p:cNvSpPr>
          <p:nvPr/>
        </p:nvSpPr>
        <p:spPr>
          <a:xfrm>
            <a:off x="3656588" y="4026448"/>
            <a:ext cx="88365" cy="88365"/>
          </a:xfrm>
          <a:prstGeom prst="ellipse">
            <a:avLst/>
          </a:prstGeom>
          <a:solidFill>
            <a:srgbClr val="0E436C"/>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65" name="Oval 564">
            <a:extLst>
              <a:ext uri="{FF2B5EF4-FFF2-40B4-BE49-F238E27FC236}">
                <a16:creationId xmlns:a16="http://schemas.microsoft.com/office/drawing/2014/main" id="{EC98AC61-DC99-496D-B5D8-AE8FC065F0AD}"/>
              </a:ext>
            </a:extLst>
          </p:cNvPr>
          <p:cNvSpPr>
            <a:spLocks/>
          </p:cNvSpPr>
          <p:nvPr/>
        </p:nvSpPr>
        <p:spPr>
          <a:xfrm>
            <a:off x="3628971" y="4026737"/>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66" name="Oval 565">
            <a:extLst>
              <a:ext uri="{FF2B5EF4-FFF2-40B4-BE49-F238E27FC236}">
                <a16:creationId xmlns:a16="http://schemas.microsoft.com/office/drawing/2014/main" id="{B9F4FEB3-B9F1-4CCE-AC8C-C811F7A9E322}"/>
              </a:ext>
            </a:extLst>
          </p:cNvPr>
          <p:cNvSpPr>
            <a:spLocks/>
          </p:cNvSpPr>
          <p:nvPr/>
        </p:nvSpPr>
        <p:spPr>
          <a:xfrm>
            <a:off x="3662169" y="4123348"/>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67" name="Oval 566">
            <a:extLst>
              <a:ext uri="{FF2B5EF4-FFF2-40B4-BE49-F238E27FC236}">
                <a16:creationId xmlns:a16="http://schemas.microsoft.com/office/drawing/2014/main" id="{45936E4D-9BDB-43D1-AA0F-7DD3574A5A37}"/>
              </a:ext>
            </a:extLst>
          </p:cNvPr>
          <p:cNvSpPr>
            <a:spLocks/>
          </p:cNvSpPr>
          <p:nvPr/>
        </p:nvSpPr>
        <p:spPr>
          <a:xfrm>
            <a:off x="3630990" y="4114900"/>
            <a:ext cx="88365" cy="88365"/>
          </a:xfrm>
          <a:prstGeom prst="ellipse">
            <a:avLst/>
          </a:prstGeom>
          <a:solidFill>
            <a:srgbClr val="0E436C"/>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68" name="Oval 567">
            <a:extLst>
              <a:ext uri="{FF2B5EF4-FFF2-40B4-BE49-F238E27FC236}">
                <a16:creationId xmlns:a16="http://schemas.microsoft.com/office/drawing/2014/main" id="{4EDD285F-7EEA-4589-8E42-F01D7F8DC5E7}"/>
              </a:ext>
            </a:extLst>
          </p:cNvPr>
          <p:cNvSpPr>
            <a:spLocks/>
          </p:cNvSpPr>
          <p:nvPr/>
        </p:nvSpPr>
        <p:spPr>
          <a:xfrm>
            <a:off x="3540087" y="4026032"/>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69" name="Oval 568">
            <a:extLst>
              <a:ext uri="{FF2B5EF4-FFF2-40B4-BE49-F238E27FC236}">
                <a16:creationId xmlns:a16="http://schemas.microsoft.com/office/drawing/2014/main" id="{FF73D0EE-242F-41D7-B16E-075399393C93}"/>
              </a:ext>
            </a:extLst>
          </p:cNvPr>
          <p:cNvSpPr>
            <a:spLocks/>
          </p:cNvSpPr>
          <p:nvPr/>
        </p:nvSpPr>
        <p:spPr>
          <a:xfrm>
            <a:off x="3513146" y="4014794"/>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70" name="Oval 569">
            <a:extLst>
              <a:ext uri="{FF2B5EF4-FFF2-40B4-BE49-F238E27FC236}">
                <a16:creationId xmlns:a16="http://schemas.microsoft.com/office/drawing/2014/main" id="{55D61583-3DA7-4606-8D74-DB7560098656}"/>
              </a:ext>
            </a:extLst>
          </p:cNvPr>
          <p:cNvSpPr>
            <a:spLocks/>
          </p:cNvSpPr>
          <p:nvPr/>
        </p:nvSpPr>
        <p:spPr>
          <a:xfrm>
            <a:off x="3483000" y="4014794"/>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71" name="Oval 570">
            <a:extLst>
              <a:ext uri="{FF2B5EF4-FFF2-40B4-BE49-F238E27FC236}">
                <a16:creationId xmlns:a16="http://schemas.microsoft.com/office/drawing/2014/main" id="{A934D6BA-B2DC-4356-A0FC-CB1A8CBEE8BA}"/>
              </a:ext>
            </a:extLst>
          </p:cNvPr>
          <p:cNvSpPr>
            <a:spLocks/>
          </p:cNvSpPr>
          <p:nvPr/>
        </p:nvSpPr>
        <p:spPr>
          <a:xfrm>
            <a:off x="3419717" y="4072102"/>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72" name="Oval 571">
            <a:extLst>
              <a:ext uri="{FF2B5EF4-FFF2-40B4-BE49-F238E27FC236}">
                <a16:creationId xmlns:a16="http://schemas.microsoft.com/office/drawing/2014/main" id="{E50C33F5-D25A-4468-8B3F-4D752FAC5C61}"/>
              </a:ext>
            </a:extLst>
          </p:cNvPr>
          <p:cNvSpPr>
            <a:spLocks/>
          </p:cNvSpPr>
          <p:nvPr/>
        </p:nvSpPr>
        <p:spPr>
          <a:xfrm>
            <a:off x="3419717" y="4057677"/>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73" name="Oval 572">
            <a:extLst>
              <a:ext uri="{FF2B5EF4-FFF2-40B4-BE49-F238E27FC236}">
                <a16:creationId xmlns:a16="http://schemas.microsoft.com/office/drawing/2014/main" id="{00684BE3-57B4-42F4-8885-09512F60B9E9}"/>
              </a:ext>
            </a:extLst>
          </p:cNvPr>
          <p:cNvSpPr>
            <a:spLocks/>
          </p:cNvSpPr>
          <p:nvPr/>
        </p:nvSpPr>
        <p:spPr>
          <a:xfrm>
            <a:off x="3965734" y="3663080"/>
            <a:ext cx="88365" cy="88365"/>
          </a:xfrm>
          <a:prstGeom prst="ellipse">
            <a:avLst/>
          </a:prstGeom>
          <a:solidFill>
            <a:srgbClr val="0E436C"/>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74" name="Oval 573">
            <a:extLst>
              <a:ext uri="{FF2B5EF4-FFF2-40B4-BE49-F238E27FC236}">
                <a16:creationId xmlns:a16="http://schemas.microsoft.com/office/drawing/2014/main" id="{3902DDFF-C5ED-420D-B447-223DF2672A00}"/>
              </a:ext>
            </a:extLst>
          </p:cNvPr>
          <p:cNvSpPr>
            <a:spLocks/>
          </p:cNvSpPr>
          <p:nvPr/>
        </p:nvSpPr>
        <p:spPr>
          <a:xfrm>
            <a:off x="3927971" y="3693662"/>
            <a:ext cx="88365" cy="88365"/>
          </a:xfrm>
          <a:prstGeom prst="ellipse">
            <a:avLst/>
          </a:prstGeom>
          <a:solidFill>
            <a:srgbClr val="1974A6"/>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75" name="Oval 574">
            <a:extLst>
              <a:ext uri="{FF2B5EF4-FFF2-40B4-BE49-F238E27FC236}">
                <a16:creationId xmlns:a16="http://schemas.microsoft.com/office/drawing/2014/main" id="{DCCCE242-7A2E-41BB-9974-E579E5128384}"/>
              </a:ext>
            </a:extLst>
          </p:cNvPr>
          <p:cNvSpPr>
            <a:spLocks/>
          </p:cNvSpPr>
          <p:nvPr/>
        </p:nvSpPr>
        <p:spPr>
          <a:xfrm>
            <a:off x="3957713" y="3722961"/>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76" name="Oval 575">
            <a:extLst>
              <a:ext uri="{FF2B5EF4-FFF2-40B4-BE49-F238E27FC236}">
                <a16:creationId xmlns:a16="http://schemas.microsoft.com/office/drawing/2014/main" id="{D8BCC1E9-D645-40BD-89F9-BED6024AFD5C}"/>
              </a:ext>
            </a:extLst>
          </p:cNvPr>
          <p:cNvSpPr>
            <a:spLocks/>
          </p:cNvSpPr>
          <p:nvPr/>
        </p:nvSpPr>
        <p:spPr>
          <a:xfrm>
            <a:off x="4012089" y="3729426"/>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77" name="Oval 576">
            <a:extLst>
              <a:ext uri="{FF2B5EF4-FFF2-40B4-BE49-F238E27FC236}">
                <a16:creationId xmlns:a16="http://schemas.microsoft.com/office/drawing/2014/main" id="{1EF38CFA-1274-4964-ADC9-F271546DC9AD}"/>
              </a:ext>
            </a:extLst>
          </p:cNvPr>
          <p:cNvSpPr>
            <a:spLocks/>
          </p:cNvSpPr>
          <p:nvPr/>
        </p:nvSpPr>
        <p:spPr>
          <a:xfrm>
            <a:off x="4001851" y="3675570"/>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78" name="Oval 577">
            <a:extLst>
              <a:ext uri="{FF2B5EF4-FFF2-40B4-BE49-F238E27FC236}">
                <a16:creationId xmlns:a16="http://schemas.microsoft.com/office/drawing/2014/main" id="{59291FA9-3878-4E21-A43F-CD9422EF7938}"/>
              </a:ext>
            </a:extLst>
          </p:cNvPr>
          <p:cNvSpPr>
            <a:spLocks/>
          </p:cNvSpPr>
          <p:nvPr/>
        </p:nvSpPr>
        <p:spPr>
          <a:xfrm>
            <a:off x="3990037" y="3616499"/>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79" name="Oval 578">
            <a:extLst>
              <a:ext uri="{FF2B5EF4-FFF2-40B4-BE49-F238E27FC236}">
                <a16:creationId xmlns:a16="http://schemas.microsoft.com/office/drawing/2014/main" id="{9AE552B1-2A94-4807-AC52-5CB9A8133631}"/>
              </a:ext>
            </a:extLst>
          </p:cNvPr>
          <p:cNvSpPr>
            <a:spLocks/>
          </p:cNvSpPr>
          <p:nvPr/>
        </p:nvSpPr>
        <p:spPr>
          <a:xfrm>
            <a:off x="3305920" y="3827303"/>
            <a:ext cx="88365" cy="88365"/>
          </a:xfrm>
          <a:prstGeom prst="ellipse">
            <a:avLst/>
          </a:prstGeom>
          <a:solidFill>
            <a:srgbClr val="0E436C"/>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80" name="Oval 579">
            <a:extLst>
              <a:ext uri="{FF2B5EF4-FFF2-40B4-BE49-F238E27FC236}">
                <a16:creationId xmlns:a16="http://schemas.microsoft.com/office/drawing/2014/main" id="{95877EB7-5241-4937-ABDD-34ADD214536D}"/>
              </a:ext>
            </a:extLst>
          </p:cNvPr>
          <p:cNvSpPr>
            <a:spLocks/>
          </p:cNvSpPr>
          <p:nvPr/>
        </p:nvSpPr>
        <p:spPr>
          <a:xfrm>
            <a:off x="3316851" y="3821881"/>
            <a:ext cx="88365" cy="88365"/>
          </a:xfrm>
          <a:prstGeom prst="ellipse">
            <a:avLst/>
          </a:prstGeom>
          <a:solidFill>
            <a:srgbClr val="0E436C"/>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81" name="Oval 580">
            <a:extLst>
              <a:ext uri="{FF2B5EF4-FFF2-40B4-BE49-F238E27FC236}">
                <a16:creationId xmlns:a16="http://schemas.microsoft.com/office/drawing/2014/main" id="{C568A759-FF6F-4A62-89B0-D62A6AD200A8}"/>
              </a:ext>
            </a:extLst>
          </p:cNvPr>
          <p:cNvSpPr>
            <a:spLocks/>
          </p:cNvSpPr>
          <p:nvPr/>
        </p:nvSpPr>
        <p:spPr>
          <a:xfrm>
            <a:off x="3323865" y="3778704"/>
            <a:ext cx="88365" cy="88365"/>
          </a:xfrm>
          <a:prstGeom prst="ellipse">
            <a:avLst/>
          </a:prstGeom>
          <a:solidFill>
            <a:srgbClr val="0E436C"/>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82" name="Oval 581">
            <a:extLst>
              <a:ext uri="{FF2B5EF4-FFF2-40B4-BE49-F238E27FC236}">
                <a16:creationId xmlns:a16="http://schemas.microsoft.com/office/drawing/2014/main" id="{A78CAC01-56F4-459C-95B3-F717919059A5}"/>
              </a:ext>
            </a:extLst>
          </p:cNvPr>
          <p:cNvSpPr>
            <a:spLocks/>
          </p:cNvSpPr>
          <p:nvPr/>
        </p:nvSpPr>
        <p:spPr>
          <a:xfrm>
            <a:off x="3365744" y="3763589"/>
            <a:ext cx="88365" cy="88365"/>
          </a:xfrm>
          <a:prstGeom prst="ellipse">
            <a:avLst/>
          </a:prstGeom>
          <a:solidFill>
            <a:srgbClr val="0E436C"/>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83" name="Oval 582">
            <a:extLst>
              <a:ext uri="{FF2B5EF4-FFF2-40B4-BE49-F238E27FC236}">
                <a16:creationId xmlns:a16="http://schemas.microsoft.com/office/drawing/2014/main" id="{9ADD9F87-D0C4-4A4D-B489-6F25B5E5E2D2}"/>
              </a:ext>
            </a:extLst>
          </p:cNvPr>
          <p:cNvSpPr>
            <a:spLocks/>
          </p:cNvSpPr>
          <p:nvPr/>
        </p:nvSpPr>
        <p:spPr>
          <a:xfrm>
            <a:off x="3373755" y="3727269"/>
            <a:ext cx="88365" cy="88365"/>
          </a:xfrm>
          <a:prstGeom prst="ellipse">
            <a:avLst/>
          </a:prstGeom>
          <a:solidFill>
            <a:srgbClr val="0E436C"/>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84" name="Oval 583">
            <a:extLst>
              <a:ext uri="{FF2B5EF4-FFF2-40B4-BE49-F238E27FC236}">
                <a16:creationId xmlns:a16="http://schemas.microsoft.com/office/drawing/2014/main" id="{A976B61A-0612-4153-BD4E-E9DE2A83A98F}"/>
              </a:ext>
            </a:extLst>
          </p:cNvPr>
          <p:cNvSpPr>
            <a:spLocks/>
          </p:cNvSpPr>
          <p:nvPr/>
        </p:nvSpPr>
        <p:spPr>
          <a:xfrm>
            <a:off x="3157563" y="3801845"/>
            <a:ext cx="88365" cy="88365"/>
          </a:xfrm>
          <a:prstGeom prst="ellipse">
            <a:avLst/>
          </a:prstGeom>
          <a:solidFill>
            <a:srgbClr val="1974A6"/>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85" name="Oval 584">
            <a:extLst>
              <a:ext uri="{FF2B5EF4-FFF2-40B4-BE49-F238E27FC236}">
                <a16:creationId xmlns:a16="http://schemas.microsoft.com/office/drawing/2014/main" id="{E76AB258-66BF-4E9A-9C0E-FF3D4A4CE6B0}"/>
              </a:ext>
            </a:extLst>
          </p:cNvPr>
          <p:cNvSpPr>
            <a:spLocks/>
          </p:cNvSpPr>
          <p:nvPr/>
        </p:nvSpPr>
        <p:spPr>
          <a:xfrm>
            <a:off x="2955184" y="3823506"/>
            <a:ext cx="88365" cy="88365"/>
          </a:xfrm>
          <a:prstGeom prst="ellipse">
            <a:avLst/>
          </a:prstGeom>
          <a:solidFill>
            <a:srgbClr val="1974A6"/>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86" name="Oval 585">
            <a:extLst>
              <a:ext uri="{FF2B5EF4-FFF2-40B4-BE49-F238E27FC236}">
                <a16:creationId xmlns:a16="http://schemas.microsoft.com/office/drawing/2014/main" id="{7984971D-F597-4D67-8791-0F46B883448A}"/>
              </a:ext>
            </a:extLst>
          </p:cNvPr>
          <p:cNvSpPr>
            <a:spLocks/>
          </p:cNvSpPr>
          <p:nvPr/>
        </p:nvSpPr>
        <p:spPr>
          <a:xfrm>
            <a:off x="3286167" y="4008084"/>
            <a:ext cx="88365" cy="88365"/>
          </a:xfrm>
          <a:prstGeom prst="ellipse">
            <a:avLst/>
          </a:prstGeom>
          <a:solidFill>
            <a:srgbClr val="1974A6"/>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87" name="Oval 586">
            <a:extLst>
              <a:ext uri="{FF2B5EF4-FFF2-40B4-BE49-F238E27FC236}">
                <a16:creationId xmlns:a16="http://schemas.microsoft.com/office/drawing/2014/main" id="{81A062C1-021E-4CEB-9B9B-85487B6DEF6A}"/>
              </a:ext>
            </a:extLst>
          </p:cNvPr>
          <p:cNvSpPr>
            <a:spLocks/>
          </p:cNvSpPr>
          <p:nvPr/>
        </p:nvSpPr>
        <p:spPr>
          <a:xfrm>
            <a:off x="3827749" y="4409445"/>
            <a:ext cx="88365" cy="88365"/>
          </a:xfrm>
          <a:prstGeom prst="ellipse">
            <a:avLst/>
          </a:prstGeom>
          <a:solidFill>
            <a:srgbClr val="1974A6"/>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88" name="Oval 587">
            <a:extLst>
              <a:ext uri="{FF2B5EF4-FFF2-40B4-BE49-F238E27FC236}">
                <a16:creationId xmlns:a16="http://schemas.microsoft.com/office/drawing/2014/main" id="{CE99C4B7-69FB-4130-A204-09804EF92BF3}"/>
              </a:ext>
            </a:extLst>
          </p:cNvPr>
          <p:cNvSpPr>
            <a:spLocks/>
          </p:cNvSpPr>
          <p:nvPr/>
        </p:nvSpPr>
        <p:spPr>
          <a:xfrm>
            <a:off x="3898973" y="4355507"/>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89" name="Oval 588">
            <a:extLst>
              <a:ext uri="{FF2B5EF4-FFF2-40B4-BE49-F238E27FC236}">
                <a16:creationId xmlns:a16="http://schemas.microsoft.com/office/drawing/2014/main" id="{7096C472-9F6E-4719-81BD-2E9BD3F0E90A}"/>
              </a:ext>
            </a:extLst>
          </p:cNvPr>
          <p:cNvSpPr>
            <a:spLocks/>
          </p:cNvSpPr>
          <p:nvPr/>
        </p:nvSpPr>
        <p:spPr>
          <a:xfrm>
            <a:off x="3907148" y="4428969"/>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90" name="Oval 589">
            <a:extLst>
              <a:ext uri="{FF2B5EF4-FFF2-40B4-BE49-F238E27FC236}">
                <a16:creationId xmlns:a16="http://schemas.microsoft.com/office/drawing/2014/main" id="{3637BEA4-1505-4E06-81DE-C72A143F8D06}"/>
              </a:ext>
            </a:extLst>
          </p:cNvPr>
          <p:cNvSpPr>
            <a:spLocks/>
          </p:cNvSpPr>
          <p:nvPr/>
        </p:nvSpPr>
        <p:spPr>
          <a:xfrm>
            <a:off x="3807003" y="4300937"/>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91" name="Oval 590">
            <a:extLst>
              <a:ext uri="{FF2B5EF4-FFF2-40B4-BE49-F238E27FC236}">
                <a16:creationId xmlns:a16="http://schemas.microsoft.com/office/drawing/2014/main" id="{E2F098FE-B08E-4845-B348-EBE0E7F22190}"/>
              </a:ext>
            </a:extLst>
          </p:cNvPr>
          <p:cNvSpPr>
            <a:spLocks/>
          </p:cNvSpPr>
          <p:nvPr/>
        </p:nvSpPr>
        <p:spPr>
          <a:xfrm>
            <a:off x="3780803" y="4359602"/>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92" name="Oval 591">
            <a:extLst>
              <a:ext uri="{FF2B5EF4-FFF2-40B4-BE49-F238E27FC236}">
                <a16:creationId xmlns:a16="http://schemas.microsoft.com/office/drawing/2014/main" id="{F68EE3F6-3FF9-4F63-9A95-31903E09FE75}"/>
              </a:ext>
            </a:extLst>
          </p:cNvPr>
          <p:cNvSpPr>
            <a:spLocks/>
          </p:cNvSpPr>
          <p:nvPr/>
        </p:nvSpPr>
        <p:spPr>
          <a:xfrm>
            <a:off x="3852982" y="4336243"/>
            <a:ext cx="88365" cy="88365"/>
          </a:xfrm>
          <a:prstGeom prst="ellipse">
            <a:avLst/>
          </a:prstGeom>
          <a:solidFill>
            <a:srgbClr val="0E436C"/>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93" name="Oval 592">
            <a:extLst>
              <a:ext uri="{FF2B5EF4-FFF2-40B4-BE49-F238E27FC236}">
                <a16:creationId xmlns:a16="http://schemas.microsoft.com/office/drawing/2014/main" id="{94995D68-2BAE-4696-B3B0-3AA1543DE75A}"/>
              </a:ext>
            </a:extLst>
          </p:cNvPr>
          <p:cNvSpPr>
            <a:spLocks/>
          </p:cNvSpPr>
          <p:nvPr/>
        </p:nvSpPr>
        <p:spPr>
          <a:xfrm>
            <a:off x="3827061" y="4358235"/>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94" name="Oval 593">
            <a:extLst>
              <a:ext uri="{FF2B5EF4-FFF2-40B4-BE49-F238E27FC236}">
                <a16:creationId xmlns:a16="http://schemas.microsoft.com/office/drawing/2014/main" id="{C63E3636-1C49-4F93-BA75-8A8E5BAFABD2}"/>
              </a:ext>
            </a:extLst>
          </p:cNvPr>
          <p:cNvSpPr>
            <a:spLocks/>
          </p:cNvSpPr>
          <p:nvPr/>
        </p:nvSpPr>
        <p:spPr>
          <a:xfrm>
            <a:off x="3877612" y="4571765"/>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95" name="Oval 594">
            <a:extLst>
              <a:ext uri="{FF2B5EF4-FFF2-40B4-BE49-F238E27FC236}">
                <a16:creationId xmlns:a16="http://schemas.microsoft.com/office/drawing/2014/main" id="{F0D7D523-2581-432C-9C30-F6EB98171B2E}"/>
              </a:ext>
            </a:extLst>
          </p:cNvPr>
          <p:cNvSpPr>
            <a:spLocks/>
          </p:cNvSpPr>
          <p:nvPr/>
        </p:nvSpPr>
        <p:spPr>
          <a:xfrm>
            <a:off x="3881551" y="4563867"/>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96" name="Oval 595">
            <a:extLst>
              <a:ext uri="{FF2B5EF4-FFF2-40B4-BE49-F238E27FC236}">
                <a16:creationId xmlns:a16="http://schemas.microsoft.com/office/drawing/2014/main" id="{9465CB30-8CF2-48B8-B584-6BC2644A83E2}"/>
              </a:ext>
            </a:extLst>
          </p:cNvPr>
          <p:cNvSpPr>
            <a:spLocks/>
          </p:cNvSpPr>
          <p:nvPr/>
        </p:nvSpPr>
        <p:spPr>
          <a:xfrm>
            <a:off x="3860293" y="4520743"/>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97" name="Oval 596">
            <a:extLst>
              <a:ext uri="{FF2B5EF4-FFF2-40B4-BE49-F238E27FC236}">
                <a16:creationId xmlns:a16="http://schemas.microsoft.com/office/drawing/2014/main" id="{1FA30EEF-79CF-4525-9388-56F370B1FC79}"/>
              </a:ext>
            </a:extLst>
          </p:cNvPr>
          <p:cNvSpPr>
            <a:spLocks/>
          </p:cNvSpPr>
          <p:nvPr/>
        </p:nvSpPr>
        <p:spPr>
          <a:xfrm>
            <a:off x="3905582" y="4742731"/>
            <a:ext cx="88365" cy="88365"/>
          </a:xfrm>
          <a:prstGeom prst="ellipse">
            <a:avLst/>
          </a:prstGeom>
          <a:solidFill>
            <a:srgbClr val="1974A6"/>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98" name="Oval 597">
            <a:extLst>
              <a:ext uri="{FF2B5EF4-FFF2-40B4-BE49-F238E27FC236}">
                <a16:creationId xmlns:a16="http://schemas.microsoft.com/office/drawing/2014/main" id="{C93B2A0C-C57B-4251-B330-ED8F15E881A6}"/>
              </a:ext>
            </a:extLst>
          </p:cNvPr>
          <p:cNvSpPr>
            <a:spLocks/>
          </p:cNvSpPr>
          <p:nvPr/>
        </p:nvSpPr>
        <p:spPr>
          <a:xfrm>
            <a:off x="3950031" y="4684426"/>
            <a:ext cx="88365" cy="88365"/>
          </a:xfrm>
          <a:prstGeom prst="ellipse">
            <a:avLst/>
          </a:prstGeom>
          <a:solidFill>
            <a:srgbClr val="0E436C"/>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99" name="Oval 598">
            <a:extLst>
              <a:ext uri="{FF2B5EF4-FFF2-40B4-BE49-F238E27FC236}">
                <a16:creationId xmlns:a16="http://schemas.microsoft.com/office/drawing/2014/main" id="{605DADC7-8E09-40B9-8845-FB4C96899B4A}"/>
              </a:ext>
            </a:extLst>
          </p:cNvPr>
          <p:cNvSpPr>
            <a:spLocks/>
          </p:cNvSpPr>
          <p:nvPr/>
        </p:nvSpPr>
        <p:spPr>
          <a:xfrm>
            <a:off x="3869944" y="4705317"/>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00" name="Oval 599">
            <a:extLst>
              <a:ext uri="{FF2B5EF4-FFF2-40B4-BE49-F238E27FC236}">
                <a16:creationId xmlns:a16="http://schemas.microsoft.com/office/drawing/2014/main" id="{C06DD40F-EA93-41FC-A3F0-FB5C34D5A075}"/>
              </a:ext>
            </a:extLst>
          </p:cNvPr>
          <p:cNvSpPr>
            <a:spLocks/>
          </p:cNvSpPr>
          <p:nvPr/>
        </p:nvSpPr>
        <p:spPr>
          <a:xfrm>
            <a:off x="3539525" y="4720773"/>
            <a:ext cx="88365" cy="88365"/>
          </a:xfrm>
          <a:prstGeom prst="ellipse">
            <a:avLst/>
          </a:prstGeom>
          <a:solidFill>
            <a:srgbClr val="0E436C"/>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01" name="Oval 600">
            <a:extLst>
              <a:ext uri="{FF2B5EF4-FFF2-40B4-BE49-F238E27FC236}">
                <a16:creationId xmlns:a16="http://schemas.microsoft.com/office/drawing/2014/main" id="{EDE3E2BA-2EC9-4E13-9FBD-4CDDDE167511}"/>
              </a:ext>
            </a:extLst>
          </p:cNvPr>
          <p:cNvSpPr>
            <a:spLocks/>
          </p:cNvSpPr>
          <p:nvPr/>
        </p:nvSpPr>
        <p:spPr>
          <a:xfrm>
            <a:off x="3537381" y="4701899"/>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02" name="Oval 601">
            <a:extLst>
              <a:ext uri="{FF2B5EF4-FFF2-40B4-BE49-F238E27FC236}">
                <a16:creationId xmlns:a16="http://schemas.microsoft.com/office/drawing/2014/main" id="{86749CE7-B760-4623-AF12-42F99BA89427}"/>
              </a:ext>
            </a:extLst>
          </p:cNvPr>
          <p:cNvSpPr>
            <a:spLocks/>
          </p:cNvSpPr>
          <p:nvPr/>
        </p:nvSpPr>
        <p:spPr>
          <a:xfrm>
            <a:off x="3499968" y="4542754"/>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03" name="Oval 602">
            <a:extLst>
              <a:ext uri="{FF2B5EF4-FFF2-40B4-BE49-F238E27FC236}">
                <a16:creationId xmlns:a16="http://schemas.microsoft.com/office/drawing/2014/main" id="{D22C2A9D-FB5F-43F0-A3D1-C8F01497F07F}"/>
              </a:ext>
            </a:extLst>
          </p:cNvPr>
          <p:cNvSpPr>
            <a:spLocks/>
          </p:cNvSpPr>
          <p:nvPr/>
        </p:nvSpPr>
        <p:spPr>
          <a:xfrm>
            <a:off x="3490123" y="4497013"/>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04" name="Oval 603">
            <a:extLst>
              <a:ext uri="{FF2B5EF4-FFF2-40B4-BE49-F238E27FC236}">
                <a16:creationId xmlns:a16="http://schemas.microsoft.com/office/drawing/2014/main" id="{69041C1B-933C-4FD8-86C1-C9CBCDB8AB61}"/>
              </a:ext>
            </a:extLst>
          </p:cNvPr>
          <p:cNvSpPr>
            <a:spLocks/>
          </p:cNvSpPr>
          <p:nvPr/>
        </p:nvSpPr>
        <p:spPr>
          <a:xfrm>
            <a:off x="3474338" y="4528854"/>
            <a:ext cx="88365" cy="88365"/>
          </a:xfrm>
          <a:prstGeom prst="ellipse">
            <a:avLst/>
          </a:prstGeom>
          <a:solidFill>
            <a:srgbClr val="1974A6"/>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05" name="Oval 604">
            <a:extLst>
              <a:ext uri="{FF2B5EF4-FFF2-40B4-BE49-F238E27FC236}">
                <a16:creationId xmlns:a16="http://schemas.microsoft.com/office/drawing/2014/main" id="{8B1EA74F-6937-46D7-A32C-8E015652D1BB}"/>
              </a:ext>
            </a:extLst>
          </p:cNvPr>
          <p:cNvSpPr>
            <a:spLocks/>
          </p:cNvSpPr>
          <p:nvPr/>
        </p:nvSpPr>
        <p:spPr>
          <a:xfrm>
            <a:off x="3259657" y="4576111"/>
            <a:ext cx="88365" cy="88365"/>
          </a:xfrm>
          <a:prstGeom prst="ellipse">
            <a:avLst/>
          </a:prstGeom>
          <a:solidFill>
            <a:srgbClr val="1974A6"/>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06" name="Oval 605">
            <a:extLst>
              <a:ext uri="{FF2B5EF4-FFF2-40B4-BE49-F238E27FC236}">
                <a16:creationId xmlns:a16="http://schemas.microsoft.com/office/drawing/2014/main" id="{0DE7C9EB-6FFA-4B9F-8A1B-479FA23796E9}"/>
              </a:ext>
            </a:extLst>
          </p:cNvPr>
          <p:cNvSpPr>
            <a:spLocks/>
          </p:cNvSpPr>
          <p:nvPr/>
        </p:nvSpPr>
        <p:spPr>
          <a:xfrm>
            <a:off x="3242027" y="4625353"/>
            <a:ext cx="88365" cy="88365"/>
          </a:xfrm>
          <a:prstGeom prst="ellipse">
            <a:avLst/>
          </a:prstGeom>
          <a:solidFill>
            <a:srgbClr val="0E436C"/>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07" name="Oval 606">
            <a:extLst>
              <a:ext uri="{FF2B5EF4-FFF2-40B4-BE49-F238E27FC236}">
                <a16:creationId xmlns:a16="http://schemas.microsoft.com/office/drawing/2014/main" id="{25D86422-25A7-43D7-B24F-53D73BE8DEBD}"/>
              </a:ext>
            </a:extLst>
          </p:cNvPr>
          <p:cNvSpPr>
            <a:spLocks/>
          </p:cNvSpPr>
          <p:nvPr/>
        </p:nvSpPr>
        <p:spPr>
          <a:xfrm>
            <a:off x="3230378" y="4609492"/>
            <a:ext cx="88365" cy="88365"/>
          </a:xfrm>
          <a:prstGeom prst="ellipse">
            <a:avLst/>
          </a:prstGeom>
          <a:solidFill>
            <a:srgbClr val="0E436C"/>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08" name="Oval 607">
            <a:extLst>
              <a:ext uri="{FF2B5EF4-FFF2-40B4-BE49-F238E27FC236}">
                <a16:creationId xmlns:a16="http://schemas.microsoft.com/office/drawing/2014/main" id="{927AD441-BE84-4DD5-B048-7D7803B69A3D}"/>
              </a:ext>
            </a:extLst>
          </p:cNvPr>
          <p:cNvSpPr>
            <a:spLocks/>
          </p:cNvSpPr>
          <p:nvPr/>
        </p:nvSpPr>
        <p:spPr>
          <a:xfrm>
            <a:off x="3334504" y="4339589"/>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09" name="Oval 608">
            <a:extLst>
              <a:ext uri="{FF2B5EF4-FFF2-40B4-BE49-F238E27FC236}">
                <a16:creationId xmlns:a16="http://schemas.microsoft.com/office/drawing/2014/main" id="{22735415-6A6D-4E7A-A4DA-9D4A2DC4A69E}"/>
              </a:ext>
            </a:extLst>
          </p:cNvPr>
          <p:cNvSpPr>
            <a:spLocks/>
          </p:cNvSpPr>
          <p:nvPr/>
        </p:nvSpPr>
        <p:spPr>
          <a:xfrm>
            <a:off x="3370009" y="4292188"/>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10" name="Oval 609">
            <a:extLst>
              <a:ext uri="{FF2B5EF4-FFF2-40B4-BE49-F238E27FC236}">
                <a16:creationId xmlns:a16="http://schemas.microsoft.com/office/drawing/2014/main" id="{432E5AC7-0835-4916-93D0-9F307A9210F2}"/>
              </a:ext>
            </a:extLst>
          </p:cNvPr>
          <p:cNvSpPr>
            <a:spLocks/>
          </p:cNvSpPr>
          <p:nvPr/>
        </p:nvSpPr>
        <p:spPr>
          <a:xfrm>
            <a:off x="3433182" y="4282450"/>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11" name="Oval 610">
            <a:extLst>
              <a:ext uri="{FF2B5EF4-FFF2-40B4-BE49-F238E27FC236}">
                <a16:creationId xmlns:a16="http://schemas.microsoft.com/office/drawing/2014/main" id="{3788CDFA-7722-4F3A-9ECC-7A11834019AB}"/>
              </a:ext>
            </a:extLst>
          </p:cNvPr>
          <p:cNvSpPr>
            <a:spLocks/>
          </p:cNvSpPr>
          <p:nvPr/>
        </p:nvSpPr>
        <p:spPr>
          <a:xfrm>
            <a:off x="3419592" y="4242912"/>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12" name="Oval 611">
            <a:extLst>
              <a:ext uri="{FF2B5EF4-FFF2-40B4-BE49-F238E27FC236}">
                <a16:creationId xmlns:a16="http://schemas.microsoft.com/office/drawing/2014/main" id="{8EC04C5A-D567-4A39-8BCB-90B148E9F522}"/>
              </a:ext>
            </a:extLst>
          </p:cNvPr>
          <p:cNvSpPr>
            <a:spLocks/>
          </p:cNvSpPr>
          <p:nvPr/>
        </p:nvSpPr>
        <p:spPr>
          <a:xfrm>
            <a:off x="3383443" y="4242912"/>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13" name="Oval 612">
            <a:extLst>
              <a:ext uri="{FF2B5EF4-FFF2-40B4-BE49-F238E27FC236}">
                <a16:creationId xmlns:a16="http://schemas.microsoft.com/office/drawing/2014/main" id="{AF20EFBD-2637-49CA-917A-1A512312192C}"/>
              </a:ext>
            </a:extLst>
          </p:cNvPr>
          <p:cNvSpPr>
            <a:spLocks/>
          </p:cNvSpPr>
          <p:nvPr/>
        </p:nvSpPr>
        <p:spPr>
          <a:xfrm>
            <a:off x="3206691" y="4400630"/>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14" name="Oval 613">
            <a:extLst>
              <a:ext uri="{FF2B5EF4-FFF2-40B4-BE49-F238E27FC236}">
                <a16:creationId xmlns:a16="http://schemas.microsoft.com/office/drawing/2014/main" id="{58B26C05-5F17-4A65-8FD3-4D7D511E0077}"/>
              </a:ext>
            </a:extLst>
          </p:cNvPr>
          <p:cNvSpPr>
            <a:spLocks/>
          </p:cNvSpPr>
          <p:nvPr/>
        </p:nvSpPr>
        <p:spPr>
          <a:xfrm>
            <a:off x="3184380" y="4400630"/>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15" name="Oval 614">
            <a:extLst>
              <a:ext uri="{FF2B5EF4-FFF2-40B4-BE49-F238E27FC236}">
                <a16:creationId xmlns:a16="http://schemas.microsoft.com/office/drawing/2014/main" id="{21A9520B-DFE7-4701-8592-BB828EA225B9}"/>
              </a:ext>
            </a:extLst>
          </p:cNvPr>
          <p:cNvSpPr>
            <a:spLocks/>
          </p:cNvSpPr>
          <p:nvPr/>
        </p:nvSpPr>
        <p:spPr>
          <a:xfrm>
            <a:off x="3256327" y="4147933"/>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16" name="Oval 615">
            <a:extLst>
              <a:ext uri="{FF2B5EF4-FFF2-40B4-BE49-F238E27FC236}">
                <a16:creationId xmlns:a16="http://schemas.microsoft.com/office/drawing/2014/main" id="{8E895BCC-81AB-4C86-ACBA-118BB148085A}"/>
              </a:ext>
            </a:extLst>
          </p:cNvPr>
          <p:cNvSpPr>
            <a:spLocks/>
          </p:cNvSpPr>
          <p:nvPr/>
        </p:nvSpPr>
        <p:spPr>
          <a:xfrm>
            <a:off x="3278299" y="4171186"/>
            <a:ext cx="88365" cy="88365"/>
          </a:xfrm>
          <a:prstGeom prst="ellipse">
            <a:avLst/>
          </a:prstGeom>
          <a:solidFill>
            <a:srgbClr val="1974A6"/>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17" name="Oval 616">
            <a:extLst>
              <a:ext uri="{FF2B5EF4-FFF2-40B4-BE49-F238E27FC236}">
                <a16:creationId xmlns:a16="http://schemas.microsoft.com/office/drawing/2014/main" id="{C2C4CA7F-111E-4C5E-8DF3-9045E59F03D7}"/>
              </a:ext>
            </a:extLst>
          </p:cNvPr>
          <p:cNvSpPr>
            <a:spLocks/>
          </p:cNvSpPr>
          <p:nvPr/>
        </p:nvSpPr>
        <p:spPr>
          <a:xfrm>
            <a:off x="3539831" y="4223088"/>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18" name="Oval 617">
            <a:extLst>
              <a:ext uri="{FF2B5EF4-FFF2-40B4-BE49-F238E27FC236}">
                <a16:creationId xmlns:a16="http://schemas.microsoft.com/office/drawing/2014/main" id="{D4B8C625-5E43-45BC-946A-858B51C4AC4C}"/>
              </a:ext>
            </a:extLst>
          </p:cNvPr>
          <p:cNvSpPr>
            <a:spLocks/>
          </p:cNvSpPr>
          <p:nvPr/>
        </p:nvSpPr>
        <p:spPr>
          <a:xfrm>
            <a:off x="3548055" y="4171186"/>
            <a:ext cx="88365" cy="88365"/>
          </a:xfrm>
          <a:prstGeom prst="ellipse">
            <a:avLst/>
          </a:prstGeom>
          <a:solidFill>
            <a:srgbClr val="1974A6"/>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19" name="Oval 618">
            <a:extLst>
              <a:ext uri="{FF2B5EF4-FFF2-40B4-BE49-F238E27FC236}">
                <a16:creationId xmlns:a16="http://schemas.microsoft.com/office/drawing/2014/main" id="{331C64CA-473B-410A-929B-F896FE2C1001}"/>
              </a:ext>
            </a:extLst>
          </p:cNvPr>
          <p:cNvSpPr>
            <a:spLocks/>
          </p:cNvSpPr>
          <p:nvPr/>
        </p:nvSpPr>
        <p:spPr>
          <a:xfrm>
            <a:off x="3179706" y="4161341"/>
            <a:ext cx="88365" cy="88365"/>
          </a:xfrm>
          <a:prstGeom prst="ellipse">
            <a:avLst/>
          </a:prstGeom>
          <a:solidFill>
            <a:srgbClr val="1974A6"/>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20" name="Oval 619">
            <a:extLst>
              <a:ext uri="{FF2B5EF4-FFF2-40B4-BE49-F238E27FC236}">
                <a16:creationId xmlns:a16="http://schemas.microsoft.com/office/drawing/2014/main" id="{50666E6C-BD5F-4CDD-B448-C24F179A4EE8}"/>
              </a:ext>
            </a:extLst>
          </p:cNvPr>
          <p:cNvSpPr>
            <a:spLocks/>
          </p:cNvSpPr>
          <p:nvPr/>
        </p:nvSpPr>
        <p:spPr>
          <a:xfrm>
            <a:off x="3180142" y="4130212"/>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21" name="Oval 620">
            <a:extLst>
              <a:ext uri="{FF2B5EF4-FFF2-40B4-BE49-F238E27FC236}">
                <a16:creationId xmlns:a16="http://schemas.microsoft.com/office/drawing/2014/main" id="{B2CA5032-401A-4F2C-BDD3-8015F62DFA99}"/>
              </a:ext>
            </a:extLst>
          </p:cNvPr>
          <p:cNvSpPr>
            <a:spLocks/>
          </p:cNvSpPr>
          <p:nvPr/>
        </p:nvSpPr>
        <p:spPr>
          <a:xfrm>
            <a:off x="3128637" y="3998238"/>
            <a:ext cx="88365" cy="88365"/>
          </a:xfrm>
          <a:prstGeom prst="ellipse">
            <a:avLst/>
          </a:prstGeom>
          <a:solidFill>
            <a:srgbClr val="1974A6"/>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22" name="Oval 621">
            <a:extLst>
              <a:ext uri="{FF2B5EF4-FFF2-40B4-BE49-F238E27FC236}">
                <a16:creationId xmlns:a16="http://schemas.microsoft.com/office/drawing/2014/main" id="{6B4E47B5-A719-4C5F-8D40-7116D3C32E3A}"/>
              </a:ext>
            </a:extLst>
          </p:cNvPr>
          <p:cNvSpPr>
            <a:spLocks/>
          </p:cNvSpPr>
          <p:nvPr/>
        </p:nvSpPr>
        <p:spPr>
          <a:xfrm>
            <a:off x="3118783" y="4052489"/>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23" name="Oval 622">
            <a:extLst>
              <a:ext uri="{FF2B5EF4-FFF2-40B4-BE49-F238E27FC236}">
                <a16:creationId xmlns:a16="http://schemas.microsoft.com/office/drawing/2014/main" id="{6F1B1BBE-B614-4A2E-8E18-59EF9110A423}"/>
              </a:ext>
            </a:extLst>
          </p:cNvPr>
          <p:cNvSpPr>
            <a:spLocks/>
          </p:cNvSpPr>
          <p:nvPr/>
        </p:nvSpPr>
        <p:spPr>
          <a:xfrm>
            <a:off x="3128637" y="4030848"/>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24" name="Oval 623">
            <a:extLst>
              <a:ext uri="{FF2B5EF4-FFF2-40B4-BE49-F238E27FC236}">
                <a16:creationId xmlns:a16="http://schemas.microsoft.com/office/drawing/2014/main" id="{8A32995C-84E3-4403-AD99-16203AF3DC98}"/>
              </a:ext>
            </a:extLst>
          </p:cNvPr>
          <p:cNvSpPr>
            <a:spLocks/>
          </p:cNvSpPr>
          <p:nvPr/>
        </p:nvSpPr>
        <p:spPr>
          <a:xfrm>
            <a:off x="3192667" y="4024203"/>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25" name="Oval 624">
            <a:extLst>
              <a:ext uri="{FF2B5EF4-FFF2-40B4-BE49-F238E27FC236}">
                <a16:creationId xmlns:a16="http://schemas.microsoft.com/office/drawing/2014/main" id="{88D65572-7354-4884-ACD1-157DD0E7E31A}"/>
              </a:ext>
            </a:extLst>
          </p:cNvPr>
          <p:cNvSpPr>
            <a:spLocks/>
          </p:cNvSpPr>
          <p:nvPr/>
        </p:nvSpPr>
        <p:spPr>
          <a:xfrm>
            <a:off x="3181672" y="3984615"/>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26" name="Oval 625">
            <a:extLst>
              <a:ext uri="{FF2B5EF4-FFF2-40B4-BE49-F238E27FC236}">
                <a16:creationId xmlns:a16="http://schemas.microsoft.com/office/drawing/2014/main" id="{CB95009E-C1D6-460C-98A4-80C2FE03B4EA}"/>
              </a:ext>
            </a:extLst>
          </p:cNvPr>
          <p:cNvSpPr>
            <a:spLocks/>
          </p:cNvSpPr>
          <p:nvPr/>
        </p:nvSpPr>
        <p:spPr>
          <a:xfrm>
            <a:off x="3121506" y="3924649"/>
            <a:ext cx="88365" cy="88365"/>
          </a:xfrm>
          <a:prstGeom prst="ellipse">
            <a:avLst/>
          </a:prstGeom>
          <a:solidFill>
            <a:schemeClr val="accent5">
              <a:lumMod val="20000"/>
              <a:lumOff val="80000"/>
            </a:schemeClr>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27" name="Oval 626">
            <a:extLst>
              <a:ext uri="{FF2B5EF4-FFF2-40B4-BE49-F238E27FC236}">
                <a16:creationId xmlns:a16="http://schemas.microsoft.com/office/drawing/2014/main" id="{2E9B8F08-49E1-4810-9BDE-EFBA52D6735D}"/>
              </a:ext>
            </a:extLst>
          </p:cNvPr>
          <p:cNvSpPr>
            <a:spLocks/>
          </p:cNvSpPr>
          <p:nvPr/>
        </p:nvSpPr>
        <p:spPr>
          <a:xfrm>
            <a:off x="3101976" y="3897082"/>
            <a:ext cx="88365" cy="88365"/>
          </a:xfrm>
          <a:prstGeom prst="ellipse">
            <a:avLst/>
          </a:prstGeom>
          <a:solidFill>
            <a:schemeClr val="accent5">
              <a:lumMod val="20000"/>
              <a:lumOff val="80000"/>
            </a:schemeClr>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28" name="Oval 627">
            <a:extLst>
              <a:ext uri="{FF2B5EF4-FFF2-40B4-BE49-F238E27FC236}">
                <a16:creationId xmlns:a16="http://schemas.microsoft.com/office/drawing/2014/main" id="{FEBF1731-92DB-4863-B295-CC7C0D0012B4}"/>
              </a:ext>
            </a:extLst>
          </p:cNvPr>
          <p:cNvSpPr>
            <a:spLocks/>
          </p:cNvSpPr>
          <p:nvPr/>
        </p:nvSpPr>
        <p:spPr>
          <a:xfrm>
            <a:off x="3061061" y="3872732"/>
            <a:ext cx="88365" cy="88365"/>
          </a:xfrm>
          <a:prstGeom prst="ellipse">
            <a:avLst/>
          </a:prstGeom>
          <a:solidFill>
            <a:srgbClr val="1974A6"/>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29" name="Oval 628">
            <a:extLst>
              <a:ext uri="{FF2B5EF4-FFF2-40B4-BE49-F238E27FC236}">
                <a16:creationId xmlns:a16="http://schemas.microsoft.com/office/drawing/2014/main" id="{E6A64077-BE1F-4532-8A2E-A58FF71E4D94}"/>
              </a:ext>
            </a:extLst>
          </p:cNvPr>
          <p:cNvSpPr>
            <a:spLocks/>
          </p:cNvSpPr>
          <p:nvPr/>
        </p:nvSpPr>
        <p:spPr>
          <a:xfrm>
            <a:off x="3063360" y="3900300"/>
            <a:ext cx="88365" cy="88365"/>
          </a:xfrm>
          <a:prstGeom prst="ellipse">
            <a:avLst/>
          </a:prstGeom>
          <a:solidFill>
            <a:srgbClr val="1974A6"/>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30" name="Oval 629">
            <a:extLst>
              <a:ext uri="{FF2B5EF4-FFF2-40B4-BE49-F238E27FC236}">
                <a16:creationId xmlns:a16="http://schemas.microsoft.com/office/drawing/2014/main" id="{CA96F836-097F-421C-8D8C-50EDAD1BA437}"/>
              </a:ext>
            </a:extLst>
          </p:cNvPr>
          <p:cNvSpPr>
            <a:spLocks/>
          </p:cNvSpPr>
          <p:nvPr/>
        </p:nvSpPr>
        <p:spPr>
          <a:xfrm>
            <a:off x="3013823" y="3830443"/>
            <a:ext cx="88365" cy="88365"/>
          </a:xfrm>
          <a:prstGeom prst="ellipse">
            <a:avLst/>
          </a:prstGeom>
          <a:solidFill>
            <a:srgbClr val="0E436C"/>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31" name="Oval 630">
            <a:extLst>
              <a:ext uri="{FF2B5EF4-FFF2-40B4-BE49-F238E27FC236}">
                <a16:creationId xmlns:a16="http://schemas.microsoft.com/office/drawing/2014/main" id="{9056CD08-61EC-4BC3-9A86-1BF6652FD9FB}"/>
              </a:ext>
            </a:extLst>
          </p:cNvPr>
          <p:cNvSpPr>
            <a:spLocks/>
          </p:cNvSpPr>
          <p:nvPr/>
        </p:nvSpPr>
        <p:spPr>
          <a:xfrm>
            <a:off x="2991775" y="3898082"/>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32" name="Oval 631">
            <a:extLst>
              <a:ext uri="{FF2B5EF4-FFF2-40B4-BE49-F238E27FC236}">
                <a16:creationId xmlns:a16="http://schemas.microsoft.com/office/drawing/2014/main" id="{3E1569A0-E352-4902-AFC1-C8DC9014F636}"/>
              </a:ext>
            </a:extLst>
          </p:cNvPr>
          <p:cNvSpPr>
            <a:spLocks/>
          </p:cNvSpPr>
          <p:nvPr/>
        </p:nvSpPr>
        <p:spPr>
          <a:xfrm>
            <a:off x="2944407" y="3925650"/>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33" name="Oval 632">
            <a:extLst>
              <a:ext uri="{FF2B5EF4-FFF2-40B4-BE49-F238E27FC236}">
                <a16:creationId xmlns:a16="http://schemas.microsoft.com/office/drawing/2014/main" id="{6B5C005C-17F6-473C-B645-2A5D73043D1F}"/>
              </a:ext>
            </a:extLst>
          </p:cNvPr>
          <p:cNvSpPr>
            <a:spLocks/>
          </p:cNvSpPr>
          <p:nvPr/>
        </p:nvSpPr>
        <p:spPr>
          <a:xfrm>
            <a:off x="2969795" y="3955355"/>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34" name="Oval 633">
            <a:extLst>
              <a:ext uri="{FF2B5EF4-FFF2-40B4-BE49-F238E27FC236}">
                <a16:creationId xmlns:a16="http://schemas.microsoft.com/office/drawing/2014/main" id="{A1BAD3A3-9B3B-46FC-92A2-86E7B3BF3997}"/>
              </a:ext>
            </a:extLst>
          </p:cNvPr>
          <p:cNvSpPr>
            <a:spLocks/>
          </p:cNvSpPr>
          <p:nvPr/>
        </p:nvSpPr>
        <p:spPr>
          <a:xfrm>
            <a:off x="2935643" y="3896362"/>
            <a:ext cx="88365" cy="88365"/>
          </a:xfrm>
          <a:prstGeom prst="ellipse">
            <a:avLst/>
          </a:prstGeom>
          <a:solidFill>
            <a:srgbClr val="1974A6"/>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35" name="Oval 634">
            <a:extLst>
              <a:ext uri="{FF2B5EF4-FFF2-40B4-BE49-F238E27FC236}">
                <a16:creationId xmlns:a16="http://schemas.microsoft.com/office/drawing/2014/main" id="{B68817C2-4193-4368-BC19-1F38A5FF1F4A}"/>
              </a:ext>
            </a:extLst>
          </p:cNvPr>
          <p:cNvSpPr>
            <a:spLocks/>
          </p:cNvSpPr>
          <p:nvPr/>
        </p:nvSpPr>
        <p:spPr>
          <a:xfrm>
            <a:off x="2953365" y="3823548"/>
            <a:ext cx="88365" cy="88365"/>
          </a:xfrm>
          <a:prstGeom prst="ellipse">
            <a:avLst/>
          </a:prstGeom>
          <a:solidFill>
            <a:srgbClr val="1974A6"/>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36" name="Oval 635">
            <a:extLst>
              <a:ext uri="{FF2B5EF4-FFF2-40B4-BE49-F238E27FC236}">
                <a16:creationId xmlns:a16="http://schemas.microsoft.com/office/drawing/2014/main" id="{DF6345FD-C767-4451-86B4-B3ED0550588B}"/>
              </a:ext>
            </a:extLst>
          </p:cNvPr>
          <p:cNvSpPr>
            <a:spLocks/>
          </p:cNvSpPr>
          <p:nvPr/>
        </p:nvSpPr>
        <p:spPr>
          <a:xfrm>
            <a:off x="3039421" y="3999996"/>
            <a:ext cx="88365" cy="88365"/>
          </a:xfrm>
          <a:prstGeom prst="ellipse">
            <a:avLst/>
          </a:prstGeom>
          <a:solidFill>
            <a:srgbClr val="0E436C"/>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37" name="Oval 636">
            <a:extLst>
              <a:ext uri="{FF2B5EF4-FFF2-40B4-BE49-F238E27FC236}">
                <a16:creationId xmlns:a16="http://schemas.microsoft.com/office/drawing/2014/main" id="{1247086B-C187-4106-B5AC-3609A6A300DE}"/>
              </a:ext>
            </a:extLst>
          </p:cNvPr>
          <p:cNvSpPr>
            <a:spLocks/>
          </p:cNvSpPr>
          <p:nvPr/>
        </p:nvSpPr>
        <p:spPr>
          <a:xfrm>
            <a:off x="3001506" y="4002593"/>
            <a:ext cx="88365" cy="88365"/>
          </a:xfrm>
          <a:prstGeom prst="ellipse">
            <a:avLst/>
          </a:prstGeom>
          <a:solidFill>
            <a:srgbClr val="0E436C"/>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38" name="Oval 637">
            <a:extLst>
              <a:ext uri="{FF2B5EF4-FFF2-40B4-BE49-F238E27FC236}">
                <a16:creationId xmlns:a16="http://schemas.microsoft.com/office/drawing/2014/main" id="{E956D9F0-2497-4815-8B64-A9A4D9E81431}"/>
              </a:ext>
            </a:extLst>
          </p:cNvPr>
          <p:cNvSpPr>
            <a:spLocks/>
          </p:cNvSpPr>
          <p:nvPr/>
        </p:nvSpPr>
        <p:spPr>
          <a:xfrm>
            <a:off x="2982628" y="4038057"/>
            <a:ext cx="88365" cy="88365"/>
          </a:xfrm>
          <a:prstGeom prst="ellipse">
            <a:avLst/>
          </a:prstGeom>
          <a:solidFill>
            <a:srgbClr val="1974A6"/>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39" name="Oval 638">
            <a:extLst>
              <a:ext uri="{FF2B5EF4-FFF2-40B4-BE49-F238E27FC236}">
                <a16:creationId xmlns:a16="http://schemas.microsoft.com/office/drawing/2014/main" id="{043BAC17-F26F-4986-8132-C6D41A5430AA}"/>
              </a:ext>
            </a:extLst>
          </p:cNvPr>
          <p:cNvSpPr>
            <a:spLocks/>
          </p:cNvSpPr>
          <p:nvPr/>
        </p:nvSpPr>
        <p:spPr>
          <a:xfrm>
            <a:off x="3018071" y="4095089"/>
            <a:ext cx="88365" cy="88365"/>
          </a:xfrm>
          <a:prstGeom prst="ellipse">
            <a:avLst/>
          </a:prstGeom>
          <a:solidFill>
            <a:srgbClr val="1974A6"/>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40" name="Oval 639">
            <a:extLst>
              <a:ext uri="{FF2B5EF4-FFF2-40B4-BE49-F238E27FC236}">
                <a16:creationId xmlns:a16="http://schemas.microsoft.com/office/drawing/2014/main" id="{6ECC729F-155F-4FB0-A2F7-CFF7CD1925BD}"/>
              </a:ext>
            </a:extLst>
          </p:cNvPr>
          <p:cNvSpPr>
            <a:spLocks/>
          </p:cNvSpPr>
          <p:nvPr/>
        </p:nvSpPr>
        <p:spPr>
          <a:xfrm>
            <a:off x="2839714" y="3904280"/>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41" name="Oval 640">
            <a:extLst>
              <a:ext uri="{FF2B5EF4-FFF2-40B4-BE49-F238E27FC236}">
                <a16:creationId xmlns:a16="http://schemas.microsoft.com/office/drawing/2014/main" id="{F34E2C2C-8926-4C91-B8E3-6C35EB0E0505}"/>
              </a:ext>
            </a:extLst>
          </p:cNvPr>
          <p:cNvSpPr>
            <a:spLocks/>
          </p:cNvSpPr>
          <p:nvPr/>
        </p:nvSpPr>
        <p:spPr>
          <a:xfrm>
            <a:off x="2796067" y="3900342"/>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42" name="Oval 641">
            <a:extLst>
              <a:ext uri="{FF2B5EF4-FFF2-40B4-BE49-F238E27FC236}">
                <a16:creationId xmlns:a16="http://schemas.microsoft.com/office/drawing/2014/main" id="{D6F8A0BC-6D6E-427D-B764-76038DE7A44C}"/>
              </a:ext>
            </a:extLst>
          </p:cNvPr>
          <p:cNvSpPr>
            <a:spLocks/>
          </p:cNvSpPr>
          <p:nvPr/>
        </p:nvSpPr>
        <p:spPr>
          <a:xfrm>
            <a:off x="2794098" y="3927268"/>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43" name="Oval 642">
            <a:extLst>
              <a:ext uri="{FF2B5EF4-FFF2-40B4-BE49-F238E27FC236}">
                <a16:creationId xmlns:a16="http://schemas.microsoft.com/office/drawing/2014/main" id="{0983AEC3-9A35-474D-BCA7-EE03B0486C43}"/>
              </a:ext>
            </a:extLst>
          </p:cNvPr>
          <p:cNvSpPr>
            <a:spLocks/>
          </p:cNvSpPr>
          <p:nvPr/>
        </p:nvSpPr>
        <p:spPr>
          <a:xfrm>
            <a:off x="2774212" y="3921361"/>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44" name="Oval 643">
            <a:extLst>
              <a:ext uri="{FF2B5EF4-FFF2-40B4-BE49-F238E27FC236}">
                <a16:creationId xmlns:a16="http://schemas.microsoft.com/office/drawing/2014/main" id="{C14D3B85-EE29-42A1-BD33-6A84E6F65AD1}"/>
              </a:ext>
            </a:extLst>
          </p:cNvPr>
          <p:cNvSpPr>
            <a:spLocks/>
          </p:cNvSpPr>
          <p:nvPr/>
        </p:nvSpPr>
        <p:spPr>
          <a:xfrm>
            <a:off x="2773453" y="4161341"/>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45" name="Oval 644">
            <a:extLst>
              <a:ext uri="{FF2B5EF4-FFF2-40B4-BE49-F238E27FC236}">
                <a16:creationId xmlns:a16="http://schemas.microsoft.com/office/drawing/2014/main" id="{DA7C2D6B-A802-42AE-9927-83A83271BD82}"/>
              </a:ext>
            </a:extLst>
          </p:cNvPr>
          <p:cNvSpPr>
            <a:spLocks/>
          </p:cNvSpPr>
          <p:nvPr/>
        </p:nvSpPr>
        <p:spPr>
          <a:xfrm>
            <a:off x="2867604" y="4106416"/>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46" name="Oval 645">
            <a:extLst>
              <a:ext uri="{FF2B5EF4-FFF2-40B4-BE49-F238E27FC236}">
                <a16:creationId xmlns:a16="http://schemas.microsoft.com/office/drawing/2014/main" id="{D881C2D0-AF66-4DEC-94EE-A539E81D51E5}"/>
              </a:ext>
            </a:extLst>
          </p:cNvPr>
          <p:cNvSpPr>
            <a:spLocks/>
          </p:cNvSpPr>
          <p:nvPr/>
        </p:nvSpPr>
        <p:spPr>
          <a:xfrm>
            <a:off x="2552029" y="4011745"/>
            <a:ext cx="88365" cy="88365"/>
          </a:xfrm>
          <a:prstGeom prst="ellipse">
            <a:avLst/>
          </a:prstGeom>
          <a:solidFill>
            <a:srgbClr val="0E436C"/>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47" name="Oval 646">
            <a:extLst>
              <a:ext uri="{FF2B5EF4-FFF2-40B4-BE49-F238E27FC236}">
                <a16:creationId xmlns:a16="http://schemas.microsoft.com/office/drawing/2014/main" id="{004CDB27-E131-412A-B073-9262260E4549}"/>
              </a:ext>
            </a:extLst>
          </p:cNvPr>
          <p:cNvSpPr>
            <a:spLocks/>
          </p:cNvSpPr>
          <p:nvPr/>
        </p:nvSpPr>
        <p:spPr>
          <a:xfrm>
            <a:off x="2601211" y="4031382"/>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48" name="Oval 647">
            <a:extLst>
              <a:ext uri="{FF2B5EF4-FFF2-40B4-BE49-F238E27FC236}">
                <a16:creationId xmlns:a16="http://schemas.microsoft.com/office/drawing/2014/main" id="{6FE8FA81-CBBC-4043-BD5C-B9B1C6112548}"/>
              </a:ext>
            </a:extLst>
          </p:cNvPr>
          <p:cNvSpPr>
            <a:spLocks/>
          </p:cNvSpPr>
          <p:nvPr/>
        </p:nvSpPr>
        <p:spPr>
          <a:xfrm>
            <a:off x="2508736" y="3990031"/>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49" name="Oval 648">
            <a:extLst>
              <a:ext uri="{FF2B5EF4-FFF2-40B4-BE49-F238E27FC236}">
                <a16:creationId xmlns:a16="http://schemas.microsoft.com/office/drawing/2014/main" id="{4764983A-9134-41E4-A8C6-6939E7CE0850}"/>
              </a:ext>
            </a:extLst>
          </p:cNvPr>
          <p:cNvSpPr>
            <a:spLocks/>
          </p:cNvSpPr>
          <p:nvPr/>
        </p:nvSpPr>
        <p:spPr>
          <a:xfrm>
            <a:off x="2589468" y="3719440"/>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50" name="Oval 649">
            <a:extLst>
              <a:ext uri="{FF2B5EF4-FFF2-40B4-BE49-F238E27FC236}">
                <a16:creationId xmlns:a16="http://schemas.microsoft.com/office/drawing/2014/main" id="{FFCBFCAB-AD1D-4CD2-907D-977463FE4F9F}"/>
              </a:ext>
            </a:extLst>
          </p:cNvPr>
          <p:cNvSpPr>
            <a:spLocks/>
          </p:cNvSpPr>
          <p:nvPr/>
        </p:nvSpPr>
        <p:spPr>
          <a:xfrm>
            <a:off x="2538273" y="3788266"/>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51" name="Oval 650">
            <a:extLst>
              <a:ext uri="{FF2B5EF4-FFF2-40B4-BE49-F238E27FC236}">
                <a16:creationId xmlns:a16="http://schemas.microsoft.com/office/drawing/2014/main" id="{10C59B88-2409-4FFD-88DF-E5E5EF7D76D2}"/>
              </a:ext>
            </a:extLst>
          </p:cNvPr>
          <p:cNvSpPr>
            <a:spLocks/>
          </p:cNvSpPr>
          <p:nvPr/>
        </p:nvSpPr>
        <p:spPr>
          <a:xfrm>
            <a:off x="2565839" y="3801888"/>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52" name="Oval 651">
            <a:extLst>
              <a:ext uri="{FF2B5EF4-FFF2-40B4-BE49-F238E27FC236}">
                <a16:creationId xmlns:a16="http://schemas.microsoft.com/office/drawing/2014/main" id="{076559D7-C450-4438-BB75-5EB372227A30}"/>
              </a:ext>
            </a:extLst>
          </p:cNvPr>
          <p:cNvSpPr>
            <a:spLocks/>
          </p:cNvSpPr>
          <p:nvPr/>
        </p:nvSpPr>
        <p:spPr>
          <a:xfrm>
            <a:off x="2544734" y="3839446"/>
            <a:ext cx="88365" cy="88365"/>
          </a:xfrm>
          <a:prstGeom prst="ellipse">
            <a:avLst/>
          </a:prstGeom>
          <a:solidFill>
            <a:srgbClr val="1974A6"/>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53" name="Oval 652">
            <a:extLst>
              <a:ext uri="{FF2B5EF4-FFF2-40B4-BE49-F238E27FC236}">
                <a16:creationId xmlns:a16="http://schemas.microsoft.com/office/drawing/2014/main" id="{959F54CC-F207-43F5-871C-C851A9971FAD}"/>
              </a:ext>
            </a:extLst>
          </p:cNvPr>
          <p:cNvSpPr>
            <a:spLocks/>
          </p:cNvSpPr>
          <p:nvPr/>
        </p:nvSpPr>
        <p:spPr>
          <a:xfrm>
            <a:off x="2508735" y="3855546"/>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54" name="Oval 653">
            <a:extLst>
              <a:ext uri="{FF2B5EF4-FFF2-40B4-BE49-F238E27FC236}">
                <a16:creationId xmlns:a16="http://schemas.microsoft.com/office/drawing/2014/main" id="{3A276E75-A083-4EC2-A657-4DB914A6AC09}"/>
              </a:ext>
            </a:extLst>
          </p:cNvPr>
          <p:cNvSpPr>
            <a:spLocks/>
          </p:cNvSpPr>
          <p:nvPr/>
        </p:nvSpPr>
        <p:spPr>
          <a:xfrm>
            <a:off x="3068002" y="4828517"/>
            <a:ext cx="88365" cy="88365"/>
          </a:xfrm>
          <a:prstGeom prst="ellipse">
            <a:avLst/>
          </a:prstGeom>
          <a:solidFill>
            <a:srgbClr val="0E436C"/>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55" name="Oval 654">
            <a:extLst>
              <a:ext uri="{FF2B5EF4-FFF2-40B4-BE49-F238E27FC236}">
                <a16:creationId xmlns:a16="http://schemas.microsoft.com/office/drawing/2014/main" id="{B0F5817A-DAED-441E-AD29-C715E83D091B}"/>
              </a:ext>
            </a:extLst>
          </p:cNvPr>
          <p:cNvSpPr>
            <a:spLocks/>
          </p:cNvSpPr>
          <p:nvPr/>
        </p:nvSpPr>
        <p:spPr>
          <a:xfrm>
            <a:off x="3133636" y="4799620"/>
            <a:ext cx="88365" cy="88365"/>
          </a:xfrm>
          <a:prstGeom prst="ellipse">
            <a:avLst/>
          </a:prstGeom>
          <a:solidFill>
            <a:srgbClr val="1974A6"/>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56" name="Oval 655">
            <a:extLst>
              <a:ext uri="{FF2B5EF4-FFF2-40B4-BE49-F238E27FC236}">
                <a16:creationId xmlns:a16="http://schemas.microsoft.com/office/drawing/2014/main" id="{CDEBC57F-50C0-4192-816E-9A1D9E2034AD}"/>
              </a:ext>
            </a:extLst>
          </p:cNvPr>
          <p:cNvSpPr>
            <a:spLocks/>
          </p:cNvSpPr>
          <p:nvPr/>
        </p:nvSpPr>
        <p:spPr>
          <a:xfrm>
            <a:off x="3040279" y="4793712"/>
            <a:ext cx="88365" cy="88365"/>
          </a:xfrm>
          <a:prstGeom prst="ellipse">
            <a:avLst/>
          </a:prstGeom>
          <a:solidFill>
            <a:srgbClr val="1974A6"/>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57" name="Oval 656">
            <a:extLst>
              <a:ext uri="{FF2B5EF4-FFF2-40B4-BE49-F238E27FC236}">
                <a16:creationId xmlns:a16="http://schemas.microsoft.com/office/drawing/2014/main" id="{2ECE9A8B-AE3D-4444-B6FF-FEE2CF97C8AA}"/>
              </a:ext>
            </a:extLst>
          </p:cNvPr>
          <p:cNvSpPr>
            <a:spLocks/>
          </p:cNvSpPr>
          <p:nvPr/>
        </p:nvSpPr>
        <p:spPr>
          <a:xfrm>
            <a:off x="3017085" y="4863961"/>
            <a:ext cx="88365" cy="88365"/>
          </a:xfrm>
          <a:prstGeom prst="ellipse">
            <a:avLst/>
          </a:prstGeom>
          <a:solidFill>
            <a:srgbClr val="0E436C"/>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58" name="Oval 657">
            <a:extLst>
              <a:ext uri="{FF2B5EF4-FFF2-40B4-BE49-F238E27FC236}">
                <a16:creationId xmlns:a16="http://schemas.microsoft.com/office/drawing/2014/main" id="{01E13B17-31EA-4264-87E9-3AAC0328FE6B}"/>
              </a:ext>
            </a:extLst>
          </p:cNvPr>
          <p:cNvSpPr>
            <a:spLocks/>
          </p:cNvSpPr>
          <p:nvPr/>
        </p:nvSpPr>
        <p:spPr>
          <a:xfrm>
            <a:off x="3001332" y="4820843"/>
            <a:ext cx="88365" cy="88365"/>
          </a:xfrm>
          <a:prstGeom prst="ellipse">
            <a:avLst/>
          </a:prstGeom>
          <a:solidFill>
            <a:srgbClr val="0E436C"/>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59" name="Oval 658">
            <a:extLst>
              <a:ext uri="{FF2B5EF4-FFF2-40B4-BE49-F238E27FC236}">
                <a16:creationId xmlns:a16="http://schemas.microsoft.com/office/drawing/2014/main" id="{ACEB2BC3-6EA8-48A3-BE29-E3EC98FAFF26}"/>
              </a:ext>
            </a:extLst>
          </p:cNvPr>
          <p:cNvSpPr>
            <a:spLocks/>
          </p:cNvSpPr>
          <p:nvPr/>
        </p:nvSpPr>
        <p:spPr>
          <a:xfrm>
            <a:off x="2993404" y="4891880"/>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60" name="Oval 659">
            <a:extLst>
              <a:ext uri="{FF2B5EF4-FFF2-40B4-BE49-F238E27FC236}">
                <a16:creationId xmlns:a16="http://schemas.microsoft.com/office/drawing/2014/main" id="{28638C32-7C8E-4605-A701-C00A45435AD3}"/>
              </a:ext>
            </a:extLst>
          </p:cNvPr>
          <p:cNvSpPr>
            <a:spLocks/>
          </p:cNvSpPr>
          <p:nvPr/>
        </p:nvSpPr>
        <p:spPr>
          <a:xfrm>
            <a:off x="2927126" y="4779643"/>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61" name="Oval 660">
            <a:extLst>
              <a:ext uri="{FF2B5EF4-FFF2-40B4-BE49-F238E27FC236}">
                <a16:creationId xmlns:a16="http://schemas.microsoft.com/office/drawing/2014/main" id="{13171270-CAD0-41D6-BE5A-68016B3910F3}"/>
              </a:ext>
            </a:extLst>
          </p:cNvPr>
          <p:cNvSpPr>
            <a:spLocks/>
          </p:cNvSpPr>
          <p:nvPr/>
        </p:nvSpPr>
        <p:spPr>
          <a:xfrm>
            <a:off x="2789221" y="4701166"/>
            <a:ext cx="88365" cy="88365"/>
          </a:xfrm>
          <a:prstGeom prst="ellipse">
            <a:avLst/>
          </a:prstGeom>
          <a:solidFill>
            <a:srgbClr val="1974A6"/>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62" name="Oval 661">
            <a:extLst>
              <a:ext uri="{FF2B5EF4-FFF2-40B4-BE49-F238E27FC236}">
                <a16:creationId xmlns:a16="http://schemas.microsoft.com/office/drawing/2014/main" id="{61E1BCC6-D582-4B6D-A5CE-BA83238C773D}"/>
              </a:ext>
            </a:extLst>
          </p:cNvPr>
          <p:cNvSpPr>
            <a:spLocks/>
          </p:cNvSpPr>
          <p:nvPr/>
        </p:nvSpPr>
        <p:spPr>
          <a:xfrm>
            <a:off x="2702427" y="4758074"/>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63" name="Oval 662">
            <a:extLst>
              <a:ext uri="{FF2B5EF4-FFF2-40B4-BE49-F238E27FC236}">
                <a16:creationId xmlns:a16="http://schemas.microsoft.com/office/drawing/2014/main" id="{256F1512-0A68-473C-8A2F-D59AFAE4DBD1}"/>
              </a:ext>
            </a:extLst>
          </p:cNvPr>
          <p:cNvSpPr>
            <a:spLocks/>
          </p:cNvSpPr>
          <p:nvPr/>
        </p:nvSpPr>
        <p:spPr>
          <a:xfrm>
            <a:off x="2729439" y="4757832"/>
            <a:ext cx="88365" cy="88365"/>
          </a:xfrm>
          <a:prstGeom prst="ellipse">
            <a:avLst/>
          </a:prstGeom>
          <a:solidFill>
            <a:srgbClr val="0E436C"/>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64" name="Oval 663">
            <a:extLst>
              <a:ext uri="{FF2B5EF4-FFF2-40B4-BE49-F238E27FC236}">
                <a16:creationId xmlns:a16="http://schemas.microsoft.com/office/drawing/2014/main" id="{3CE3DCE9-81DA-44DD-99F0-3C57D7330E2F}"/>
              </a:ext>
            </a:extLst>
          </p:cNvPr>
          <p:cNvSpPr>
            <a:spLocks/>
          </p:cNvSpPr>
          <p:nvPr/>
        </p:nvSpPr>
        <p:spPr>
          <a:xfrm>
            <a:off x="2381179" y="4740345"/>
            <a:ext cx="88365" cy="88365"/>
          </a:xfrm>
          <a:prstGeom prst="ellipse">
            <a:avLst/>
          </a:prstGeom>
          <a:solidFill>
            <a:srgbClr val="1974A6"/>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65" name="Oval 664">
            <a:extLst>
              <a:ext uri="{FF2B5EF4-FFF2-40B4-BE49-F238E27FC236}">
                <a16:creationId xmlns:a16="http://schemas.microsoft.com/office/drawing/2014/main" id="{30535249-9F68-4E7C-913E-4D8774883AF1}"/>
              </a:ext>
            </a:extLst>
          </p:cNvPr>
          <p:cNvSpPr>
            <a:spLocks/>
          </p:cNvSpPr>
          <p:nvPr/>
        </p:nvSpPr>
        <p:spPr>
          <a:xfrm>
            <a:off x="2447901" y="4632685"/>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66" name="Oval 665">
            <a:extLst>
              <a:ext uri="{FF2B5EF4-FFF2-40B4-BE49-F238E27FC236}">
                <a16:creationId xmlns:a16="http://schemas.microsoft.com/office/drawing/2014/main" id="{A13EDEB5-B03A-414A-BF5E-D4DF18C1082C}"/>
              </a:ext>
            </a:extLst>
          </p:cNvPr>
          <p:cNvSpPr>
            <a:spLocks/>
          </p:cNvSpPr>
          <p:nvPr/>
        </p:nvSpPr>
        <p:spPr>
          <a:xfrm>
            <a:off x="2430959" y="4801411"/>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67" name="Oval 666">
            <a:extLst>
              <a:ext uri="{FF2B5EF4-FFF2-40B4-BE49-F238E27FC236}">
                <a16:creationId xmlns:a16="http://schemas.microsoft.com/office/drawing/2014/main" id="{76B5B128-8B9B-41F6-8A8B-2DA2632B9B0C}"/>
              </a:ext>
            </a:extLst>
          </p:cNvPr>
          <p:cNvSpPr>
            <a:spLocks/>
          </p:cNvSpPr>
          <p:nvPr/>
        </p:nvSpPr>
        <p:spPr>
          <a:xfrm>
            <a:off x="2280445" y="4813226"/>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68" name="Oval 667">
            <a:extLst>
              <a:ext uri="{FF2B5EF4-FFF2-40B4-BE49-F238E27FC236}">
                <a16:creationId xmlns:a16="http://schemas.microsoft.com/office/drawing/2014/main" id="{230ED69D-E7D5-484C-A0BC-7C0B0D0E39E5}"/>
              </a:ext>
            </a:extLst>
          </p:cNvPr>
          <p:cNvSpPr>
            <a:spLocks/>
          </p:cNvSpPr>
          <p:nvPr/>
        </p:nvSpPr>
        <p:spPr>
          <a:xfrm>
            <a:off x="2324822" y="4852090"/>
            <a:ext cx="88365" cy="88365"/>
          </a:xfrm>
          <a:prstGeom prst="ellipse">
            <a:avLst/>
          </a:prstGeom>
          <a:solidFill>
            <a:srgbClr val="1974A6"/>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69" name="Oval 668">
            <a:extLst>
              <a:ext uri="{FF2B5EF4-FFF2-40B4-BE49-F238E27FC236}">
                <a16:creationId xmlns:a16="http://schemas.microsoft.com/office/drawing/2014/main" id="{A6017523-74A1-4EEC-8C1A-0A748365FE63}"/>
              </a:ext>
            </a:extLst>
          </p:cNvPr>
          <p:cNvSpPr>
            <a:spLocks/>
          </p:cNvSpPr>
          <p:nvPr/>
        </p:nvSpPr>
        <p:spPr>
          <a:xfrm>
            <a:off x="2118596" y="4889502"/>
            <a:ext cx="88365" cy="88365"/>
          </a:xfrm>
          <a:prstGeom prst="ellipse">
            <a:avLst/>
          </a:prstGeom>
          <a:solidFill>
            <a:srgbClr val="1974A6"/>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70" name="Oval 669">
            <a:extLst>
              <a:ext uri="{FF2B5EF4-FFF2-40B4-BE49-F238E27FC236}">
                <a16:creationId xmlns:a16="http://schemas.microsoft.com/office/drawing/2014/main" id="{2CD22F2D-3173-4D56-8A3A-E7D7BFC55D14}"/>
              </a:ext>
            </a:extLst>
          </p:cNvPr>
          <p:cNvSpPr>
            <a:spLocks/>
          </p:cNvSpPr>
          <p:nvPr/>
        </p:nvSpPr>
        <p:spPr>
          <a:xfrm>
            <a:off x="2113827" y="3861705"/>
            <a:ext cx="88365" cy="88365"/>
          </a:xfrm>
          <a:prstGeom prst="ellipse">
            <a:avLst/>
          </a:prstGeom>
          <a:solidFill>
            <a:srgbClr val="1974A6"/>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71" name="Oval 670">
            <a:extLst>
              <a:ext uri="{FF2B5EF4-FFF2-40B4-BE49-F238E27FC236}">
                <a16:creationId xmlns:a16="http://schemas.microsoft.com/office/drawing/2014/main" id="{00C36168-D5FA-44B0-B742-1C25F8F3C9E4}"/>
              </a:ext>
            </a:extLst>
          </p:cNvPr>
          <p:cNvSpPr>
            <a:spLocks/>
          </p:cNvSpPr>
          <p:nvPr/>
        </p:nvSpPr>
        <p:spPr>
          <a:xfrm>
            <a:off x="2153371" y="3853829"/>
            <a:ext cx="88365" cy="88365"/>
          </a:xfrm>
          <a:prstGeom prst="ellipse">
            <a:avLst/>
          </a:prstGeom>
          <a:solidFill>
            <a:srgbClr val="1974A6"/>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72" name="Oval 671">
            <a:extLst>
              <a:ext uri="{FF2B5EF4-FFF2-40B4-BE49-F238E27FC236}">
                <a16:creationId xmlns:a16="http://schemas.microsoft.com/office/drawing/2014/main" id="{AD821C81-145C-42D5-8278-2138CBB3493F}"/>
              </a:ext>
            </a:extLst>
          </p:cNvPr>
          <p:cNvSpPr>
            <a:spLocks/>
          </p:cNvSpPr>
          <p:nvPr/>
        </p:nvSpPr>
        <p:spPr>
          <a:xfrm>
            <a:off x="2220903" y="3871600"/>
            <a:ext cx="88365" cy="88365"/>
          </a:xfrm>
          <a:prstGeom prst="ellipse">
            <a:avLst/>
          </a:prstGeom>
          <a:solidFill>
            <a:srgbClr val="1974A6"/>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73" name="Oval 672">
            <a:extLst>
              <a:ext uri="{FF2B5EF4-FFF2-40B4-BE49-F238E27FC236}">
                <a16:creationId xmlns:a16="http://schemas.microsoft.com/office/drawing/2014/main" id="{901A8347-B1F3-4882-B02A-C45E935C54F5}"/>
              </a:ext>
            </a:extLst>
          </p:cNvPr>
          <p:cNvSpPr>
            <a:spLocks/>
          </p:cNvSpPr>
          <p:nvPr/>
        </p:nvSpPr>
        <p:spPr>
          <a:xfrm>
            <a:off x="2201117" y="3879252"/>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74" name="Oval 673">
            <a:extLst>
              <a:ext uri="{FF2B5EF4-FFF2-40B4-BE49-F238E27FC236}">
                <a16:creationId xmlns:a16="http://schemas.microsoft.com/office/drawing/2014/main" id="{C2D8CE59-B25B-49EF-9C34-F47883F149B7}"/>
              </a:ext>
            </a:extLst>
          </p:cNvPr>
          <p:cNvSpPr>
            <a:spLocks/>
          </p:cNvSpPr>
          <p:nvPr/>
        </p:nvSpPr>
        <p:spPr>
          <a:xfrm>
            <a:off x="2259066" y="3927472"/>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75" name="Oval 674">
            <a:extLst>
              <a:ext uri="{FF2B5EF4-FFF2-40B4-BE49-F238E27FC236}">
                <a16:creationId xmlns:a16="http://schemas.microsoft.com/office/drawing/2014/main" id="{AF8FF025-BEAB-447C-8C1F-F9A01CF66331}"/>
              </a:ext>
            </a:extLst>
          </p:cNvPr>
          <p:cNvSpPr>
            <a:spLocks/>
          </p:cNvSpPr>
          <p:nvPr/>
        </p:nvSpPr>
        <p:spPr>
          <a:xfrm>
            <a:off x="2103357" y="3911515"/>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76" name="Oval 675">
            <a:extLst>
              <a:ext uri="{FF2B5EF4-FFF2-40B4-BE49-F238E27FC236}">
                <a16:creationId xmlns:a16="http://schemas.microsoft.com/office/drawing/2014/main" id="{C8FBFC3A-87C4-4A0D-87C5-A3C092129F2D}"/>
              </a:ext>
            </a:extLst>
          </p:cNvPr>
          <p:cNvSpPr>
            <a:spLocks/>
          </p:cNvSpPr>
          <p:nvPr/>
        </p:nvSpPr>
        <p:spPr>
          <a:xfrm>
            <a:off x="2070670" y="3968759"/>
            <a:ext cx="88365" cy="88365"/>
          </a:xfrm>
          <a:prstGeom prst="ellipse">
            <a:avLst/>
          </a:prstGeom>
          <a:solidFill>
            <a:srgbClr val="1974A6"/>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77" name="Oval 676">
            <a:extLst>
              <a:ext uri="{FF2B5EF4-FFF2-40B4-BE49-F238E27FC236}">
                <a16:creationId xmlns:a16="http://schemas.microsoft.com/office/drawing/2014/main" id="{B58E4669-4283-4032-BD47-2E8BFD103B4E}"/>
              </a:ext>
            </a:extLst>
          </p:cNvPr>
          <p:cNvSpPr>
            <a:spLocks/>
          </p:cNvSpPr>
          <p:nvPr/>
        </p:nvSpPr>
        <p:spPr>
          <a:xfrm>
            <a:off x="2169560" y="3978604"/>
            <a:ext cx="88365" cy="88365"/>
          </a:xfrm>
          <a:prstGeom prst="ellipse">
            <a:avLst/>
          </a:prstGeom>
          <a:solidFill>
            <a:srgbClr val="1974A6"/>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78" name="Oval 677">
            <a:extLst>
              <a:ext uri="{FF2B5EF4-FFF2-40B4-BE49-F238E27FC236}">
                <a16:creationId xmlns:a16="http://schemas.microsoft.com/office/drawing/2014/main" id="{C6337317-BEAD-43AD-BE7B-6C393F1F7CFE}"/>
              </a:ext>
            </a:extLst>
          </p:cNvPr>
          <p:cNvSpPr>
            <a:spLocks/>
          </p:cNvSpPr>
          <p:nvPr/>
        </p:nvSpPr>
        <p:spPr>
          <a:xfrm>
            <a:off x="2140578" y="4002298"/>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79" name="Oval 678">
            <a:extLst>
              <a:ext uri="{FF2B5EF4-FFF2-40B4-BE49-F238E27FC236}">
                <a16:creationId xmlns:a16="http://schemas.microsoft.com/office/drawing/2014/main" id="{09A07A50-C589-42F9-91F1-EA47F8589936}"/>
              </a:ext>
            </a:extLst>
          </p:cNvPr>
          <p:cNvSpPr>
            <a:spLocks/>
          </p:cNvSpPr>
          <p:nvPr/>
        </p:nvSpPr>
        <p:spPr>
          <a:xfrm>
            <a:off x="2199740" y="4031834"/>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80" name="Oval 679">
            <a:extLst>
              <a:ext uri="{FF2B5EF4-FFF2-40B4-BE49-F238E27FC236}">
                <a16:creationId xmlns:a16="http://schemas.microsoft.com/office/drawing/2014/main" id="{CAE9399A-002B-461C-99E0-B45E7114306F}"/>
              </a:ext>
            </a:extLst>
          </p:cNvPr>
          <p:cNvSpPr>
            <a:spLocks/>
          </p:cNvSpPr>
          <p:nvPr/>
        </p:nvSpPr>
        <p:spPr>
          <a:xfrm>
            <a:off x="2237162" y="4004267"/>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81" name="Oval 680">
            <a:extLst>
              <a:ext uri="{FF2B5EF4-FFF2-40B4-BE49-F238E27FC236}">
                <a16:creationId xmlns:a16="http://schemas.microsoft.com/office/drawing/2014/main" id="{E5BF2023-31AE-4D19-A4DA-9FA97BA574EF}"/>
              </a:ext>
            </a:extLst>
          </p:cNvPr>
          <p:cNvSpPr>
            <a:spLocks/>
          </p:cNvSpPr>
          <p:nvPr/>
        </p:nvSpPr>
        <p:spPr>
          <a:xfrm>
            <a:off x="2292442" y="4023959"/>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82" name="Oval 681">
            <a:extLst>
              <a:ext uri="{FF2B5EF4-FFF2-40B4-BE49-F238E27FC236}">
                <a16:creationId xmlns:a16="http://schemas.microsoft.com/office/drawing/2014/main" id="{455962C4-DF91-4584-83E0-052B41141DD1}"/>
              </a:ext>
            </a:extLst>
          </p:cNvPr>
          <p:cNvSpPr>
            <a:spLocks/>
          </p:cNvSpPr>
          <p:nvPr/>
        </p:nvSpPr>
        <p:spPr>
          <a:xfrm>
            <a:off x="2292442" y="4051334"/>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83" name="Oval 682">
            <a:extLst>
              <a:ext uri="{FF2B5EF4-FFF2-40B4-BE49-F238E27FC236}">
                <a16:creationId xmlns:a16="http://schemas.microsoft.com/office/drawing/2014/main" id="{1E3DCDE3-E702-458F-8BFA-39A9CAF3F176}"/>
              </a:ext>
            </a:extLst>
          </p:cNvPr>
          <p:cNvSpPr>
            <a:spLocks/>
          </p:cNvSpPr>
          <p:nvPr/>
        </p:nvSpPr>
        <p:spPr>
          <a:xfrm>
            <a:off x="2392246" y="4039520"/>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84" name="Oval 683">
            <a:extLst>
              <a:ext uri="{FF2B5EF4-FFF2-40B4-BE49-F238E27FC236}">
                <a16:creationId xmlns:a16="http://schemas.microsoft.com/office/drawing/2014/main" id="{708CA30A-8A78-46F0-BEF9-816413AB7073}"/>
              </a:ext>
            </a:extLst>
          </p:cNvPr>
          <p:cNvSpPr>
            <a:spLocks/>
          </p:cNvSpPr>
          <p:nvPr/>
        </p:nvSpPr>
        <p:spPr>
          <a:xfrm>
            <a:off x="2392246" y="4017953"/>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85" name="Oval 684">
            <a:extLst>
              <a:ext uri="{FF2B5EF4-FFF2-40B4-BE49-F238E27FC236}">
                <a16:creationId xmlns:a16="http://schemas.microsoft.com/office/drawing/2014/main" id="{FED8ACDB-93D7-4126-A023-AD59D77065E3}"/>
              </a:ext>
            </a:extLst>
          </p:cNvPr>
          <p:cNvSpPr>
            <a:spLocks/>
          </p:cNvSpPr>
          <p:nvPr/>
        </p:nvSpPr>
        <p:spPr>
          <a:xfrm>
            <a:off x="2311498" y="3913458"/>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86" name="Oval 685">
            <a:extLst>
              <a:ext uri="{FF2B5EF4-FFF2-40B4-BE49-F238E27FC236}">
                <a16:creationId xmlns:a16="http://schemas.microsoft.com/office/drawing/2014/main" id="{2423949D-AE11-480E-953E-717923800FE7}"/>
              </a:ext>
            </a:extLst>
          </p:cNvPr>
          <p:cNvSpPr>
            <a:spLocks/>
          </p:cNvSpPr>
          <p:nvPr/>
        </p:nvSpPr>
        <p:spPr>
          <a:xfrm>
            <a:off x="2346899" y="3921334"/>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87" name="Oval 686">
            <a:extLst>
              <a:ext uri="{FF2B5EF4-FFF2-40B4-BE49-F238E27FC236}">
                <a16:creationId xmlns:a16="http://schemas.microsoft.com/office/drawing/2014/main" id="{77463659-BDBA-4B68-BC1D-C36CE0104DF7}"/>
              </a:ext>
            </a:extLst>
          </p:cNvPr>
          <p:cNvSpPr>
            <a:spLocks/>
          </p:cNvSpPr>
          <p:nvPr/>
        </p:nvSpPr>
        <p:spPr>
          <a:xfrm>
            <a:off x="2388250" y="3903622"/>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88" name="Oval 687">
            <a:extLst>
              <a:ext uri="{FF2B5EF4-FFF2-40B4-BE49-F238E27FC236}">
                <a16:creationId xmlns:a16="http://schemas.microsoft.com/office/drawing/2014/main" id="{AD0F6BF3-9794-4138-97CD-ADD1973CA510}"/>
              </a:ext>
            </a:extLst>
          </p:cNvPr>
          <p:cNvSpPr>
            <a:spLocks/>
          </p:cNvSpPr>
          <p:nvPr/>
        </p:nvSpPr>
        <p:spPr>
          <a:xfrm>
            <a:off x="2388250" y="3936686"/>
            <a:ext cx="88365" cy="88365"/>
          </a:xfrm>
          <a:prstGeom prst="ellipse">
            <a:avLst/>
          </a:prstGeom>
          <a:solidFill>
            <a:srgbClr val="1974A6"/>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89" name="Oval 688">
            <a:extLst>
              <a:ext uri="{FF2B5EF4-FFF2-40B4-BE49-F238E27FC236}">
                <a16:creationId xmlns:a16="http://schemas.microsoft.com/office/drawing/2014/main" id="{F1A93DC1-26F2-4E2E-B55B-EDDA5A06D7B5}"/>
              </a:ext>
            </a:extLst>
          </p:cNvPr>
          <p:cNvSpPr>
            <a:spLocks/>
          </p:cNvSpPr>
          <p:nvPr/>
        </p:nvSpPr>
        <p:spPr>
          <a:xfrm>
            <a:off x="2348822" y="3964254"/>
            <a:ext cx="88365" cy="88365"/>
          </a:xfrm>
          <a:prstGeom prst="ellipse">
            <a:avLst/>
          </a:prstGeom>
          <a:solidFill>
            <a:srgbClr val="0E436C"/>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90" name="Oval 689">
            <a:extLst>
              <a:ext uri="{FF2B5EF4-FFF2-40B4-BE49-F238E27FC236}">
                <a16:creationId xmlns:a16="http://schemas.microsoft.com/office/drawing/2014/main" id="{0059B244-9BF7-4A24-8EB5-BA82129EAE6A}"/>
              </a:ext>
            </a:extLst>
          </p:cNvPr>
          <p:cNvSpPr>
            <a:spLocks/>
          </p:cNvSpPr>
          <p:nvPr/>
        </p:nvSpPr>
        <p:spPr>
          <a:xfrm>
            <a:off x="2437615" y="4065211"/>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91" name="Oval 690">
            <a:extLst>
              <a:ext uri="{FF2B5EF4-FFF2-40B4-BE49-F238E27FC236}">
                <a16:creationId xmlns:a16="http://schemas.microsoft.com/office/drawing/2014/main" id="{2219323D-FD11-41FF-880E-36CF4EEBC480}"/>
              </a:ext>
            </a:extLst>
          </p:cNvPr>
          <p:cNvSpPr>
            <a:spLocks/>
          </p:cNvSpPr>
          <p:nvPr/>
        </p:nvSpPr>
        <p:spPr>
          <a:xfrm>
            <a:off x="2498890" y="4094746"/>
            <a:ext cx="88365" cy="88365"/>
          </a:xfrm>
          <a:prstGeom prst="ellipse">
            <a:avLst/>
          </a:prstGeom>
          <a:solidFill>
            <a:srgbClr val="1974A6"/>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92" name="Oval 691">
            <a:extLst>
              <a:ext uri="{FF2B5EF4-FFF2-40B4-BE49-F238E27FC236}">
                <a16:creationId xmlns:a16="http://schemas.microsoft.com/office/drawing/2014/main" id="{FFCA491B-1A07-4564-8606-34377AF32529}"/>
              </a:ext>
            </a:extLst>
          </p:cNvPr>
          <p:cNvSpPr>
            <a:spLocks/>
          </p:cNvSpPr>
          <p:nvPr/>
        </p:nvSpPr>
        <p:spPr>
          <a:xfrm>
            <a:off x="2397530" y="4120344"/>
            <a:ext cx="88365" cy="88365"/>
          </a:xfrm>
          <a:prstGeom prst="ellipse">
            <a:avLst/>
          </a:prstGeom>
          <a:solidFill>
            <a:srgbClr val="1974A6"/>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93" name="Oval 692">
            <a:extLst>
              <a:ext uri="{FF2B5EF4-FFF2-40B4-BE49-F238E27FC236}">
                <a16:creationId xmlns:a16="http://schemas.microsoft.com/office/drawing/2014/main" id="{11986A72-AE33-4AE5-9EF8-39D2F8FB7241}"/>
              </a:ext>
            </a:extLst>
          </p:cNvPr>
          <p:cNvSpPr>
            <a:spLocks/>
          </p:cNvSpPr>
          <p:nvPr/>
        </p:nvSpPr>
        <p:spPr>
          <a:xfrm>
            <a:off x="2439585" y="4128563"/>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94" name="Oval 693">
            <a:extLst>
              <a:ext uri="{FF2B5EF4-FFF2-40B4-BE49-F238E27FC236}">
                <a16:creationId xmlns:a16="http://schemas.microsoft.com/office/drawing/2014/main" id="{F0EC174C-1231-40CA-8D73-E6B3DEFCC04C}"/>
              </a:ext>
            </a:extLst>
          </p:cNvPr>
          <p:cNvSpPr>
            <a:spLocks/>
          </p:cNvSpPr>
          <p:nvPr/>
        </p:nvSpPr>
        <p:spPr>
          <a:xfrm>
            <a:off x="2469121" y="4175548"/>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95" name="Oval 694">
            <a:extLst>
              <a:ext uri="{FF2B5EF4-FFF2-40B4-BE49-F238E27FC236}">
                <a16:creationId xmlns:a16="http://schemas.microsoft.com/office/drawing/2014/main" id="{41F6094F-3DC4-425B-9A73-AAD0E414ABD5}"/>
              </a:ext>
            </a:extLst>
          </p:cNvPr>
          <p:cNvSpPr>
            <a:spLocks/>
          </p:cNvSpPr>
          <p:nvPr/>
        </p:nvSpPr>
        <p:spPr>
          <a:xfrm>
            <a:off x="2498658" y="4205326"/>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96" name="Oval 695">
            <a:extLst>
              <a:ext uri="{FF2B5EF4-FFF2-40B4-BE49-F238E27FC236}">
                <a16:creationId xmlns:a16="http://schemas.microsoft.com/office/drawing/2014/main" id="{BF704B1F-5435-43E3-B176-A391DA4B63A6}"/>
              </a:ext>
            </a:extLst>
          </p:cNvPr>
          <p:cNvSpPr>
            <a:spLocks/>
          </p:cNvSpPr>
          <p:nvPr/>
        </p:nvSpPr>
        <p:spPr>
          <a:xfrm>
            <a:off x="2546261" y="4244707"/>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97" name="Oval 696">
            <a:extLst>
              <a:ext uri="{FF2B5EF4-FFF2-40B4-BE49-F238E27FC236}">
                <a16:creationId xmlns:a16="http://schemas.microsoft.com/office/drawing/2014/main" id="{6015DAFA-D029-45A3-A741-E7505FA0BDC1}"/>
              </a:ext>
            </a:extLst>
          </p:cNvPr>
          <p:cNvSpPr>
            <a:spLocks/>
          </p:cNvSpPr>
          <p:nvPr/>
        </p:nvSpPr>
        <p:spPr>
          <a:xfrm>
            <a:off x="2565952" y="4320468"/>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98" name="Oval 697">
            <a:extLst>
              <a:ext uri="{FF2B5EF4-FFF2-40B4-BE49-F238E27FC236}">
                <a16:creationId xmlns:a16="http://schemas.microsoft.com/office/drawing/2014/main" id="{A219E422-614C-4893-B444-ACABAF8B349D}"/>
              </a:ext>
            </a:extLst>
          </p:cNvPr>
          <p:cNvSpPr>
            <a:spLocks/>
          </p:cNvSpPr>
          <p:nvPr/>
        </p:nvSpPr>
        <p:spPr>
          <a:xfrm>
            <a:off x="2497154" y="4385366"/>
            <a:ext cx="88365" cy="88365"/>
          </a:xfrm>
          <a:prstGeom prst="ellipse">
            <a:avLst/>
          </a:prstGeom>
          <a:solidFill>
            <a:srgbClr val="0E436C"/>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99" name="Oval 698">
            <a:extLst>
              <a:ext uri="{FF2B5EF4-FFF2-40B4-BE49-F238E27FC236}">
                <a16:creationId xmlns:a16="http://schemas.microsoft.com/office/drawing/2014/main" id="{9FFD4743-C618-4387-A20F-B9AF77F8653C}"/>
              </a:ext>
            </a:extLst>
          </p:cNvPr>
          <p:cNvSpPr>
            <a:spLocks/>
          </p:cNvSpPr>
          <p:nvPr/>
        </p:nvSpPr>
        <p:spPr>
          <a:xfrm>
            <a:off x="2553820" y="4399149"/>
            <a:ext cx="88365" cy="88365"/>
          </a:xfrm>
          <a:prstGeom prst="ellipse">
            <a:avLst/>
          </a:prstGeom>
          <a:solidFill>
            <a:srgbClr val="0E436C"/>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00" name="Oval 699">
            <a:extLst>
              <a:ext uri="{FF2B5EF4-FFF2-40B4-BE49-F238E27FC236}">
                <a16:creationId xmlns:a16="http://schemas.microsoft.com/office/drawing/2014/main" id="{D9614F3D-AE11-462F-B2DE-D0C85873BDA6}"/>
              </a:ext>
            </a:extLst>
          </p:cNvPr>
          <p:cNvSpPr>
            <a:spLocks/>
          </p:cNvSpPr>
          <p:nvPr/>
        </p:nvSpPr>
        <p:spPr>
          <a:xfrm>
            <a:off x="2597359" y="4365756"/>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01" name="Oval 700">
            <a:extLst>
              <a:ext uri="{FF2B5EF4-FFF2-40B4-BE49-F238E27FC236}">
                <a16:creationId xmlns:a16="http://schemas.microsoft.com/office/drawing/2014/main" id="{57BAAF0A-8A72-46C1-98D7-F097EB5B7C2A}"/>
              </a:ext>
            </a:extLst>
          </p:cNvPr>
          <p:cNvSpPr>
            <a:spLocks/>
          </p:cNvSpPr>
          <p:nvPr/>
        </p:nvSpPr>
        <p:spPr>
          <a:xfrm>
            <a:off x="2506792" y="4336221"/>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02" name="Oval 701">
            <a:extLst>
              <a:ext uri="{FF2B5EF4-FFF2-40B4-BE49-F238E27FC236}">
                <a16:creationId xmlns:a16="http://schemas.microsoft.com/office/drawing/2014/main" id="{657713F6-2942-413F-9208-5FA058C832EC}"/>
              </a:ext>
            </a:extLst>
          </p:cNvPr>
          <p:cNvSpPr>
            <a:spLocks/>
          </p:cNvSpPr>
          <p:nvPr/>
        </p:nvSpPr>
        <p:spPr>
          <a:xfrm>
            <a:off x="2470324" y="4265856"/>
            <a:ext cx="88365" cy="88365"/>
          </a:xfrm>
          <a:prstGeom prst="ellipse">
            <a:avLst/>
          </a:prstGeom>
          <a:solidFill>
            <a:srgbClr val="1974A6"/>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03" name="Oval 702">
            <a:extLst>
              <a:ext uri="{FF2B5EF4-FFF2-40B4-BE49-F238E27FC236}">
                <a16:creationId xmlns:a16="http://schemas.microsoft.com/office/drawing/2014/main" id="{C1249767-C484-451E-B9D6-B3B69BC585D6}"/>
              </a:ext>
            </a:extLst>
          </p:cNvPr>
          <p:cNvSpPr>
            <a:spLocks/>
          </p:cNvSpPr>
          <p:nvPr/>
        </p:nvSpPr>
        <p:spPr>
          <a:xfrm>
            <a:off x="2416824" y="4199450"/>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04" name="Oval 703">
            <a:extLst>
              <a:ext uri="{FF2B5EF4-FFF2-40B4-BE49-F238E27FC236}">
                <a16:creationId xmlns:a16="http://schemas.microsoft.com/office/drawing/2014/main" id="{E459B485-A8E3-420A-BD53-90331BDE7357}"/>
              </a:ext>
            </a:extLst>
          </p:cNvPr>
          <p:cNvSpPr>
            <a:spLocks/>
          </p:cNvSpPr>
          <p:nvPr/>
        </p:nvSpPr>
        <p:spPr>
          <a:xfrm>
            <a:off x="2387237" y="4236862"/>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05" name="Oval 704">
            <a:extLst>
              <a:ext uri="{FF2B5EF4-FFF2-40B4-BE49-F238E27FC236}">
                <a16:creationId xmlns:a16="http://schemas.microsoft.com/office/drawing/2014/main" id="{BD39D68E-7A8C-483F-AEF9-87235258528E}"/>
              </a:ext>
            </a:extLst>
          </p:cNvPr>
          <p:cNvSpPr>
            <a:spLocks/>
          </p:cNvSpPr>
          <p:nvPr/>
        </p:nvSpPr>
        <p:spPr>
          <a:xfrm>
            <a:off x="2355731" y="4304001"/>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06" name="Oval 705">
            <a:extLst>
              <a:ext uri="{FF2B5EF4-FFF2-40B4-BE49-F238E27FC236}">
                <a16:creationId xmlns:a16="http://schemas.microsoft.com/office/drawing/2014/main" id="{8EEC3B85-5121-4F44-9FF5-293AB019FF63}"/>
              </a:ext>
            </a:extLst>
          </p:cNvPr>
          <p:cNvSpPr>
            <a:spLocks/>
          </p:cNvSpPr>
          <p:nvPr/>
        </p:nvSpPr>
        <p:spPr>
          <a:xfrm>
            <a:off x="2341948" y="4345983"/>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07" name="Oval 706">
            <a:extLst>
              <a:ext uri="{FF2B5EF4-FFF2-40B4-BE49-F238E27FC236}">
                <a16:creationId xmlns:a16="http://schemas.microsoft.com/office/drawing/2014/main" id="{7FEAA860-AD2B-4CBB-853E-46A53439A096}"/>
              </a:ext>
            </a:extLst>
          </p:cNvPr>
          <p:cNvSpPr>
            <a:spLocks/>
          </p:cNvSpPr>
          <p:nvPr/>
        </p:nvSpPr>
        <p:spPr>
          <a:xfrm>
            <a:off x="2259706" y="4207562"/>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08" name="Oval 707">
            <a:extLst>
              <a:ext uri="{FF2B5EF4-FFF2-40B4-BE49-F238E27FC236}">
                <a16:creationId xmlns:a16="http://schemas.microsoft.com/office/drawing/2014/main" id="{76E48EB1-2107-4E0E-B6FD-4BC0AE05CBA4}"/>
              </a:ext>
            </a:extLst>
          </p:cNvPr>
          <p:cNvSpPr>
            <a:spLocks/>
          </p:cNvSpPr>
          <p:nvPr/>
        </p:nvSpPr>
        <p:spPr>
          <a:xfrm>
            <a:off x="2332976" y="4147053"/>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09" name="Oval 708">
            <a:extLst>
              <a:ext uri="{FF2B5EF4-FFF2-40B4-BE49-F238E27FC236}">
                <a16:creationId xmlns:a16="http://schemas.microsoft.com/office/drawing/2014/main" id="{8719827F-0D36-47CD-B022-9A647F22E436}"/>
              </a:ext>
            </a:extLst>
          </p:cNvPr>
          <p:cNvSpPr>
            <a:spLocks/>
          </p:cNvSpPr>
          <p:nvPr/>
        </p:nvSpPr>
        <p:spPr>
          <a:xfrm>
            <a:off x="2263622" y="4141147"/>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10" name="Oval 709">
            <a:extLst>
              <a:ext uri="{FF2B5EF4-FFF2-40B4-BE49-F238E27FC236}">
                <a16:creationId xmlns:a16="http://schemas.microsoft.com/office/drawing/2014/main" id="{F1585DA3-8D33-4AD8-8161-55C02FCA3F20}"/>
              </a:ext>
            </a:extLst>
          </p:cNvPr>
          <p:cNvSpPr>
            <a:spLocks/>
          </p:cNvSpPr>
          <p:nvPr/>
        </p:nvSpPr>
        <p:spPr>
          <a:xfrm>
            <a:off x="2337008" y="4184339"/>
            <a:ext cx="88365" cy="88365"/>
          </a:xfrm>
          <a:prstGeom prst="ellipse">
            <a:avLst/>
          </a:prstGeom>
          <a:solidFill>
            <a:srgbClr val="0E436C"/>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11" name="Oval 710">
            <a:extLst>
              <a:ext uri="{FF2B5EF4-FFF2-40B4-BE49-F238E27FC236}">
                <a16:creationId xmlns:a16="http://schemas.microsoft.com/office/drawing/2014/main" id="{2B0CF132-7C6A-42A5-9D9E-9B97F7F40D1C}"/>
              </a:ext>
            </a:extLst>
          </p:cNvPr>
          <p:cNvSpPr>
            <a:spLocks/>
          </p:cNvSpPr>
          <p:nvPr/>
        </p:nvSpPr>
        <p:spPr>
          <a:xfrm>
            <a:off x="2246335" y="4324144"/>
            <a:ext cx="88365" cy="88365"/>
          </a:xfrm>
          <a:prstGeom prst="ellipse">
            <a:avLst/>
          </a:prstGeom>
          <a:solidFill>
            <a:srgbClr val="0E436C"/>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12" name="Oval 711">
            <a:extLst>
              <a:ext uri="{FF2B5EF4-FFF2-40B4-BE49-F238E27FC236}">
                <a16:creationId xmlns:a16="http://schemas.microsoft.com/office/drawing/2014/main" id="{543922B4-784B-4C94-BA72-0F5A3891C77A}"/>
              </a:ext>
            </a:extLst>
          </p:cNvPr>
          <p:cNvSpPr>
            <a:spLocks/>
          </p:cNvSpPr>
          <p:nvPr/>
        </p:nvSpPr>
        <p:spPr>
          <a:xfrm>
            <a:off x="2246335" y="4285958"/>
            <a:ext cx="88365" cy="88365"/>
          </a:xfrm>
          <a:prstGeom prst="ellipse">
            <a:avLst/>
          </a:prstGeom>
          <a:solidFill>
            <a:srgbClr val="0E436C"/>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13" name="Oval 712">
            <a:extLst>
              <a:ext uri="{FF2B5EF4-FFF2-40B4-BE49-F238E27FC236}">
                <a16:creationId xmlns:a16="http://schemas.microsoft.com/office/drawing/2014/main" id="{397F91ED-4DAA-4BA1-8724-D2EB0FF8FC20}"/>
              </a:ext>
            </a:extLst>
          </p:cNvPr>
          <p:cNvSpPr>
            <a:spLocks/>
          </p:cNvSpPr>
          <p:nvPr/>
        </p:nvSpPr>
        <p:spPr>
          <a:xfrm>
            <a:off x="2328165" y="4414465"/>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14" name="Oval 713">
            <a:extLst>
              <a:ext uri="{FF2B5EF4-FFF2-40B4-BE49-F238E27FC236}">
                <a16:creationId xmlns:a16="http://schemas.microsoft.com/office/drawing/2014/main" id="{B1C27EDC-A034-45AF-85CF-0999E3521C02}"/>
              </a:ext>
            </a:extLst>
          </p:cNvPr>
          <p:cNvSpPr>
            <a:spLocks/>
          </p:cNvSpPr>
          <p:nvPr/>
        </p:nvSpPr>
        <p:spPr>
          <a:xfrm>
            <a:off x="2279397" y="4371139"/>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15" name="Oval 714">
            <a:extLst>
              <a:ext uri="{FF2B5EF4-FFF2-40B4-BE49-F238E27FC236}">
                <a16:creationId xmlns:a16="http://schemas.microsoft.com/office/drawing/2014/main" id="{FC819543-F9AB-4499-B486-F1AA515E7A3D}"/>
              </a:ext>
            </a:extLst>
          </p:cNvPr>
          <p:cNvSpPr>
            <a:spLocks/>
          </p:cNvSpPr>
          <p:nvPr/>
        </p:nvSpPr>
        <p:spPr>
          <a:xfrm>
            <a:off x="2287273" y="4312201"/>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16" name="Oval 715">
            <a:extLst>
              <a:ext uri="{FF2B5EF4-FFF2-40B4-BE49-F238E27FC236}">
                <a16:creationId xmlns:a16="http://schemas.microsoft.com/office/drawing/2014/main" id="{A1D4CA97-A126-4758-857B-1F9627B5E653}"/>
              </a:ext>
            </a:extLst>
          </p:cNvPr>
          <p:cNvSpPr>
            <a:spLocks/>
          </p:cNvSpPr>
          <p:nvPr/>
        </p:nvSpPr>
        <p:spPr>
          <a:xfrm>
            <a:off x="2236208" y="4207562"/>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17" name="Oval 716">
            <a:extLst>
              <a:ext uri="{FF2B5EF4-FFF2-40B4-BE49-F238E27FC236}">
                <a16:creationId xmlns:a16="http://schemas.microsoft.com/office/drawing/2014/main" id="{3FE5B494-17D3-46DC-A056-69FD67DAE3A5}"/>
              </a:ext>
            </a:extLst>
          </p:cNvPr>
          <p:cNvSpPr>
            <a:spLocks/>
          </p:cNvSpPr>
          <p:nvPr/>
        </p:nvSpPr>
        <p:spPr>
          <a:xfrm>
            <a:off x="2202734" y="4154447"/>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18" name="Oval 717">
            <a:extLst>
              <a:ext uri="{FF2B5EF4-FFF2-40B4-BE49-F238E27FC236}">
                <a16:creationId xmlns:a16="http://schemas.microsoft.com/office/drawing/2014/main" id="{A916DCEC-2B4E-4C34-8D3B-ED46BBE54F96}"/>
              </a:ext>
            </a:extLst>
          </p:cNvPr>
          <p:cNvSpPr>
            <a:spLocks/>
          </p:cNvSpPr>
          <p:nvPr/>
        </p:nvSpPr>
        <p:spPr>
          <a:xfrm>
            <a:off x="2202734" y="4234724"/>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19" name="Oval 718">
            <a:extLst>
              <a:ext uri="{FF2B5EF4-FFF2-40B4-BE49-F238E27FC236}">
                <a16:creationId xmlns:a16="http://schemas.microsoft.com/office/drawing/2014/main" id="{A14C4D42-688A-4DC2-9D4D-536834B5CDF9}"/>
              </a:ext>
            </a:extLst>
          </p:cNvPr>
          <p:cNvSpPr>
            <a:spLocks/>
          </p:cNvSpPr>
          <p:nvPr/>
        </p:nvSpPr>
        <p:spPr>
          <a:xfrm>
            <a:off x="2175167" y="4354278"/>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20" name="Oval 719">
            <a:extLst>
              <a:ext uri="{FF2B5EF4-FFF2-40B4-BE49-F238E27FC236}">
                <a16:creationId xmlns:a16="http://schemas.microsoft.com/office/drawing/2014/main" id="{CFAFA705-AF4B-431B-895B-1D92D51A841C}"/>
              </a:ext>
            </a:extLst>
          </p:cNvPr>
          <p:cNvSpPr>
            <a:spLocks/>
          </p:cNvSpPr>
          <p:nvPr/>
        </p:nvSpPr>
        <p:spPr>
          <a:xfrm>
            <a:off x="2161384" y="4409602"/>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21" name="Oval 720">
            <a:extLst>
              <a:ext uri="{FF2B5EF4-FFF2-40B4-BE49-F238E27FC236}">
                <a16:creationId xmlns:a16="http://schemas.microsoft.com/office/drawing/2014/main" id="{4EEC75C9-BFA0-4656-B76F-217E86304F27}"/>
              </a:ext>
            </a:extLst>
          </p:cNvPr>
          <p:cNvSpPr>
            <a:spLocks/>
          </p:cNvSpPr>
          <p:nvPr/>
        </p:nvSpPr>
        <p:spPr>
          <a:xfrm>
            <a:off x="2218386" y="4480489"/>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22" name="Oval 721">
            <a:extLst>
              <a:ext uri="{FF2B5EF4-FFF2-40B4-BE49-F238E27FC236}">
                <a16:creationId xmlns:a16="http://schemas.microsoft.com/office/drawing/2014/main" id="{6EBB0253-B378-42B5-887A-B8A2614D6254}"/>
              </a:ext>
            </a:extLst>
          </p:cNvPr>
          <p:cNvSpPr>
            <a:spLocks/>
          </p:cNvSpPr>
          <p:nvPr/>
        </p:nvSpPr>
        <p:spPr>
          <a:xfrm>
            <a:off x="2007207" y="4476551"/>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23" name="Oval 722">
            <a:extLst>
              <a:ext uri="{FF2B5EF4-FFF2-40B4-BE49-F238E27FC236}">
                <a16:creationId xmlns:a16="http://schemas.microsoft.com/office/drawing/2014/main" id="{89D28D38-C315-4250-BBEA-F1FE75593BD7}"/>
              </a:ext>
            </a:extLst>
          </p:cNvPr>
          <p:cNvSpPr>
            <a:spLocks/>
          </p:cNvSpPr>
          <p:nvPr/>
        </p:nvSpPr>
        <p:spPr>
          <a:xfrm>
            <a:off x="2095815" y="4362497"/>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24" name="Oval 723">
            <a:extLst>
              <a:ext uri="{FF2B5EF4-FFF2-40B4-BE49-F238E27FC236}">
                <a16:creationId xmlns:a16="http://schemas.microsoft.com/office/drawing/2014/main" id="{104F6F78-6531-45CC-A784-F62B225E5A1A}"/>
              </a:ext>
            </a:extLst>
          </p:cNvPr>
          <p:cNvSpPr>
            <a:spLocks/>
          </p:cNvSpPr>
          <p:nvPr/>
        </p:nvSpPr>
        <p:spPr>
          <a:xfrm>
            <a:off x="2078094" y="4281899"/>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25" name="Oval 724">
            <a:extLst>
              <a:ext uri="{FF2B5EF4-FFF2-40B4-BE49-F238E27FC236}">
                <a16:creationId xmlns:a16="http://schemas.microsoft.com/office/drawing/2014/main" id="{639BD587-657E-4230-A50C-ADDA7A55B498}"/>
              </a:ext>
            </a:extLst>
          </p:cNvPr>
          <p:cNvSpPr>
            <a:spLocks/>
          </p:cNvSpPr>
          <p:nvPr/>
        </p:nvSpPr>
        <p:spPr>
          <a:xfrm>
            <a:off x="2145524" y="4294608"/>
            <a:ext cx="88365" cy="88365"/>
          </a:xfrm>
          <a:prstGeom prst="ellipse">
            <a:avLst/>
          </a:prstGeom>
          <a:solidFill>
            <a:srgbClr val="0E436C"/>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26" name="Oval 725">
            <a:extLst>
              <a:ext uri="{FF2B5EF4-FFF2-40B4-BE49-F238E27FC236}">
                <a16:creationId xmlns:a16="http://schemas.microsoft.com/office/drawing/2014/main" id="{33FD2B4D-4154-4A18-ADD9-72D470E5CA35}"/>
              </a:ext>
            </a:extLst>
          </p:cNvPr>
          <p:cNvSpPr>
            <a:spLocks/>
          </p:cNvSpPr>
          <p:nvPr/>
        </p:nvSpPr>
        <p:spPr>
          <a:xfrm>
            <a:off x="2159308" y="4204139"/>
            <a:ext cx="88365" cy="88365"/>
          </a:xfrm>
          <a:prstGeom prst="ellipse">
            <a:avLst/>
          </a:prstGeom>
          <a:solidFill>
            <a:srgbClr val="0E436C"/>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27" name="Oval 726">
            <a:extLst>
              <a:ext uri="{FF2B5EF4-FFF2-40B4-BE49-F238E27FC236}">
                <a16:creationId xmlns:a16="http://schemas.microsoft.com/office/drawing/2014/main" id="{66EA4B44-0067-405A-8965-C8274FB10DF8}"/>
              </a:ext>
            </a:extLst>
          </p:cNvPr>
          <p:cNvSpPr>
            <a:spLocks/>
          </p:cNvSpPr>
          <p:nvPr/>
        </p:nvSpPr>
        <p:spPr>
          <a:xfrm>
            <a:off x="2089909" y="4217067"/>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28" name="Oval 727">
            <a:extLst>
              <a:ext uri="{FF2B5EF4-FFF2-40B4-BE49-F238E27FC236}">
                <a16:creationId xmlns:a16="http://schemas.microsoft.com/office/drawing/2014/main" id="{ADA5CBA3-BAB4-473F-A490-14FF90E6EFEE}"/>
              </a:ext>
            </a:extLst>
          </p:cNvPr>
          <p:cNvSpPr>
            <a:spLocks/>
          </p:cNvSpPr>
          <p:nvPr/>
        </p:nvSpPr>
        <p:spPr>
          <a:xfrm>
            <a:off x="2089909" y="4168104"/>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29" name="Oval 728">
            <a:extLst>
              <a:ext uri="{FF2B5EF4-FFF2-40B4-BE49-F238E27FC236}">
                <a16:creationId xmlns:a16="http://schemas.microsoft.com/office/drawing/2014/main" id="{E44B3365-E2DD-43F7-90B8-6970720E5E62}"/>
              </a:ext>
            </a:extLst>
          </p:cNvPr>
          <p:cNvSpPr>
            <a:spLocks/>
          </p:cNvSpPr>
          <p:nvPr/>
        </p:nvSpPr>
        <p:spPr>
          <a:xfrm>
            <a:off x="2074513" y="4160228"/>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30" name="Oval 729">
            <a:extLst>
              <a:ext uri="{FF2B5EF4-FFF2-40B4-BE49-F238E27FC236}">
                <a16:creationId xmlns:a16="http://schemas.microsoft.com/office/drawing/2014/main" id="{78F314E5-0FAA-49B6-9FD1-A5867EC1DB4E}"/>
              </a:ext>
            </a:extLst>
          </p:cNvPr>
          <p:cNvSpPr>
            <a:spLocks/>
          </p:cNvSpPr>
          <p:nvPr/>
        </p:nvSpPr>
        <p:spPr>
          <a:xfrm>
            <a:off x="2011564" y="4004670"/>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31" name="Oval 730">
            <a:extLst>
              <a:ext uri="{FF2B5EF4-FFF2-40B4-BE49-F238E27FC236}">
                <a16:creationId xmlns:a16="http://schemas.microsoft.com/office/drawing/2014/main" id="{E3E284E1-8D59-40BE-9FDC-83C507596961}"/>
              </a:ext>
            </a:extLst>
          </p:cNvPr>
          <p:cNvSpPr>
            <a:spLocks/>
          </p:cNvSpPr>
          <p:nvPr/>
        </p:nvSpPr>
        <p:spPr>
          <a:xfrm>
            <a:off x="2060791" y="4061796"/>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32" name="Oval 731">
            <a:extLst>
              <a:ext uri="{FF2B5EF4-FFF2-40B4-BE49-F238E27FC236}">
                <a16:creationId xmlns:a16="http://schemas.microsoft.com/office/drawing/2014/main" id="{F840C6C8-6103-4E1A-A2F5-A25BDA688F41}"/>
              </a:ext>
            </a:extLst>
          </p:cNvPr>
          <p:cNvSpPr>
            <a:spLocks/>
          </p:cNvSpPr>
          <p:nvPr/>
        </p:nvSpPr>
        <p:spPr>
          <a:xfrm>
            <a:off x="1968110" y="4095270"/>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33" name="Oval 732">
            <a:extLst>
              <a:ext uri="{FF2B5EF4-FFF2-40B4-BE49-F238E27FC236}">
                <a16:creationId xmlns:a16="http://schemas.microsoft.com/office/drawing/2014/main" id="{B4E8E6AF-5755-4741-A659-FA99BCC9541B}"/>
              </a:ext>
            </a:extLst>
          </p:cNvPr>
          <p:cNvSpPr>
            <a:spLocks/>
          </p:cNvSpPr>
          <p:nvPr/>
        </p:nvSpPr>
        <p:spPr>
          <a:xfrm>
            <a:off x="2019537" y="4088042"/>
            <a:ext cx="88365" cy="88365"/>
          </a:xfrm>
          <a:prstGeom prst="ellipse">
            <a:avLst/>
          </a:prstGeom>
          <a:solidFill>
            <a:srgbClr val="0E436C"/>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34" name="Oval 733">
            <a:extLst>
              <a:ext uri="{FF2B5EF4-FFF2-40B4-BE49-F238E27FC236}">
                <a16:creationId xmlns:a16="http://schemas.microsoft.com/office/drawing/2014/main" id="{72F59506-FDD2-4778-BE62-FB45A846DA31}"/>
              </a:ext>
            </a:extLst>
          </p:cNvPr>
          <p:cNvSpPr>
            <a:spLocks/>
          </p:cNvSpPr>
          <p:nvPr/>
        </p:nvSpPr>
        <p:spPr>
          <a:xfrm>
            <a:off x="1936605" y="4191797"/>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35" name="Oval 734">
            <a:extLst>
              <a:ext uri="{FF2B5EF4-FFF2-40B4-BE49-F238E27FC236}">
                <a16:creationId xmlns:a16="http://schemas.microsoft.com/office/drawing/2014/main" id="{5FA123DF-FB7E-4F81-9941-1AC64B8AB10E}"/>
              </a:ext>
            </a:extLst>
          </p:cNvPr>
          <p:cNvSpPr>
            <a:spLocks/>
          </p:cNvSpPr>
          <p:nvPr/>
        </p:nvSpPr>
        <p:spPr>
          <a:xfrm>
            <a:off x="1916913" y="4213521"/>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36" name="Oval 735">
            <a:extLst>
              <a:ext uri="{FF2B5EF4-FFF2-40B4-BE49-F238E27FC236}">
                <a16:creationId xmlns:a16="http://schemas.microsoft.com/office/drawing/2014/main" id="{5F7D5369-32FA-4873-AD5F-14BDC84C16C0}"/>
              </a:ext>
            </a:extLst>
          </p:cNvPr>
          <p:cNvSpPr>
            <a:spLocks/>
          </p:cNvSpPr>
          <p:nvPr/>
        </p:nvSpPr>
        <p:spPr>
          <a:xfrm>
            <a:off x="1972048" y="4328535"/>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37" name="Oval 736">
            <a:extLst>
              <a:ext uri="{FF2B5EF4-FFF2-40B4-BE49-F238E27FC236}">
                <a16:creationId xmlns:a16="http://schemas.microsoft.com/office/drawing/2014/main" id="{EA68D0FD-426E-4527-9785-43D95050D590}"/>
              </a:ext>
            </a:extLst>
          </p:cNvPr>
          <p:cNvSpPr>
            <a:spLocks/>
          </p:cNvSpPr>
          <p:nvPr/>
        </p:nvSpPr>
        <p:spPr>
          <a:xfrm>
            <a:off x="1995677" y="4355664"/>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38" name="Oval 737">
            <a:extLst>
              <a:ext uri="{FF2B5EF4-FFF2-40B4-BE49-F238E27FC236}">
                <a16:creationId xmlns:a16="http://schemas.microsoft.com/office/drawing/2014/main" id="{316DC96A-54FB-4915-AAE0-D9966EED2E42}"/>
              </a:ext>
            </a:extLst>
          </p:cNvPr>
          <p:cNvSpPr>
            <a:spLocks/>
          </p:cNvSpPr>
          <p:nvPr/>
        </p:nvSpPr>
        <p:spPr>
          <a:xfrm>
            <a:off x="1735758" y="4568263"/>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39" name="Oval 738">
            <a:extLst>
              <a:ext uri="{FF2B5EF4-FFF2-40B4-BE49-F238E27FC236}">
                <a16:creationId xmlns:a16="http://schemas.microsoft.com/office/drawing/2014/main" id="{5EE016C5-1A30-4F59-8E92-F55A71C82C20}"/>
              </a:ext>
            </a:extLst>
          </p:cNvPr>
          <p:cNvSpPr>
            <a:spLocks/>
          </p:cNvSpPr>
          <p:nvPr/>
        </p:nvSpPr>
        <p:spPr>
          <a:xfrm>
            <a:off x="1853903" y="4898760"/>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40" name="Oval 739">
            <a:extLst>
              <a:ext uri="{FF2B5EF4-FFF2-40B4-BE49-F238E27FC236}">
                <a16:creationId xmlns:a16="http://schemas.microsoft.com/office/drawing/2014/main" id="{B3B1CC6E-7D50-409C-BB47-70279802E6A5}"/>
              </a:ext>
            </a:extLst>
          </p:cNvPr>
          <p:cNvSpPr>
            <a:spLocks/>
          </p:cNvSpPr>
          <p:nvPr/>
        </p:nvSpPr>
        <p:spPr>
          <a:xfrm>
            <a:off x="1905099" y="4949065"/>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41" name="Oval 740">
            <a:extLst>
              <a:ext uri="{FF2B5EF4-FFF2-40B4-BE49-F238E27FC236}">
                <a16:creationId xmlns:a16="http://schemas.microsoft.com/office/drawing/2014/main" id="{B4FD3E0C-35DE-4A34-B162-C304A44AC04D}"/>
              </a:ext>
            </a:extLst>
          </p:cNvPr>
          <p:cNvSpPr>
            <a:spLocks/>
          </p:cNvSpPr>
          <p:nvPr/>
        </p:nvSpPr>
        <p:spPr>
          <a:xfrm>
            <a:off x="1819525" y="4974663"/>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42" name="Oval 741">
            <a:extLst>
              <a:ext uri="{FF2B5EF4-FFF2-40B4-BE49-F238E27FC236}">
                <a16:creationId xmlns:a16="http://schemas.microsoft.com/office/drawing/2014/main" id="{28ED2768-F6C2-4501-ADEE-23BC001A79CF}"/>
              </a:ext>
            </a:extLst>
          </p:cNvPr>
          <p:cNvSpPr>
            <a:spLocks/>
          </p:cNvSpPr>
          <p:nvPr/>
        </p:nvSpPr>
        <p:spPr>
          <a:xfrm>
            <a:off x="1748898" y="4949065"/>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43" name="Oval 742">
            <a:extLst>
              <a:ext uri="{FF2B5EF4-FFF2-40B4-BE49-F238E27FC236}">
                <a16:creationId xmlns:a16="http://schemas.microsoft.com/office/drawing/2014/main" id="{BD2EEC79-98A8-4F96-B31A-DD510683B2C6}"/>
              </a:ext>
            </a:extLst>
          </p:cNvPr>
          <p:cNvSpPr>
            <a:spLocks/>
          </p:cNvSpPr>
          <p:nvPr/>
        </p:nvSpPr>
        <p:spPr>
          <a:xfrm>
            <a:off x="1764651" y="4928275"/>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44" name="Oval 743">
            <a:extLst>
              <a:ext uri="{FF2B5EF4-FFF2-40B4-BE49-F238E27FC236}">
                <a16:creationId xmlns:a16="http://schemas.microsoft.com/office/drawing/2014/main" id="{3C0A15AD-A99E-432B-8C31-B0AB0A2E5148}"/>
              </a:ext>
            </a:extLst>
          </p:cNvPr>
          <p:cNvSpPr>
            <a:spLocks/>
          </p:cNvSpPr>
          <p:nvPr/>
        </p:nvSpPr>
        <p:spPr>
          <a:xfrm>
            <a:off x="1719834" y="4928275"/>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45" name="Oval 744">
            <a:extLst>
              <a:ext uri="{FF2B5EF4-FFF2-40B4-BE49-F238E27FC236}">
                <a16:creationId xmlns:a16="http://schemas.microsoft.com/office/drawing/2014/main" id="{DD2ECFAF-BA3E-4054-AE80-6901AEDFC3C0}"/>
              </a:ext>
            </a:extLst>
          </p:cNvPr>
          <p:cNvSpPr>
            <a:spLocks/>
          </p:cNvSpPr>
          <p:nvPr/>
        </p:nvSpPr>
        <p:spPr>
          <a:xfrm>
            <a:off x="1737851" y="4900709"/>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46" name="Oval 745">
            <a:extLst>
              <a:ext uri="{FF2B5EF4-FFF2-40B4-BE49-F238E27FC236}">
                <a16:creationId xmlns:a16="http://schemas.microsoft.com/office/drawing/2014/main" id="{04201A7B-76D2-4788-9685-A9C58028F2D9}"/>
              </a:ext>
            </a:extLst>
          </p:cNvPr>
          <p:cNvSpPr>
            <a:spLocks/>
          </p:cNvSpPr>
          <p:nvPr/>
        </p:nvSpPr>
        <p:spPr>
          <a:xfrm>
            <a:off x="1371768" y="4782564"/>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47" name="Oval 746">
            <a:extLst>
              <a:ext uri="{FF2B5EF4-FFF2-40B4-BE49-F238E27FC236}">
                <a16:creationId xmlns:a16="http://schemas.microsoft.com/office/drawing/2014/main" id="{C85DD611-5789-4984-ACBE-7631C868FB94}"/>
              </a:ext>
            </a:extLst>
          </p:cNvPr>
          <p:cNvSpPr>
            <a:spLocks/>
          </p:cNvSpPr>
          <p:nvPr/>
        </p:nvSpPr>
        <p:spPr>
          <a:xfrm>
            <a:off x="1610066" y="5147273"/>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48" name="Oval 747">
            <a:extLst>
              <a:ext uri="{FF2B5EF4-FFF2-40B4-BE49-F238E27FC236}">
                <a16:creationId xmlns:a16="http://schemas.microsoft.com/office/drawing/2014/main" id="{493EF6DB-E349-4E60-A884-A887ECA8E086}"/>
              </a:ext>
            </a:extLst>
          </p:cNvPr>
          <p:cNvSpPr>
            <a:spLocks/>
          </p:cNvSpPr>
          <p:nvPr/>
        </p:nvSpPr>
        <p:spPr>
          <a:xfrm>
            <a:off x="1870760" y="5147273"/>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49" name="Oval 748">
            <a:extLst>
              <a:ext uri="{FF2B5EF4-FFF2-40B4-BE49-F238E27FC236}">
                <a16:creationId xmlns:a16="http://schemas.microsoft.com/office/drawing/2014/main" id="{E1BB6CEC-CC7A-44C3-9775-DB1959E17B32}"/>
              </a:ext>
            </a:extLst>
          </p:cNvPr>
          <p:cNvSpPr>
            <a:spLocks/>
          </p:cNvSpPr>
          <p:nvPr/>
        </p:nvSpPr>
        <p:spPr>
          <a:xfrm>
            <a:off x="1943616" y="5209871"/>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50" name="Oval 749">
            <a:extLst>
              <a:ext uri="{FF2B5EF4-FFF2-40B4-BE49-F238E27FC236}">
                <a16:creationId xmlns:a16="http://schemas.microsoft.com/office/drawing/2014/main" id="{B28E63FC-D3AC-49A3-ACA9-31AAB87F0003}"/>
              </a:ext>
            </a:extLst>
          </p:cNvPr>
          <p:cNvSpPr>
            <a:spLocks/>
          </p:cNvSpPr>
          <p:nvPr/>
        </p:nvSpPr>
        <p:spPr>
          <a:xfrm>
            <a:off x="1815439" y="5221685"/>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51" name="Oval 750">
            <a:extLst>
              <a:ext uri="{FF2B5EF4-FFF2-40B4-BE49-F238E27FC236}">
                <a16:creationId xmlns:a16="http://schemas.microsoft.com/office/drawing/2014/main" id="{29C408EB-F43B-4DF4-866A-DA4736B9EB1F}"/>
              </a:ext>
            </a:extLst>
          </p:cNvPr>
          <p:cNvSpPr>
            <a:spLocks/>
          </p:cNvSpPr>
          <p:nvPr/>
        </p:nvSpPr>
        <p:spPr>
          <a:xfrm>
            <a:off x="1856790" y="5253969"/>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52" name="Oval 751">
            <a:extLst>
              <a:ext uri="{FF2B5EF4-FFF2-40B4-BE49-F238E27FC236}">
                <a16:creationId xmlns:a16="http://schemas.microsoft.com/office/drawing/2014/main" id="{84DC8061-5FC7-4A01-8B18-9A5F9D58D292}"/>
              </a:ext>
            </a:extLst>
          </p:cNvPr>
          <p:cNvSpPr>
            <a:spLocks/>
          </p:cNvSpPr>
          <p:nvPr/>
        </p:nvSpPr>
        <p:spPr>
          <a:xfrm>
            <a:off x="1807421" y="5277758"/>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53" name="Oval 752">
            <a:extLst>
              <a:ext uri="{FF2B5EF4-FFF2-40B4-BE49-F238E27FC236}">
                <a16:creationId xmlns:a16="http://schemas.microsoft.com/office/drawing/2014/main" id="{FCE29585-F4AA-4218-9CCB-73B5A5D5A10C}"/>
              </a:ext>
            </a:extLst>
          </p:cNvPr>
          <p:cNvSpPr>
            <a:spLocks/>
          </p:cNvSpPr>
          <p:nvPr/>
        </p:nvSpPr>
        <p:spPr>
          <a:xfrm>
            <a:off x="1607967" y="5190156"/>
            <a:ext cx="88365" cy="88365"/>
          </a:xfrm>
          <a:prstGeom prst="ellipse">
            <a:avLst/>
          </a:prstGeom>
          <a:solidFill>
            <a:srgbClr val="0E436C"/>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54" name="Oval 753">
            <a:extLst>
              <a:ext uri="{FF2B5EF4-FFF2-40B4-BE49-F238E27FC236}">
                <a16:creationId xmlns:a16="http://schemas.microsoft.com/office/drawing/2014/main" id="{87944F83-3F7E-499F-B367-200A6CA9F4D3}"/>
              </a:ext>
            </a:extLst>
          </p:cNvPr>
          <p:cNvSpPr>
            <a:spLocks/>
          </p:cNvSpPr>
          <p:nvPr/>
        </p:nvSpPr>
        <p:spPr>
          <a:xfrm>
            <a:off x="3031453" y="2885298"/>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55" name="Oval 754">
            <a:extLst>
              <a:ext uri="{FF2B5EF4-FFF2-40B4-BE49-F238E27FC236}">
                <a16:creationId xmlns:a16="http://schemas.microsoft.com/office/drawing/2014/main" id="{BC070E79-CF88-4CBD-BA02-B1A200CDE49D}"/>
              </a:ext>
            </a:extLst>
          </p:cNvPr>
          <p:cNvSpPr>
            <a:spLocks/>
          </p:cNvSpPr>
          <p:nvPr/>
        </p:nvSpPr>
        <p:spPr>
          <a:xfrm>
            <a:off x="2818996" y="2832863"/>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56" name="Oval 755">
            <a:extLst>
              <a:ext uri="{FF2B5EF4-FFF2-40B4-BE49-F238E27FC236}">
                <a16:creationId xmlns:a16="http://schemas.microsoft.com/office/drawing/2014/main" id="{44455101-4C01-41E1-A9E1-17E86A970D06}"/>
              </a:ext>
            </a:extLst>
          </p:cNvPr>
          <p:cNvSpPr>
            <a:spLocks/>
          </p:cNvSpPr>
          <p:nvPr/>
        </p:nvSpPr>
        <p:spPr>
          <a:xfrm>
            <a:off x="2723993" y="2921472"/>
            <a:ext cx="88365" cy="88365"/>
          </a:xfrm>
          <a:prstGeom prst="ellipse">
            <a:avLst/>
          </a:prstGeom>
          <a:solidFill>
            <a:schemeClr val="accent5">
              <a:lumMod val="20000"/>
              <a:lumOff val="80000"/>
            </a:schemeClr>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57" name="Oval 756">
            <a:extLst>
              <a:ext uri="{FF2B5EF4-FFF2-40B4-BE49-F238E27FC236}">
                <a16:creationId xmlns:a16="http://schemas.microsoft.com/office/drawing/2014/main" id="{953F4795-D59D-45AA-9144-B686BE5D1FAB}"/>
              </a:ext>
            </a:extLst>
          </p:cNvPr>
          <p:cNvSpPr>
            <a:spLocks/>
          </p:cNvSpPr>
          <p:nvPr/>
        </p:nvSpPr>
        <p:spPr>
          <a:xfrm>
            <a:off x="2781584" y="2922749"/>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58" name="Oval 757">
            <a:extLst>
              <a:ext uri="{FF2B5EF4-FFF2-40B4-BE49-F238E27FC236}">
                <a16:creationId xmlns:a16="http://schemas.microsoft.com/office/drawing/2014/main" id="{BCDE342F-C414-4F8B-91A5-C09991870850}"/>
              </a:ext>
            </a:extLst>
          </p:cNvPr>
          <p:cNvSpPr>
            <a:spLocks/>
          </p:cNvSpPr>
          <p:nvPr/>
        </p:nvSpPr>
        <p:spPr>
          <a:xfrm>
            <a:off x="2752045" y="2921472"/>
            <a:ext cx="88365" cy="88365"/>
          </a:xfrm>
          <a:prstGeom prst="ellipse">
            <a:avLst/>
          </a:prstGeom>
          <a:solidFill>
            <a:srgbClr val="1974A6"/>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59" name="Oval 758">
            <a:extLst>
              <a:ext uri="{FF2B5EF4-FFF2-40B4-BE49-F238E27FC236}">
                <a16:creationId xmlns:a16="http://schemas.microsoft.com/office/drawing/2014/main" id="{8CED9B87-42D3-43FF-8549-4282815EDAE7}"/>
              </a:ext>
            </a:extLst>
          </p:cNvPr>
          <p:cNvSpPr>
            <a:spLocks/>
          </p:cNvSpPr>
          <p:nvPr/>
        </p:nvSpPr>
        <p:spPr>
          <a:xfrm>
            <a:off x="3818911" y="6023496"/>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60" name="Oval 759">
            <a:extLst>
              <a:ext uri="{FF2B5EF4-FFF2-40B4-BE49-F238E27FC236}">
                <a16:creationId xmlns:a16="http://schemas.microsoft.com/office/drawing/2014/main" id="{D63FDBDB-CF6D-4801-A0C1-32585F023E19}"/>
              </a:ext>
            </a:extLst>
          </p:cNvPr>
          <p:cNvSpPr>
            <a:spLocks/>
          </p:cNvSpPr>
          <p:nvPr/>
        </p:nvSpPr>
        <p:spPr>
          <a:xfrm>
            <a:off x="3805221" y="5996577"/>
            <a:ext cx="88365" cy="88365"/>
          </a:xfrm>
          <a:prstGeom prst="ellipse">
            <a:avLst/>
          </a:prstGeom>
          <a:solidFill>
            <a:srgbClr val="1974A6"/>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61" name="Oval 760">
            <a:extLst>
              <a:ext uri="{FF2B5EF4-FFF2-40B4-BE49-F238E27FC236}">
                <a16:creationId xmlns:a16="http://schemas.microsoft.com/office/drawing/2014/main" id="{E9F03529-EE79-49C2-B7A9-0B24F2F4AB2B}"/>
              </a:ext>
            </a:extLst>
          </p:cNvPr>
          <p:cNvSpPr>
            <a:spLocks/>
          </p:cNvSpPr>
          <p:nvPr/>
        </p:nvSpPr>
        <p:spPr>
          <a:xfrm>
            <a:off x="3787697" y="6066379"/>
            <a:ext cx="88365" cy="88365"/>
          </a:xfrm>
          <a:prstGeom prst="ellipse">
            <a:avLst/>
          </a:prstGeom>
          <a:solidFill>
            <a:srgbClr val="1974A6"/>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62" name="Oval 761">
            <a:extLst>
              <a:ext uri="{FF2B5EF4-FFF2-40B4-BE49-F238E27FC236}">
                <a16:creationId xmlns:a16="http://schemas.microsoft.com/office/drawing/2014/main" id="{6E6A21D7-E5ED-4339-A673-094461F7C134}"/>
              </a:ext>
            </a:extLst>
          </p:cNvPr>
          <p:cNvSpPr>
            <a:spLocks/>
          </p:cNvSpPr>
          <p:nvPr/>
        </p:nvSpPr>
        <p:spPr>
          <a:xfrm>
            <a:off x="3748380" y="6017147"/>
            <a:ext cx="88365" cy="88365"/>
          </a:xfrm>
          <a:prstGeom prst="ellipse">
            <a:avLst/>
          </a:prstGeom>
          <a:solidFill>
            <a:srgbClr val="1974A6"/>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63" name="Oval 762">
            <a:extLst>
              <a:ext uri="{FF2B5EF4-FFF2-40B4-BE49-F238E27FC236}">
                <a16:creationId xmlns:a16="http://schemas.microsoft.com/office/drawing/2014/main" id="{6D89B510-B612-477A-8E2D-818FF645F5AB}"/>
              </a:ext>
            </a:extLst>
          </p:cNvPr>
          <p:cNvSpPr>
            <a:spLocks/>
          </p:cNvSpPr>
          <p:nvPr/>
        </p:nvSpPr>
        <p:spPr>
          <a:xfrm>
            <a:off x="3832364" y="6094812"/>
            <a:ext cx="88365" cy="88365"/>
          </a:xfrm>
          <a:prstGeom prst="ellipse">
            <a:avLst/>
          </a:prstGeom>
          <a:solidFill>
            <a:srgbClr val="0E436C"/>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64" name="Oval 763">
            <a:extLst>
              <a:ext uri="{FF2B5EF4-FFF2-40B4-BE49-F238E27FC236}">
                <a16:creationId xmlns:a16="http://schemas.microsoft.com/office/drawing/2014/main" id="{C2297EB9-A746-4086-9710-7CD00C512385}"/>
              </a:ext>
            </a:extLst>
          </p:cNvPr>
          <p:cNvSpPr>
            <a:spLocks/>
          </p:cNvSpPr>
          <p:nvPr/>
        </p:nvSpPr>
        <p:spPr>
          <a:xfrm>
            <a:off x="3789263" y="6126317"/>
            <a:ext cx="88365" cy="88365"/>
          </a:xfrm>
          <a:prstGeom prst="ellipse">
            <a:avLst/>
          </a:prstGeom>
          <a:solidFill>
            <a:srgbClr val="0E436C"/>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65" name="Oval 764">
            <a:extLst>
              <a:ext uri="{FF2B5EF4-FFF2-40B4-BE49-F238E27FC236}">
                <a16:creationId xmlns:a16="http://schemas.microsoft.com/office/drawing/2014/main" id="{F2EDDBA3-9C5F-4E3C-8618-8159766614ED}"/>
              </a:ext>
            </a:extLst>
          </p:cNvPr>
          <p:cNvSpPr>
            <a:spLocks/>
          </p:cNvSpPr>
          <p:nvPr/>
        </p:nvSpPr>
        <p:spPr>
          <a:xfrm>
            <a:off x="3649040" y="5979735"/>
            <a:ext cx="88365" cy="88365"/>
          </a:xfrm>
          <a:prstGeom prst="ellipse">
            <a:avLst/>
          </a:prstGeom>
          <a:solidFill>
            <a:srgbClr val="1974A6"/>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66" name="Oval 765">
            <a:extLst>
              <a:ext uri="{FF2B5EF4-FFF2-40B4-BE49-F238E27FC236}">
                <a16:creationId xmlns:a16="http://schemas.microsoft.com/office/drawing/2014/main" id="{F2D88891-DBE0-46A0-8E49-19AFAFF85214}"/>
              </a:ext>
            </a:extLst>
          </p:cNvPr>
          <p:cNvSpPr>
            <a:spLocks/>
          </p:cNvSpPr>
          <p:nvPr/>
        </p:nvSpPr>
        <p:spPr>
          <a:xfrm>
            <a:off x="3544289" y="6167920"/>
            <a:ext cx="88365" cy="88365"/>
          </a:xfrm>
          <a:prstGeom prst="ellipse">
            <a:avLst/>
          </a:prstGeom>
          <a:solidFill>
            <a:srgbClr val="1974A6"/>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67" name="Oval 766">
            <a:extLst>
              <a:ext uri="{FF2B5EF4-FFF2-40B4-BE49-F238E27FC236}">
                <a16:creationId xmlns:a16="http://schemas.microsoft.com/office/drawing/2014/main" id="{646BC717-340B-4BC2-8A4E-A59FC3C3B84F}"/>
              </a:ext>
            </a:extLst>
          </p:cNvPr>
          <p:cNvSpPr>
            <a:spLocks/>
          </p:cNvSpPr>
          <p:nvPr/>
        </p:nvSpPr>
        <p:spPr>
          <a:xfrm>
            <a:off x="3532464" y="6177765"/>
            <a:ext cx="88365" cy="88365"/>
          </a:xfrm>
          <a:prstGeom prst="ellipse">
            <a:avLst/>
          </a:prstGeom>
          <a:solidFill>
            <a:srgbClr val="1974A6"/>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68" name="Oval 767">
            <a:extLst>
              <a:ext uri="{FF2B5EF4-FFF2-40B4-BE49-F238E27FC236}">
                <a16:creationId xmlns:a16="http://schemas.microsoft.com/office/drawing/2014/main" id="{F7688C97-DF47-469F-AD20-3119DB141728}"/>
              </a:ext>
            </a:extLst>
          </p:cNvPr>
          <p:cNvSpPr>
            <a:spLocks/>
          </p:cNvSpPr>
          <p:nvPr/>
        </p:nvSpPr>
        <p:spPr>
          <a:xfrm>
            <a:off x="3481111" y="6165950"/>
            <a:ext cx="88365" cy="88365"/>
          </a:xfrm>
          <a:prstGeom prst="ellipse">
            <a:avLst/>
          </a:prstGeom>
          <a:solidFill>
            <a:srgbClr val="1974A6"/>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69" name="Oval 768">
            <a:extLst>
              <a:ext uri="{FF2B5EF4-FFF2-40B4-BE49-F238E27FC236}">
                <a16:creationId xmlns:a16="http://schemas.microsoft.com/office/drawing/2014/main" id="{D752A874-6CD6-4EF7-87EC-BD3448FC5174}"/>
              </a:ext>
            </a:extLst>
          </p:cNvPr>
          <p:cNvSpPr>
            <a:spLocks/>
          </p:cNvSpPr>
          <p:nvPr/>
        </p:nvSpPr>
        <p:spPr>
          <a:xfrm>
            <a:off x="3580676" y="6258476"/>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70" name="Oval 769">
            <a:extLst>
              <a:ext uri="{FF2B5EF4-FFF2-40B4-BE49-F238E27FC236}">
                <a16:creationId xmlns:a16="http://schemas.microsoft.com/office/drawing/2014/main" id="{98324AB6-360F-453F-B2B7-6DCB447BAD51}"/>
              </a:ext>
            </a:extLst>
          </p:cNvPr>
          <p:cNvSpPr>
            <a:spLocks/>
          </p:cNvSpPr>
          <p:nvPr/>
        </p:nvSpPr>
        <p:spPr>
          <a:xfrm>
            <a:off x="3618205" y="6276197"/>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71" name="Oval 770">
            <a:extLst>
              <a:ext uri="{FF2B5EF4-FFF2-40B4-BE49-F238E27FC236}">
                <a16:creationId xmlns:a16="http://schemas.microsoft.com/office/drawing/2014/main" id="{3DC84940-FAAC-4438-92E8-52923F8FB526}"/>
              </a:ext>
            </a:extLst>
          </p:cNvPr>
          <p:cNvSpPr>
            <a:spLocks/>
          </p:cNvSpPr>
          <p:nvPr/>
        </p:nvSpPr>
        <p:spPr>
          <a:xfrm>
            <a:off x="3840041" y="6021086"/>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72" name="Oval 771">
            <a:extLst>
              <a:ext uri="{FF2B5EF4-FFF2-40B4-BE49-F238E27FC236}">
                <a16:creationId xmlns:a16="http://schemas.microsoft.com/office/drawing/2014/main" id="{1D35C061-7F9F-447A-9E02-515DC4B583E7}"/>
              </a:ext>
            </a:extLst>
          </p:cNvPr>
          <p:cNvSpPr>
            <a:spLocks/>
          </p:cNvSpPr>
          <p:nvPr/>
        </p:nvSpPr>
        <p:spPr>
          <a:xfrm>
            <a:off x="3796722" y="5976025"/>
            <a:ext cx="88365" cy="88365"/>
          </a:xfrm>
          <a:prstGeom prst="ellipse">
            <a:avLst/>
          </a:prstGeom>
          <a:solidFill>
            <a:srgbClr val="1974A6"/>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73" name="Oval 772">
            <a:extLst>
              <a:ext uri="{FF2B5EF4-FFF2-40B4-BE49-F238E27FC236}">
                <a16:creationId xmlns:a16="http://schemas.microsoft.com/office/drawing/2014/main" id="{415E82D9-F01D-4A40-B969-E2981FD6EC1A}"/>
              </a:ext>
            </a:extLst>
          </p:cNvPr>
          <p:cNvSpPr>
            <a:spLocks/>
          </p:cNvSpPr>
          <p:nvPr/>
        </p:nvSpPr>
        <p:spPr>
          <a:xfrm>
            <a:off x="3783062" y="6051928"/>
            <a:ext cx="88365" cy="88365"/>
          </a:xfrm>
          <a:prstGeom prst="ellipse">
            <a:avLst/>
          </a:prstGeom>
          <a:solidFill>
            <a:srgbClr val="1974A6"/>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74" name="Oval 773">
            <a:extLst>
              <a:ext uri="{FF2B5EF4-FFF2-40B4-BE49-F238E27FC236}">
                <a16:creationId xmlns:a16="http://schemas.microsoft.com/office/drawing/2014/main" id="{5565AE59-94DF-4DF9-8864-D658E5317D7E}"/>
              </a:ext>
            </a:extLst>
          </p:cNvPr>
          <p:cNvSpPr>
            <a:spLocks/>
          </p:cNvSpPr>
          <p:nvPr/>
        </p:nvSpPr>
        <p:spPr>
          <a:xfrm>
            <a:off x="3753525" y="6009062"/>
            <a:ext cx="88365" cy="88365"/>
          </a:xfrm>
          <a:prstGeom prst="ellipse">
            <a:avLst/>
          </a:prstGeom>
          <a:solidFill>
            <a:srgbClr val="1974A6"/>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75" name="Oval 774">
            <a:extLst>
              <a:ext uri="{FF2B5EF4-FFF2-40B4-BE49-F238E27FC236}">
                <a16:creationId xmlns:a16="http://schemas.microsoft.com/office/drawing/2014/main" id="{F7D9FCDE-4CEE-4243-8C15-66FC5E493C10}"/>
              </a:ext>
            </a:extLst>
          </p:cNvPr>
          <p:cNvSpPr>
            <a:spLocks/>
          </p:cNvSpPr>
          <p:nvPr/>
        </p:nvSpPr>
        <p:spPr>
          <a:xfrm>
            <a:off x="3842632" y="6085904"/>
            <a:ext cx="88365" cy="88365"/>
          </a:xfrm>
          <a:prstGeom prst="ellipse">
            <a:avLst/>
          </a:prstGeom>
          <a:solidFill>
            <a:srgbClr val="0E436C"/>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76" name="Oval 775">
            <a:extLst>
              <a:ext uri="{FF2B5EF4-FFF2-40B4-BE49-F238E27FC236}">
                <a16:creationId xmlns:a16="http://schemas.microsoft.com/office/drawing/2014/main" id="{F20D5429-8A44-4C55-851A-C08B043192BF}"/>
              </a:ext>
            </a:extLst>
          </p:cNvPr>
          <p:cNvSpPr>
            <a:spLocks/>
          </p:cNvSpPr>
          <p:nvPr/>
        </p:nvSpPr>
        <p:spPr>
          <a:xfrm>
            <a:off x="3795375" y="6121347"/>
            <a:ext cx="88365" cy="88365"/>
          </a:xfrm>
          <a:prstGeom prst="ellipse">
            <a:avLst/>
          </a:prstGeom>
          <a:solidFill>
            <a:srgbClr val="0E436C"/>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77" name="Oval 776">
            <a:extLst>
              <a:ext uri="{FF2B5EF4-FFF2-40B4-BE49-F238E27FC236}">
                <a16:creationId xmlns:a16="http://schemas.microsoft.com/office/drawing/2014/main" id="{6EA4F0A4-3DF8-4F06-BFFA-834B1A83B0CF}"/>
              </a:ext>
            </a:extLst>
          </p:cNvPr>
          <p:cNvSpPr>
            <a:spLocks/>
          </p:cNvSpPr>
          <p:nvPr/>
        </p:nvSpPr>
        <p:spPr>
          <a:xfrm>
            <a:off x="3550586" y="6151171"/>
            <a:ext cx="88365" cy="88365"/>
          </a:xfrm>
          <a:prstGeom prst="ellipse">
            <a:avLst/>
          </a:prstGeom>
          <a:solidFill>
            <a:srgbClr val="1974A6"/>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78" name="Oval 777">
            <a:extLst>
              <a:ext uri="{FF2B5EF4-FFF2-40B4-BE49-F238E27FC236}">
                <a16:creationId xmlns:a16="http://schemas.microsoft.com/office/drawing/2014/main" id="{AABF672D-03A5-469E-86E0-4ED0423CCEED}"/>
              </a:ext>
            </a:extLst>
          </p:cNvPr>
          <p:cNvSpPr>
            <a:spLocks/>
          </p:cNvSpPr>
          <p:nvPr/>
        </p:nvSpPr>
        <p:spPr>
          <a:xfrm>
            <a:off x="3544678" y="6174252"/>
            <a:ext cx="88365" cy="88365"/>
          </a:xfrm>
          <a:prstGeom prst="ellipse">
            <a:avLst/>
          </a:prstGeom>
          <a:solidFill>
            <a:srgbClr val="1974A6"/>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79" name="Oval 778">
            <a:extLst>
              <a:ext uri="{FF2B5EF4-FFF2-40B4-BE49-F238E27FC236}">
                <a16:creationId xmlns:a16="http://schemas.microsoft.com/office/drawing/2014/main" id="{AF3A868E-B6A0-4116-A1C2-6E3571A4899D}"/>
              </a:ext>
            </a:extLst>
          </p:cNvPr>
          <p:cNvSpPr>
            <a:spLocks/>
          </p:cNvSpPr>
          <p:nvPr/>
        </p:nvSpPr>
        <p:spPr>
          <a:xfrm>
            <a:off x="3483667" y="6160469"/>
            <a:ext cx="88365" cy="88365"/>
          </a:xfrm>
          <a:prstGeom prst="ellipse">
            <a:avLst/>
          </a:prstGeom>
          <a:solidFill>
            <a:srgbClr val="1974A6"/>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80" name="Oval 779">
            <a:extLst>
              <a:ext uri="{FF2B5EF4-FFF2-40B4-BE49-F238E27FC236}">
                <a16:creationId xmlns:a16="http://schemas.microsoft.com/office/drawing/2014/main" id="{D7DAF8C2-20B3-4B5D-B9D3-9AF5D153229E}"/>
              </a:ext>
            </a:extLst>
          </p:cNvPr>
          <p:cNvSpPr>
            <a:spLocks/>
          </p:cNvSpPr>
          <p:nvPr/>
        </p:nvSpPr>
        <p:spPr>
          <a:xfrm>
            <a:off x="3633841" y="5851458"/>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81" name="Oval 780">
            <a:extLst>
              <a:ext uri="{FF2B5EF4-FFF2-40B4-BE49-F238E27FC236}">
                <a16:creationId xmlns:a16="http://schemas.microsoft.com/office/drawing/2014/main" id="{47A89A49-554E-44CC-9D69-78C6C0D32A00}"/>
              </a:ext>
            </a:extLst>
          </p:cNvPr>
          <p:cNvSpPr>
            <a:spLocks/>
          </p:cNvSpPr>
          <p:nvPr/>
        </p:nvSpPr>
        <p:spPr>
          <a:xfrm>
            <a:off x="4132262" y="5237737"/>
            <a:ext cx="88365" cy="88365"/>
          </a:xfrm>
          <a:prstGeom prst="ellipse">
            <a:avLst/>
          </a:prstGeom>
          <a:solidFill>
            <a:srgbClr val="0E436C"/>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82" name="Oval 781">
            <a:extLst>
              <a:ext uri="{FF2B5EF4-FFF2-40B4-BE49-F238E27FC236}">
                <a16:creationId xmlns:a16="http://schemas.microsoft.com/office/drawing/2014/main" id="{15E5D6FA-9AB0-44CD-8D96-D79CDB74E949}"/>
              </a:ext>
            </a:extLst>
          </p:cNvPr>
          <p:cNvSpPr>
            <a:spLocks/>
          </p:cNvSpPr>
          <p:nvPr/>
        </p:nvSpPr>
        <p:spPr>
          <a:xfrm>
            <a:off x="3907551" y="5329376"/>
            <a:ext cx="88365" cy="88365"/>
          </a:xfrm>
          <a:prstGeom prst="ellipse">
            <a:avLst/>
          </a:prstGeom>
          <a:solidFill>
            <a:srgbClr val="1974A6"/>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83" name="Oval 782">
            <a:extLst>
              <a:ext uri="{FF2B5EF4-FFF2-40B4-BE49-F238E27FC236}">
                <a16:creationId xmlns:a16="http://schemas.microsoft.com/office/drawing/2014/main" id="{5501CA52-D47F-489A-A3B7-6FEB1D162BAD}"/>
              </a:ext>
            </a:extLst>
          </p:cNvPr>
          <p:cNvSpPr>
            <a:spLocks/>
          </p:cNvSpPr>
          <p:nvPr/>
        </p:nvSpPr>
        <p:spPr>
          <a:xfrm>
            <a:off x="3856355" y="5527876"/>
            <a:ext cx="88365" cy="88365"/>
          </a:xfrm>
          <a:prstGeom prst="ellipse">
            <a:avLst/>
          </a:prstGeom>
          <a:solidFill>
            <a:srgbClr val="1974A6"/>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84" name="Oval 783">
            <a:extLst>
              <a:ext uri="{FF2B5EF4-FFF2-40B4-BE49-F238E27FC236}">
                <a16:creationId xmlns:a16="http://schemas.microsoft.com/office/drawing/2014/main" id="{F40E5B24-390A-466A-80D0-9ADD67C100FF}"/>
              </a:ext>
            </a:extLst>
          </p:cNvPr>
          <p:cNvSpPr>
            <a:spLocks/>
          </p:cNvSpPr>
          <p:nvPr/>
        </p:nvSpPr>
        <p:spPr>
          <a:xfrm>
            <a:off x="4003686" y="5613199"/>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85" name="Oval 784">
            <a:extLst>
              <a:ext uri="{FF2B5EF4-FFF2-40B4-BE49-F238E27FC236}">
                <a16:creationId xmlns:a16="http://schemas.microsoft.com/office/drawing/2014/main" id="{DCD0FA6F-5AF6-4053-88D8-CEE233DC5B68}"/>
              </a:ext>
            </a:extLst>
          </p:cNvPr>
          <p:cNvSpPr>
            <a:spLocks/>
          </p:cNvSpPr>
          <p:nvPr/>
        </p:nvSpPr>
        <p:spPr>
          <a:xfrm>
            <a:off x="3634296" y="5445174"/>
            <a:ext cx="88365" cy="88365"/>
          </a:xfrm>
          <a:prstGeom prst="ellipse">
            <a:avLst/>
          </a:prstGeom>
          <a:solidFill>
            <a:srgbClr val="1974A6"/>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86" name="Oval 785">
            <a:extLst>
              <a:ext uri="{FF2B5EF4-FFF2-40B4-BE49-F238E27FC236}">
                <a16:creationId xmlns:a16="http://schemas.microsoft.com/office/drawing/2014/main" id="{3A07165F-27BC-4920-93AA-80F5929CCA6B}"/>
              </a:ext>
            </a:extLst>
          </p:cNvPr>
          <p:cNvSpPr>
            <a:spLocks/>
          </p:cNvSpPr>
          <p:nvPr/>
        </p:nvSpPr>
        <p:spPr>
          <a:xfrm>
            <a:off x="3646110" y="5458317"/>
            <a:ext cx="88365" cy="88365"/>
          </a:xfrm>
          <a:prstGeom prst="ellipse">
            <a:avLst/>
          </a:prstGeom>
          <a:solidFill>
            <a:srgbClr val="1974A6"/>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87" name="Oval 786">
            <a:extLst>
              <a:ext uri="{FF2B5EF4-FFF2-40B4-BE49-F238E27FC236}">
                <a16:creationId xmlns:a16="http://schemas.microsoft.com/office/drawing/2014/main" id="{80EB20E8-DB76-44E6-9071-D335D85F308E}"/>
              </a:ext>
            </a:extLst>
          </p:cNvPr>
          <p:cNvSpPr>
            <a:spLocks/>
          </p:cNvSpPr>
          <p:nvPr/>
        </p:nvSpPr>
        <p:spPr>
          <a:xfrm>
            <a:off x="3602489" y="5464223"/>
            <a:ext cx="88365" cy="88365"/>
          </a:xfrm>
          <a:prstGeom prst="ellipse">
            <a:avLst/>
          </a:prstGeom>
          <a:solidFill>
            <a:srgbClr val="1974A6"/>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88" name="Oval 787">
            <a:extLst>
              <a:ext uri="{FF2B5EF4-FFF2-40B4-BE49-F238E27FC236}">
                <a16:creationId xmlns:a16="http://schemas.microsoft.com/office/drawing/2014/main" id="{642BFC70-E80E-4A63-A1C4-70C302DAF8F4}"/>
              </a:ext>
            </a:extLst>
          </p:cNvPr>
          <p:cNvSpPr>
            <a:spLocks/>
          </p:cNvSpPr>
          <p:nvPr/>
        </p:nvSpPr>
        <p:spPr>
          <a:xfrm>
            <a:off x="3471433" y="5420903"/>
            <a:ext cx="88365" cy="88365"/>
          </a:xfrm>
          <a:prstGeom prst="ellipse">
            <a:avLst/>
          </a:prstGeom>
          <a:solidFill>
            <a:srgbClr val="1974A6"/>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89" name="Oval 788">
            <a:extLst>
              <a:ext uri="{FF2B5EF4-FFF2-40B4-BE49-F238E27FC236}">
                <a16:creationId xmlns:a16="http://schemas.microsoft.com/office/drawing/2014/main" id="{8CD1943D-D413-4357-98F7-008A7088D0DF}"/>
              </a:ext>
            </a:extLst>
          </p:cNvPr>
          <p:cNvSpPr>
            <a:spLocks/>
          </p:cNvSpPr>
          <p:nvPr/>
        </p:nvSpPr>
        <p:spPr>
          <a:xfrm>
            <a:off x="3456779" y="5175259"/>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90" name="Oval 789">
            <a:extLst>
              <a:ext uri="{FF2B5EF4-FFF2-40B4-BE49-F238E27FC236}">
                <a16:creationId xmlns:a16="http://schemas.microsoft.com/office/drawing/2014/main" id="{D348C709-A131-40FC-801A-6698A6431CA2}"/>
              </a:ext>
            </a:extLst>
          </p:cNvPr>
          <p:cNvSpPr>
            <a:spLocks/>
          </p:cNvSpPr>
          <p:nvPr/>
        </p:nvSpPr>
        <p:spPr>
          <a:xfrm>
            <a:off x="3338744" y="5174635"/>
            <a:ext cx="88365" cy="88365"/>
          </a:xfrm>
          <a:prstGeom prst="ellipse">
            <a:avLst/>
          </a:prstGeom>
          <a:solidFill>
            <a:srgbClr val="0E436C"/>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91" name="Oval 790">
            <a:extLst>
              <a:ext uri="{FF2B5EF4-FFF2-40B4-BE49-F238E27FC236}">
                <a16:creationId xmlns:a16="http://schemas.microsoft.com/office/drawing/2014/main" id="{8AF738AE-9AB2-4901-9B56-4A1F524B78C8}"/>
              </a:ext>
            </a:extLst>
          </p:cNvPr>
          <p:cNvSpPr>
            <a:spLocks/>
          </p:cNvSpPr>
          <p:nvPr/>
        </p:nvSpPr>
        <p:spPr>
          <a:xfrm>
            <a:off x="3379058" y="5141785"/>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92" name="Oval 791">
            <a:extLst>
              <a:ext uri="{FF2B5EF4-FFF2-40B4-BE49-F238E27FC236}">
                <a16:creationId xmlns:a16="http://schemas.microsoft.com/office/drawing/2014/main" id="{20DEC5AE-4523-4DD6-B78F-6F39A024A935}"/>
              </a:ext>
            </a:extLst>
          </p:cNvPr>
          <p:cNvSpPr>
            <a:spLocks/>
          </p:cNvSpPr>
          <p:nvPr/>
        </p:nvSpPr>
        <p:spPr>
          <a:xfrm>
            <a:off x="3907551" y="4990845"/>
            <a:ext cx="88365" cy="88365"/>
          </a:xfrm>
          <a:prstGeom prst="ellipse">
            <a:avLst/>
          </a:prstGeom>
          <a:solidFill>
            <a:srgbClr val="1974A6"/>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93" name="Oval 792">
            <a:extLst>
              <a:ext uri="{FF2B5EF4-FFF2-40B4-BE49-F238E27FC236}">
                <a16:creationId xmlns:a16="http://schemas.microsoft.com/office/drawing/2014/main" id="{D60C1700-1234-4E08-93A1-5FC5ABB64699}"/>
              </a:ext>
            </a:extLst>
          </p:cNvPr>
          <p:cNvSpPr>
            <a:spLocks/>
          </p:cNvSpPr>
          <p:nvPr/>
        </p:nvSpPr>
        <p:spPr>
          <a:xfrm>
            <a:off x="3434596" y="5171899"/>
            <a:ext cx="88365" cy="88365"/>
          </a:xfrm>
          <a:prstGeom prst="ellipse">
            <a:avLst/>
          </a:prstGeom>
          <a:solidFill>
            <a:srgbClr val="1974A6"/>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94" name="Oval 793">
            <a:extLst>
              <a:ext uri="{FF2B5EF4-FFF2-40B4-BE49-F238E27FC236}">
                <a16:creationId xmlns:a16="http://schemas.microsoft.com/office/drawing/2014/main" id="{3DD1B233-BB21-478F-AF0D-11001D01ADE6}"/>
              </a:ext>
            </a:extLst>
          </p:cNvPr>
          <p:cNvSpPr>
            <a:spLocks/>
          </p:cNvSpPr>
          <p:nvPr/>
        </p:nvSpPr>
        <p:spPr>
          <a:xfrm>
            <a:off x="3345750" y="5079968"/>
            <a:ext cx="88365" cy="88365"/>
          </a:xfrm>
          <a:prstGeom prst="ellipse">
            <a:avLst/>
          </a:prstGeom>
          <a:solidFill>
            <a:srgbClr val="1974A6"/>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95" name="Oval 794">
            <a:extLst>
              <a:ext uri="{FF2B5EF4-FFF2-40B4-BE49-F238E27FC236}">
                <a16:creationId xmlns:a16="http://schemas.microsoft.com/office/drawing/2014/main" id="{5A76EE12-9BE5-49EF-BAC7-4BF52555DE10}"/>
              </a:ext>
            </a:extLst>
          </p:cNvPr>
          <p:cNvSpPr>
            <a:spLocks/>
          </p:cNvSpPr>
          <p:nvPr/>
        </p:nvSpPr>
        <p:spPr>
          <a:xfrm>
            <a:off x="3338744" y="5126158"/>
            <a:ext cx="88365" cy="88365"/>
          </a:xfrm>
          <a:prstGeom prst="ellipse">
            <a:avLst/>
          </a:prstGeom>
          <a:solidFill>
            <a:srgbClr val="0E436C"/>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96" name="Oval 795">
            <a:extLst>
              <a:ext uri="{FF2B5EF4-FFF2-40B4-BE49-F238E27FC236}">
                <a16:creationId xmlns:a16="http://schemas.microsoft.com/office/drawing/2014/main" id="{7F094686-BFD5-4608-B61F-1F38B8E085C8}"/>
              </a:ext>
            </a:extLst>
          </p:cNvPr>
          <p:cNvSpPr>
            <a:spLocks/>
          </p:cNvSpPr>
          <p:nvPr/>
        </p:nvSpPr>
        <p:spPr>
          <a:xfrm>
            <a:off x="3394173" y="5071067"/>
            <a:ext cx="88365" cy="88365"/>
          </a:xfrm>
          <a:prstGeom prst="ellipse">
            <a:avLst/>
          </a:prstGeom>
          <a:solidFill>
            <a:srgbClr val="0E436C"/>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97" name="Oval 796">
            <a:extLst>
              <a:ext uri="{FF2B5EF4-FFF2-40B4-BE49-F238E27FC236}">
                <a16:creationId xmlns:a16="http://schemas.microsoft.com/office/drawing/2014/main" id="{4B2B1A17-B6BE-4D47-8177-29F6AAF8E740}"/>
              </a:ext>
            </a:extLst>
          </p:cNvPr>
          <p:cNvSpPr>
            <a:spLocks/>
          </p:cNvSpPr>
          <p:nvPr/>
        </p:nvSpPr>
        <p:spPr>
          <a:xfrm>
            <a:off x="3392680" y="5132376"/>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98" name="Oval 797">
            <a:extLst>
              <a:ext uri="{FF2B5EF4-FFF2-40B4-BE49-F238E27FC236}">
                <a16:creationId xmlns:a16="http://schemas.microsoft.com/office/drawing/2014/main" id="{DE1298FB-FDA6-482E-8F09-C22B38A6F322}"/>
              </a:ext>
            </a:extLst>
          </p:cNvPr>
          <p:cNvSpPr>
            <a:spLocks/>
          </p:cNvSpPr>
          <p:nvPr/>
        </p:nvSpPr>
        <p:spPr>
          <a:xfrm>
            <a:off x="3442259" y="5071067"/>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99" name="Oval 798">
            <a:extLst>
              <a:ext uri="{FF2B5EF4-FFF2-40B4-BE49-F238E27FC236}">
                <a16:creationId xmlns:a16="http://schemas.microsoft.com/office/drawing/2014/main" id="{D158F6FA-D727-475F-8CD0-A4BB2CFB5055}"/>
              </a:ext>
            </a:extLst>
          </p:cNvPr>
          <p:cNvSpPr>
            <a:spLocks/>
          </p:cNvSpPr>
          <p:nvPr/>
        </p:nvSpPr>
        <p:spPr>
          <a:xfrm>
            <a:off x="3577875" y="5036625"/>
            <a:ext cx="88365" cy="88365"/>
          </a:xfrm>
          <a:prstGeom prst="ellipse">
            <a:avLst/>
          </a:prstGeom>
          <a:solidFill>
            <a:srgbClr val="0E436C"/>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800" name="Oval 799">
            <a:extLst>
              <a:ext uri="{FF2B5EF4-FFF2-40B4-BE49-F238E27FC236}">
                <a16:creationId xmlns:a16="http://schemas.microsoft.com/office/drawing/2014/main" id="{AB848C0F-56E8-40D8-9DC4-6683E92F2348}"/>
              </a:ext>
            </a:extLst>
          </p:cNvPr>
          <p:cNvSpPr>
            <a:spLocks/>
          </p:cNvSpPr>
          <p:nvPr/>
        </p:nvSpPr>
        <p:spPr>
          <a:xfrm>
            <a:off x="3568030" y="5074064"/>
            <a:ext cx="88365" cy="88365"/>
          </a:xfrm>
          <a:prstGeom prst="ellipse">
            <a:avLst/>
          </a:prstGeom>
          <a:solidFill>
            <a:srgbClr val="0E436C"/>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801" name="Oval 800">
            <a:extLst>
              <a:ext uri="{FF2B5EF4-FFF2-40B4-BE49-F238E27FC236}">
                <a16:creationId xmlns:a16="http://schemas.microsoft.com/office/drawing/2014/main" id="{7CEDD410-2B4E-44EE-9C9D-995BB53C7703}"/>
              </a:ext>
            </a:extLst>
          </p:cNvPr>
          <p:cNvSpPr>
            <a:spLocks/>
          </p:cNvSpPr>
          <p:nvPr/>
        </p:nvSpPr>
        <p:spPr>
          <a:xfrm>
            <a:off x="3526663" y="5066187"/>
            <a:ext cx="88365" cy="88365"/>
          </a:xfrm>
          <a:prstGeom prst="ellipse">
            <a:avLst/>
          </a:prstGeom>
          <a:solidFill>
            <a:srgbClr val="0E436C"/>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802" name="Oval 801">
            <a:extLst>
              <a:ext uri="{FF2B5EF4-FFF2-40B4-BE49-F238E27FC236}">
                <a16:creationId xmlns:a16="http://schemas.microsoft.com/office/drawing/2014/main" id="{001CA6E8-FFAA-4640-A2FC-07C1F16AEF9E}"/>
              </a:ext>
            </a:extLst>
          </p:cNvPr>
          <p:cNvSpPr>
            <a:spLocks/>
          </p:cNvSpPr>
          <p:nvPr/>
        </p:nvSpPr>
        <p:spPr>
          <a:xfrm>
            <a:off x="3538335" y="5013560"/>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803" name="Oval 802">
            <a:extLst>
              <a:ext uri="{FF2B5EF4-FFF2-40B4-BE49-F238E27FC236}">
                <a16:creationId xmlns:a16="http://schemas.microsoft.com/office/drawing/2014/main" id="{8C4D8521-7157-469C-90B8-3A29921B0460}"/>
              </a:ext>
            </a:extLst>
          </p:cNvPr>
          <p:cNvSpPr>
            <a:spLocks/>
          </p:cNvSpPr>
          <p:nvPr/>
        </p:nvSpPr>
        <p:spPr>
          <a:xfrm>
            <a:off x="3277926" y="5096622"/>
            <a:ext cx="88365" cy="88365"/>
          </a:xfrm>
          <a:prstGeom prst="ellipse">
            <a:avLst/>
          </a:prstGeom>
          <a:solidFill>
            <a:srgbClr val="0E436C"/>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804" name="Oval 803">
            <a:extLst>
              <a:ext uri="{FF2B5EF4-FFF2-40B4-BE49-F238E27FC236}">
                <a16:creationId xmlns:a16="http://schemas.microsoft.com/office/drawing/2014/main" id="{C7625E58-B3FF-482B-B2D2-40278E299505}"/>
              </a:ext>
            </a:extLst>
          </p:cNvPr>
          <p:cNvSpPr>
            <a:spLocks/>
          </p:cNvSpPr>
          <p:nvPr/>
        </p:nvSpPr>
        <p:spPr>
          <a:xfrm>
            <a:off x="4573752" y="1943840"/>
            <a:ext cx="88365" cy="88365"/>
          </a:xfrm>
          <a:prstGeom prst="ellipse">
            <a:avLst/>
          </a:prstGeom>
          <a:solidFill>
            <a:srgbClr val="1974A6"/>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805" name="Oval 804">
            <a:extLst>
              <a:ext uri="{FF2B5EF4-FFF2-40B4-BE49-F238E27FC236}">
                <a16:creationId xmlns:a16="http://schemas.microsoft.com/office/drawing/2014/main" id="{55FB92E4-5C42-40E2-B849-863DAF5FE1D7}"/>
              </a:ext>
            </a:extLst>
          </p:cNvPr>
          <p:cNvSpPr>
            <a:spLocks/>
          </p:cNvSpPr>
          <p:nvPr/>
        </p:nvSpPr>
        <p:spPr>
          <a:xfrm>
            <a:off x="4621677" y="1983222"/>
            <a:ext cx="88365" cy="88365"/>
          </a:xfrm>
          <a:prstGeom prst="ellipse">
            <a:avLst/>
          </a:prstGeom>
          <a:solidFill>
            <a:srgbClr val="1974A6"/>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806" name="Oval 805">
            <a:extLst>
              <a:ext uri="{FF2B5EF4-FFF2-40B4-BE49-F238E27FC236}">
                <a16:creationId xmlns:a16="http://schemas.microsoft.com/office/drawing/2014/main" id="{C7A7CCD7-B161-4401-A9DC-7CB2EB5EB042}"/>
              </a:ext>
            </a:extLst>
          </p:cNvPr>
          <p:cNvSpPr>
            <a:spLocks/>
          </p:cNvSpPr>
          <p:nvPr/>
        </p:nvSpPr>
        <p:spPr>
          <a:xfrm>
            <a:off x="4637429" y="1944024"/>
            <a:ext cx="88365" cy="88365"/>
          </a:xfrm>
          <a:prstGeom prst="ellipse">
            <a:avLst/>
          </a:prstGeom>
          <a:solidFill>
            <a:srgbClr val="0E436C"/>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807" name="Oval 806">
            <a:extLst>
              <a:ext uri="{FF2B5EF4-FFF2-40B4-BE49-F238E27FC236}">
                <a16:creationId xmlns:a16="http://schemas.microsoft.com/office/drawing/2014/main" id="{905D452D-A2CF-456D-ADF4-B369901E5A8A}"/>
              </a:ext>
            </a:extLst>
          </p:cNvPr>
          <p:cNvSpPr>
            <a:spLocks/>
          </p:cNvSpPr>
          <p:nvPr/>
        </p:nvSpPr>
        <p:spPr>
          <a:xfrm>
            <a:off x="4663060" y="1884952"/>
            <a:ext cx="88365" cy="88365"/>
          </a:xfrm>
          <a:prstGeom prst="ellipse">
            <a:avLst/>
          </a:prstGeom>
          <a:solidFill>
            <a:srgbClr val="0E436C"/>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808" name="Oval 807">
            <a:extLst>
              <a:ext uri="{FF2B5EF4-FFF2-40B4-BE49-F238E27FC236}">
                <a16:creationId xmlns:a16="http://schemas.microsoft.com/office/drawing/2014/main" id="{AE6D70C5-5D1E-440B-A398-48EB888E593C}"/>
              </a:ext>
            </a:extLst>
          </p:cNvPr>
          <p:cNvSpPr>
            <a:spLocks/>
          </p:cNvSpPr>
          <p:nvPr/>
        </p:nvSpPr>
        <p:spPr>
          <a:xfrm>
            <a:off x="4569059" y="1880190"/>
            <a:ext cx="88365" cy="88365"/>
          </a:xfrm>
          <a:prstGeom prst="ellipse">
            <a:avLst/>
          </a:prstGeom>
          <a:solidFill>
            <a:schemeClr val="accent5">
              <a:lumMod val="20000"/>
              <a:lumOff val="80000"/>
            </a:schemeClr>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809" name="Oval 808">
            <a:extLst>
              <a:ext uri="{FF2B5EF4-FFF2-40B4-BE49-F238E27FC236}">
                <a16:creationId xmlns:a16="http://schemas.microsoft.com/office/drawing/2014/main" id="{15803F78-C99C-4CF6-81B2-6214CC8537FB}"/>
              </a:ext>
            </a:extLst>
          </p:cNvPr>
          <p:cNvSpPr>
            <a:spLocks/>
          </p:cNvSpPr>
          <p:nvPr/>
        </p:nvSpPr>
        <p:spPr>
          <a:xfrm>
            <a:off x="4606639" y="1917412"/>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810" name="Oval 809">
            <a:extLst>
              <a:ext uri="{FF2B5EF4-FFF2-40B4-BE49-F238E27FC236}">
                <a16:creationId xmlns:a16="http://schemas.microsoft.com/office/drawing/2014/main" id="{9FDFCBEE-3DE0-43B1-8FE2-7F987B4A5594}"/>
              </a:ext>
            </a:extLst>
          </p:cNvPr>
          <p:cNvSpPr>
            <a:spLocks/>
          </p:cNvSpPr>
          <p:nvPr/>
        </p:nvSpPr>
        <p:spPr>
          <a:xfrm>
            <a:off x="4634213" y="1881968"/>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811" name="Oval 810">
            <a:extLst>
              <a:ext uri="{FF2B5EF4-FFF2-40B4-BE49-F238E27FC236}">
                <a16:creationId xmlns:a16="http://schemas.microsoft.com/office/drawing/2014/main" id="{5BA2128E-2B69-4C6A-85D9-17040C3E8408}"/>
              </a:ext>
            </a:extLst>
          </p:cNvPr>
          <p:cNvSpPr>
            <a:spLocks/>
          </p:cNvSpPr>
          <p:nvPr/>
        </p:nvSpPr>
        <p:spPr>
          <a:xfrm>
            <a:off x="4634213" y="1862468"/>
            <a:ext cx="88365" cy="88365"/>
          </a:xfrm>
          <a:prstGeom prst="ellipse">
            <a:avLst/>
          </a:prstGeom>
          <a:solidFill>
            <a:srgbClr val="34A1DB"/>
          </a:solidFill>
          <a:ln w="31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4" name="Rectangle 13">
            <a:extLst>
              <a:ext uri="{FF2B5EF4-FFF2-40B4-BE49-F238E27FC236}">
                <a16:creationId xmlns:a16="http://schemas.microsoft.com/office/drawing/2014/main" id="{84219CAE-DFF0-4272-9AE9-D444FF75501F}"/>
              </a:ext>
            </a:extLst>
          </p:cNvPr>
          <p:cNvSpPr/>
          <p:nvPr/>
        </p:nvSpPr>
        <p:spPr>
          <a:xfrm>
            <a:off x="6040380" y="1375039"/>
            <a:ext cx="1482084" cy="792283"/>
          </a:xfrm>
          <a:prstGeom prst="rect">
            <a:avLst/>
          </a:prstGeom>
          <a:no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9" name="Oval 8">
            <a:extLst>
              <a:ext uri="{FF2B5EF4-FFF2-40B4-BE49-F238E27FC236}">
                <a16:creationId xmlns:a16="http://schemas.microsoft.com/office/drawing/2014/main" id="{31018F87-7439-498F-94D5-DFF5D49A02C9}"/>
              </a:ext>
            </a:extLst>
          </p:cNvPr>
          <p:cNvSpPr/>
          <p:nvPr/>
        </p:nvSpPr>
        <p:spPr>
          <a:xfrm>
            <a:off x="6178984" y="1859076"/>
            <a:ext cx="119868" cy="120017"/>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2" name="TextBox 11">
            <a:extLst>
              <a:ext uri="{FF2B5EF4-FFF2-40B4-BE49-F238E27FC236}">
                <a16:creationId xmlns:a16="http://schemas.microsoft.com/office/drawing/2014/main" id="{CBBC182A-F1E0-44A2-967E-B328F70CE93A}"/>
              </a:ext>
            </a:extLst>
          </p:cNvPr>
          <p:cNvSpPr txBox="1"/>
          <p:nvPr/>
        </p:nvSpPr>
        <p:spPr>
          <a:xfrm>
            <a:off x="6424757" y="1826751"/>
            <a:ext cx="187103" cy="184666"/>
          </a:xfrm>
          <a:prstGeom prst="rect">
            <a:avLst/>
          </a:prstGeom>
        </p:spPr>
        <p:txBody>
          <a:bodyPr vert="horz" wrap="none" lIns="0" tIns="0" rIns="0" bIns="0" rtlCol="0" anchor="t" anchorCtr="0">
            <a:sp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2000"/>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sz="160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sz="160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sz="160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nl-NL" sz="1200"/>
              <a:t>VO</a:t>
            </a:r>
            <a:endParaRPr lang="en-US" sz="1200" b="1"/>
          </a:p>
        </p:txBody>
      </p:sp>
      <p:sp>
        <p:nvSpPr>
          <p:cNvPr id="8" name="Oval 7">
            <a:extLst>
              <a:ext uri="{FF2B5EF4-FFF2-40B4-BE49-F238E27FC236}">
                <a16:creationId xmlns:a16="http://schemas.microsoft.com/office/drawing/2014/main" id="{85EBF00B-94BD-45EA-9858-155A8074626B}"/>
              </a:ext>
            </a:extLst>
          </p:cNvPr>
          <p:cNvSpPr/>
          <p:nvPr/>
        </p:nvSpPr>
        <p:spPr>
          <a:xfrm>
            <a:off x="6178984" y="1563269"/>
            <a:ext cx="119868" cy="120017"/>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1" name="TextBox 10">
            <a:extLst>
              <a:ext uri="{FF2B5EF4-FFF2-40B4-BE49-F238E27FC236}">
                <a16:creationId xmlns:a16="http://schemas.microsoft.com/office/drawing/2014/main" id="{BE48BD87-BB98-41C9-950A-0287AFB21BDF}"/>
              </a:ext>
            </a:extLst>
          </p:cNvPr>
          <p:cNvSpPr txBox="1"/>
          <p:nvPr/>
        </p:nvSpPr>
        <p:spPr>
          <a:xfrm>
            <a:off x="6424757" y="1530944"/>
            <a:ext cx="182742" cy="184666"/>
          </a:xfrm>
          <a:prstGeom prst="rect">
            <a:avLst/>
          </a:prstGeom>
        </p:spPr>
        <p:txBody>
          <a:bodyPr vert="horz" wrap="none" lIns="0" tIns="0" rIns="0" bIns="0" rtlCol="0" anchor="t" anchorCtr="0">
            <a:sp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2000"/>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sz="160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sz="160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sz="160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nl-NL" sz="1200"/>
              <a:t>PO</a:t>
            </a:r>
            <a:endParaRPr lang="en-US" sz="1200" b="1"/>
          </a:p>
        </p:txBody>
      </p:sp>
      <p:sp>
        <p:nvSpPr>
          <p:cNvPr id="10" name="Oval 9">
            <a:extLst>
              <a:ext uri="{FF2B5EF4-FFF2-40B4-BE49-F238E27FC236}">
                <a16:creationId xmlns:a16="http://schemas.microsoft.com/office/drawing/2014/main" id="{4E60F477-C5A0-419B-98A3-8BE46FC4D936}"/>
              </a:ext>
            </a:extLst>
          </p:cNvPr>
          <p:cNvSpPr/>
          <p:nvPr/>
        </p:nvSpPr>
        <p:spPr>
          <a:xfrm>
            <a:off x="6820692" y="1563269"/>
            <a:ext cx="119868" cy="120017"/>
          </a:xfrm>
          <a:prstGeom prst="ellipse">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3" name="TextBox 12">
            <a:extLst>
              <a:ext uri="{FF2B5EF4-FFF2-40B4-BE49-F238E27FC236}">
                <a16:creationId xmlns:a16="http://schemas.microsoft.com/office/drawing/2014/main" id="{4B1A35FA-E025-49DA-9A70-084E7BFE50C7}"/>
              </a:ext>
            </a:extLst>
          </p:cNvPr>
          <p:cNvSpPr txBox="1"/>
          <p:nvPr/>
        </p:nvSpPr>
        <p:spPr>
          <a:xfrm>
            <a:off x="7066465" y="1530944"/>
            <a:ext cx="317395" cy="184666"/>
          </a:xfrm>
          <a:prstGeom prst="rect">
            <a:avLst/>
          </a:prstGeom>
        </p:spPr>
        <p:txBody>
          <a:bodyPr vert="horz" wrap="none" lIns="0" tIns="0" rIns="0" bIns="0" rtlCol="0" anchor="t" anchorCtr="0">
            <a:sp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2000"/>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sz="160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sz="160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sz="160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nl-NL" sz="1200"/>
              <a:t>MBO</a:t>
            </a:r>
            <a:endParaRPr lang="en-US" sz="1200" b="1"/>
          </a:p>
        </p:txBody>
      </p:sp>
      <p:sp>
        <p:nvSpPr>
          <p:cNvPr id="818" name="Oval 817">
            <a:extLst>
              <a:ext uri="{FF2B5EF4-FFF2-40B4-BE49-F238E27FC236}">
                <a16:creationId xmlns:a16="http://schemas.microsoft.com/office/drawing/2014/main" id="{7B10B62C-4A5F-45CB-84FD-3469BD63AFF5}"/>
              </a:ext>
            </a:extLst>
          </p:cNvPr>
          <p:cNvSpPr/>
          <p:nvPr/>
        </p:nvSpPr>
        <p:spPr>
          <a:xfrm>
            <a:off x="6820692" y="1859076"/>
            <a:ext cx="119868" cy="120017"/>
          </a:xfrm>
          <a:prstGeom prst="ellipse">
            <a:avLst/>
          </a:prstGeom>
          <a:solidFill>
            <a:schemeClr val="accent5">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819" name="TextBox 818">
            <a:extLst>
              <a:ext uri="{FF2B5EF4-FFF2-40B4-BE49-F238E27FC236}">
                <a16:creationId xmlns:a16="http://schemas.microsoft.com/office/drawing/2014/main" id="{EC90069B-3330-420F-BE30-23E4DA394046}"/>
              </a:ext>
            </a:extLst>
          </p:cNvPr>
          <p:cNvSpPr txBox="1"/>
          <p:nvPr/>
        </p:nvSpPr>
        <p:spPr>
          <a:xfrm>
            <a:off x="7066465" y="1826751"/>
            <a:ext cx="282129" cy="184666"/>
          </a:xfrm>
          <a:prstGeom prst="rect">
            <a:avLst/>
          </a:prstGeom>
        </p:spPr>
        <p:txBody>
          <a:bodyPr vert="horz" wrap="none" lIns="0" tIns="0" rIns="0" bIns="0" rtlCol="0" anchor="t" anchorCtr="0">
            <a:sp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2000"/>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sz="160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sz="160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sz="160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nl-NL" sz="1200"/>
              <a:t>HBO</a:t>
            </a:r>
          </a:p>
        </p:txBody>
      </p:sp>
      <p:pic>
        <p:nvPicPr>
          <p:cNvPr id="4" name="Afbeelding 3">
            <a:extLst>
              <a:ext uri="{FF2B5EF4-FFF2-40B4-BE49-F238E27FC236}">
                <a16:creationId xmlns:a16="http://schemas.microsoft.com/office/drawing/2014/main" id="{33759EDF-76A9-48B4-9F89-B9F610E6B194}"/>
              </a:ext>
            </a:extLst>
          </p:cNvPr>
          <p:cNvPicPr>
            <a:picLocks noChangeAspect="1"/>
          </p:cNvPicPr>
          <p:nvPr/>
        </p:nvPicPr>
        <p:blipFill>
          <a:blip r:embed="rId8"/>
          <a:stretch>
            <a:fillRect/>
          </a:stretch>
        </p:blipFill>
        <p:spPr>
          <a:xfrm>
            <a:off x="8190232" y="4446903"/>
            <a:ext cx="3633307" cy="464311"/>
          </a:xfrm>
          <a:prstGeom prst="rect">
            <a:avLst/>
          </a:prstGeom>
        </p:spPr>
      </p:pic>
      <p:pic>
        <p:nvPicPr>
          <p:cNvPr id="7" name="Afbeelding 6">
            <a:extLst>
              <a:ext uri="{FF2B5EF4-FFF2-40B4-BE49-F238E27FC236}">
                <a16:creationId xmlns:a16="http://schemas.microsoft.com/office/drawing/2014/main" id="{D6AE1A7E-EBE6-4564-BA78-9977161FF004}"/>
              </a:ext>
            </a:extLst>
          </p:cNvPr>
          <p:cNvPicPr>
            <a:picLocks noChangeAspect="1"/>
          </p:cNvPicPr>
          <p:nvPr/>
        </p:nvPicPr>
        <p:blipFill>
          <a:blip r:embed="rId9"/>
          <a:stretch>
            <a:fillRect/>
          </a:stretch>
        </p:blipFill>
        <p:spPr>
          <a:xfrm>
            <a:off x="8190232" y="5665472"/>
            <a:ext cx="3633307" cy="532329"/>
          </a:xfrm>
          <a:prstGeom prst="rect">
            <a:avLst/>
          </a:prstGeom>
        </p:spPr>
      </p:pic>
      <p:pic>
        <p:nvPicPr>
          <p:cNvPr id="18" name="Afbeelding 17">
            <a:extLst>
              <a:ext uri="{FF2B5EF4-FFF2-40B4-BE49-F238E27FC236}">
                <a16:creationId xmlns:a16="http://schemas.microsoft.com/office/drawing/2014/main" id="{E41501A1-3C50-4070-B1DA-DF681BD6B541}"/>
              </a:ext>
            </a:extLst>
          </p:cNvPr>
          <p:cNvPicPr>
            <a:picLocks noChangeAspect="1"/>
          </p:cNvPicPr>
          <p:nvPr/>
        </p:nvPicPr>
        <p:blipFill rotWithShape="1">
          <a:blip r:embed="rId10"/>
          <a:srcRect b="15202"/>
          <a:stretch/>
        </p:blipFill>
        <p:spPr>
          <a:xfrm>
            <a:off x="8190232" y="5033053"/>
            <a:ext cx="3633307" cy="516860"/>
          </a:xfrm>
          <a:prstGeom prst="rect">
            <a:avLst/>
          </a:prstGeom>
        </p:spPr>
      </p:pic>
    </p:spTree>
    <p:extLst>
      <p:ext uri="{BB962C8B-B14F-4D97-AF65-F5344CB8AC3E}">
        <p14:creationId xmlns:p14="http://schemas.microsoft.com/office/powerpoint/2010/main" val="257396774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fgeronde rechthoek 2">
            <a:extLst>
              <a:ext uri="{FF2B5EF4-FFF2-40B4-BE49-F238E27FC236}">
                <a16:creationId xmlns:a16="http://schemas.microsoft.com/office/drawing/2014/main" id="{18B4E1BC-927C-D544-8535-8BA02973DA1F}"/>
              </a:ext>
            </a:extLst>
          </p:cNvPr>
          <p:cNvSpPr>
            <a:spLocks noChangeAspect="1"/>
          </p:cNvSpPr>
          <p:nvPr/>
        </p:nvSpPr>
        <p:spPr>
          <a:xfrm>
            <a:off x="3210420" y="341445"/>
            <a:ext cx="5771160" cy="6175110"/>
          </a:xfrm>
          <a:prstGeom prst="roundRect">
            <a:avLst/>
          </a:prstGeom>
          <a:solidFill>
            <a:schemeClr val="bg1"/>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defTabSz="457189">
              <a:defRPr/>
            </a:pPr>
            <a:r>
              <a:rPr lang="nl-NL" sz="2667" b="1">
                <a:solidFill>
                  <a:srgbClr val="000000"/>
                </a:solidFill>
                <a:latin typeface="Arial"/>
                <a:cs typeface="Arial"/>
              </a:rPr>
              <a:t>Wat maakt werken aan een verbetercultuur ingewikkeld?</a:t>
            </a:r>
          </a:p>
          <a:p>
            <a:pPr defTabSz="457189">
              <a:defRPr/>
            </a:pPr>
            <a:endParaRPr lang="nl-NL" sz="2667">
              <a:solidFill>
                <a:srgbClr val="000000"/>
              </a:solidFill>
              <a:latin typeface="Arial"/>
              <a:cs typeface="Arial"/>
            </a:endParaRPr>
          </a:p>
          <a:p>
            <a:pPr marL="514350" indent="-514350" defTabSz="457189">
              <a:buAutoNum type="arabicPeriod"/>
              <a:defRPr/>
            </a:pPr>
            <a:r>
              <a:rPr lang="nl-NL" sz="2667">
                <a:solidFill>
                  <a:srgbClr val="000000"/>
                </a:solidFill>
                <a:latin typeface="Arial"/>
                <a:cs typeface="Arial"/>
              </a:rPr>
              <a:t>Tijd voor leraren</a:t>
            </a:r>
          </a:p>
          <a:p>
            <a:pPr marL="514350" indent="-514350" defTabSz="457189">
              <a:buAutoNum type="arabicPeriod"/>
              <a:defRPr/>
            </a:pPr>
            <a:r>
              <a:rPr lang="nl-NL" sz="2667">
                <a:solidFill>
                  <a:srgbClr val="000000"/>
                </a:solidFill>
                <a:latin typeface="Arial"/>
                <a:cs typeface="Arial"/>
              </a:rPr>
              <a:t>Draagvlak in het team</a:t>
            </a:r>
          </a:p>
          <a:p>
            <a:pPr marL="514350" indent="-514350" defTabSz="457189">
              <a:buAutoNum type="arabicPeriod"/>
              <a:defRPr/>
            </a:pPr>
            <a:r>
              <a:rPr lang="nl-NL" sz="2667">
                <a:solidFill>
                  <a:srgbClr val="000000"/>
                </a:solidFill>
                <a:latin typeface="Arial"/>
                <a:cs typeface="Arial"/>
              </a:rPr>
              <a:t>Coach-vaardigheden</a:t>
            </a:r>
          </a:p>
          <a:p>
            <a:pPr marL="514350" indent="-514350" defTabSz="457189">
              <a:buAutoNum type="arabicPeriod"/>
              <a:defRPr/>
            </a:pPr>
            <a:r>
              <a:rPr lang="nl-NL" sz="2667">
                <a:solidFill>
                  <a:srgbClr val="000000"/>
                </a:solidFill>
                <a:latin typeface="Arial"/>
                <a:cs typeface="Arial"/>
              </a:rPr>
              <a:t>Externe begeleiding</a:t>
            </a:r>
          </a:p>
          <a:p>
            <a:pPr marL="514350" indent="-514350" defTabSz="457189">
              <a:buAutoNum type="arabicPeriod"/>
              <a:defRPr/>
            </a:pPr>
            <a:r>
              <a:rPr lang="nl-NL" sz="2667">
                <a:solidFill>
                  <a:srgbClr val="000000"/>
                </a:solidFill>
                <a:latin typeface="Arial"/>
                <a:cs typeface="Arial"/>
              </a:rPr>
              <a:t>Ambitie van het team</a:t>
            </a:r>
          </a:p>
          <a:p>
            <a:pPr marL="514350" indent="-514350" defTabSz="457189">
              <a:buAutoNum type="arabicPeriod"/>
              <a:defRPr/>
            </a:pPr>
            <a:r>
              <a:rPr lang="nl-NL" sz="2667">
                <a:solidFill>
                  <a:srgbClr val="000000"/>
                </a:solidFill>
                <a:latin typeface="Arial"/>
                <a:cs typeface="Arial"/>
              </a:rPr>
              <a:t>Betrokkenheid schoolleider</a:t>
            </a:r>
          </a:p>
          <a:p>
            <a:pPr marL="514350" indent="-514350" defTabSz="457189">
              <a:buAutoNum type="arabicPeriod"/>
              <a:defRPr/>
            </a:pPr>
            <a:r>
              <a:rPr lang="nl-NL" sz="2667">
                <a:solidFill>
                  <a:srgbClr val="000000"/>
                </a:solidFill>
                <a:latin typeface="Arial"/>
                <a:cs typeface="Arial"/>
              </a:rPr>
              <a:t>Organisatiestructuur</a:t>
            </a:r>
          </a:p>
          <a:p>
            <a:pPr marL="514350" indent="-514350" defTabSz="457189">
              <a:buAutoNum type="arabicPeriod"/>
              <a:defRPr/>
            </a:pPr>
            <a:r>
              <a:rPr lang="nl-NL" sz="2667">
                <a:solidFill>
                  <a:srgbClr val="000000"/>
                </a:solidFill>
                <a:latin typeface="Arial"/>
                <a:cs typeface="Arial"/>
              </a:rPr>
              <a:t>Doorzettingsvermogen</a:t>
            </a:r>
          </a:p>
          <a:p>
            <a:pPr defTabSz="457189">
              <a:defRPr/>
            </a:pPr>
            <a:endParaRPr lang="nl-NL" sz="2667" i="1">
              <a:solidFill>
                <a:srgbClr val="000000"/>
              </a:solidFill>
              <a:latin typeface="Arial"/>
              <a:cs typeface="Arial"/>
            </a:endParaRPr>
          </a:p>
          <a:p>
            <a:pPr defTabSz="457189">
              <a:defRPr/>
            </a:pPr>
            <a:r>
              <a:rPr lang="nl-NL" sz="2667" i="1">
                <a:solidFill>
                  <a:srgbClr val="000000"/>
                </a:solidFill>
                <a:latin typeface="Arial"/>
                <a:cs typeface="Arial"/>
              </a:rPr>
              <a:t>Maak je keuze in de poll</a:t>
            </a:r>
          </a:p>
        </p:txBody>
      </p:sp>
      <p:sp>
        <p:nvSpPr>
          <p:cNvPr id="5" name="Google Shape;160;p29">
            <a:extLst>
              <a:ext uri="{FF2B5EF4-FFF2-40B4-BE49-F238E27FC236}">
                <a16:creationId xmlns:a16="http://schemas.microsoft.com/office/drawing/2014/main" id="{2236B081-6862-41F6-A798-CC20EA42D38D}"/>
              </a:ext>
            </a:extLst>
          </p:cNvPr>
          <p:cNvSpPr txBox="1">
            <a:spLocks/>
          </p:cNvSpPr>
          <p:nvPr/>
        </p:nvSpPr>
        <p:spPr>
          <a:xfrm>
            <a:off x="-99835" y="449245"/>
            <a:ext cx="10681200" cy="215600"/>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L="0" indent="0">
              <a:buSzPts val="1400"/>
              <a:buNone/>
              <a:defRPr b="1">
                <a:solidFill>
                  <a:schemeClr val="dk1"/>
                </a:solidFill>
              </a:defRPr>
            </a:lvl1pPr>
            <a:lvl2pPr>
              <a:buSzPts val="1400"/>
              <a:buNone/>
              <a:defRPr sz="1900" b="1">
                <a:solidFill>
                  <a:schemeClr val="dk2"/>
                </a:solidFill>
              </a:defRPr>
            </a:lvl2pPr>
            <a:lvl3pPr>
              <a:buSzPts val="1400"/>
              <a:buNone/>
              <a:defRPr sz="1900" b="1">
                <a:solidFill>
                  <a:schemeClr val="dk2"/>
                </a:solidFill>
              </a:defRPr>
            </a:lvl3pPr>
            <a:lvl4pPr>
              <a:buSzPts val="1400"/>
              <a:buNone/>
              <a:defRPr sz="1900" b="1">
                <a:solidFill>
                  <a:schemeClr val="dk2"/>
                </a:solidFill>
              </a:defRPr>
            </a:lvl4pPr>
            <a:lvl5pPr>
              <a:buSzPts val="1400"/>
              <a:buNone/>
              <a:defRPr sz="1900" b="1">
                <a:solidFill>
                  <a:schemeClr val="dk2"/>
                </a:solidFill>
              </a:defRPr>
            </a:lvl5pPr>
            <a:lvl6pPr>
              <a:buSzPts val="1400"/>
              <a:buNone/>
              <a:defRPr sz="1900" b="1">
                <a:solidFill>
                  <a:schemeClr val="dk2"/>
                </a:solidFill>
              </a:defRPr>
            </a:lvl6pPr>
            <a:lvl7pPr>
              <a:buSzPts val="1400"/>
              <a:buNone/>
              <a:defRPr sz="1900" b="1">
                <a:solidFill>
                  <a:schemeClr val="dk2"/>
                </a:solidFill>
              </a:defRPr>
            </a:lvl7pPr>
            <a:lvl8pPr>
              <a:buSzPts val="1400"/>
              <a:buNone/>
              <a:defRPr sz="1900" b="1">
                <a:solidFill>
                  <a:schemeClr val="dk2"/>
                </a:solidFill>
              </a:defRPr>
            </a:lvl8pPr>
            <a:lvl9pPr>
              <a:buSzPts val="1400"/>
              <a:buNone/>
              <a:defRPr sz="1900" b="1">
                <a:solidFill>
                  <a:schemeClr val="dk2"/>
                </a:solidFill>
              </a:defRPr>
            </a:lvl9pPr>
          </a:lstStyle>
          <a:p>
            <a:endParaRPr lang="nl-NL" sz="2400"/>
          </a:p>
        </p:txBody>
      </p:sp>
    </p:spTree>
    <p:extLst>
      <p:ext uri="{BB962C8B-B14F-4D97-AF65-F5344CB8AC3E}">
        <p14:creationId xmlns:p14="http://schemas.microsoft.com/office/powerpoint/2010/main" val="228556028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2" hidden="1">
            <a:extLst>
              <a:ext uri="{FF2B5EF4-FFF2-40B4-BE49-F238E27FC236}">
                <a16:creationId xmlns:a16="http://schemas.microsoft.com/office/drawing/2014/main" id="{5B485DF3-439B-4963-BDFE-AC5558171C9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299" name="think-cell Slide" r:id="rId11" imgW="395" imgH="394" progId="TCLayout.ActiveDocument.1">
                  <p:embed/>
                </p:oleObj>
              </mc:Choice>
              <mc:Fallback>
                <p:oleObj name="think-cell Slide" r:id="rId11" imgW="395" imgH="394" progId="TCLayout.ActiveDocument.1">
                  <p:embed/>
                  <p:pic>
                    <p:nvPicPr>
                      <p:cNvPr id="6" name="Object 2" hidden="1">
                        <a:extLst>
                          <a:ext uri="{FF2B5EF4-FFF2-40B4-BE49-F238E27FC236}">
                            <a16:creationId xmlns:a16="http://schemas.microsoft.com/office/drawing/2014/main" id="{5B485DF3-439B-4963-BDFE-AC5558171C93}"/>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7" name="Rectangle 1" hidden="1">
            <a:extLst>
              <a:ext uri="{FF2B5EF4-FFF2-40B4-BE49-F238E27FC236}">
                <a16:creationId xmlns:a16="http://schemas.microsoft.com/office/drawing/2014/main" id="{1A14C10C-48E3-4FBF-89B6-5DDA2F098BB7}"/>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err="1">
              <a:solidFill>
                <a:schemeClr val="bg1"/>
              </a:solidFill>
              <a:latin typeface="Calibri" panose="020F0502020204030204" pitchFamily="34" charset="0"/>
              <a:ea typeface="+mj-ea"/>
              <a:cs typeface="+mj-cs"/>
              <a:sym typeface="Calibri" panose="020F0502020204030204" pitchFamily="34" charset="0"/>
            </a:endParaRPr>
          </a:p>
        </p:txBody>
      </p:sp>
      <p:sp>
        <p:nvSpPr>
          <p:cNvPr id="2" name="2. Slide Title">
            <a:extLst>
              <a:ext uri="{FF2B5EF4-FFF2-40B4-BE49-F238E27FC236}">
                <a16:creationId xmlns:a16="http://schemas.microsoft.com/office/drawing/2014/main" id="{779F8892-6158-4B73-B6C6-9C646BEAC748}"/>
              </a:ext>
            </a:extLst>
          </p:cNvPr>
          <p:cNvSpPr>
            <a:spLocks noGrp="1"/>
          </p:cNvSpPr>
          <p:nvPr>
            <p:ph type="title"/>
            <p:custDataLst>
              <p:tags r:id="rId4"/>
            </p:custDataLst>
          </p:nvPr>
        </p:nvSpPr>
        <p:spPr>
          <a:xfrm>
            <a:off x="554737" y="529171"/>
            <a:ext cx="11082528" cy="384721"/>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dirty="0"/>
              <a:t>Wat is </a:t>
            </a:r>
            <a:r>
              <a:rPr lang="en-US" dirty="0" err="1"/>
              <a:t>er</a:t>
            </a:r>
            <a:r>
              <a:rPr lang="en-US" dirty="0"/>
              <a:t> </a:t>
            </a:r>
            <a:r>
              <a:rPr lang="en-US" dirty="0" err="1"/>
              <a:t>voor</a:t>
            </a:r>
            <a:r>
              <a:rPr lang="en-US" dirty="0"/>
              <a:t> </a:t>
            </a:r>
            <a:r>
              <a:rPr lang="en-US" dirty="0" err="1"/>
              <a:t>nodig</a:t>
            </a:r>
            <a:r>
              <a:rPr lang="en-US" dirty="0"/>
              <a:t> om op school een </a:t>
            </a:r>
            <a:r>
              <a:rPr lang="en-US" dirty="0" err="1"/>
              <a:t>verbetercultuur</a:t>
            </a:r>
            <a:r>
              <a:rPr lang="en-US" dirty="0"/>
              <a:t> </a:t>
            </a:r>
            <a:r>
              <a:rPr lang="en-US" dirty="0" err="1"/>
              <a:t>te</a:t>
            </a:r>
            <a:r>
              <a:rPr lang="en-US" dirty="0"/>
              <a:t> </a:t>
            </a:r>
            <a:r>
              <a:rPr lang="en-US" dirty="0" err="1"/>
              <a:t>creëren</a:t>
            </a:r>
            <a:r>
              <a:rPr lang="en-US" dirty="0"/>
              <a:t>?</a:t>
            </a:r>
          </a:p>
        </p:txBody>
      </p:sp>
      <p:grpSp>
        <p:nvGrpSpPr>
          <p:cNvPr id="53" name="Group 27">
            <a:extLst>
              <a:ext uri="{FF2B5EF4-FFF2-40B4-BE49-F238E27FC236}">
                <a16:creationId xmlns:a16="http://schemas.microsoft.com/office/drawing/2014/main" id="{F34D20D2-F0E0-4579-8CD7-479384A09BD8}"/>
              </a:ext>
            </a:extLst>
          </p:cNvPr>
          <p:cNvGrpSpPr/>
          <p:nvPr/>
        </p:nvGrpSpPr>
        <p:grpSpPr>
          <a:xfrm>
            <a:off x="3501524" y="1435754"/>
            <a:ext cx="4440812" cy="4785894"/>
            <a:chOff x="1777799" y="1091865"/>
            <a:chExt cx="4440812" cy="4785894"/>
          </a:xfrm>
        </p:grpSpPr>
        <p:grpSp>
          <p:nvGrpSpPr>
            <p:cNvPr id="66" name="Group 28">
              <a:extLst>
                <a:ext uri="{FF2B5EF4-FFF2-40B4-BE49-F238E27FC236}">
                  <a16:creationId xmlns:a16="http://schemas.microsoft.com/office/drawing/2014/main" id="{D0555A14-6033-4BB2-8FB9-F17EB6DD93BE}"/>
                </a:ext>
              </a:extLst>
            </p:cNvPr>
            <p:cNvGrpSpPr/>
            <p:nvPr/>
          </p:nvGrpSpPr>
          <p:grpSpPr>
            <a:xfrm>
              <a:off x="1777799" y="1091865"/>
              <a:ext cx="4440812" cy="4785894"/>
              <a:chOff x="2195736" y="1035413"/>
              <a:chExt cx="3744417" cy="4785894"/>
            </a:xfrm>
          </p:grpSpPr>
          <p:sp>
            <p:nvSpPr>
              <p:cNvPr id="77" name="Rectangle 14">
                <a:extLst>
                  <a:ext uri="{FF2B5EF4-FFF2-40B4-BE49-F238E27FC236}">
                    <a16:creationId xmlns:a16="http://schemas.microsoft.com/office/drawing/2014/main" id="{AF630AA1-E09C-4FA6-B00A-17B22685A254}"/>
                  </a:ext>
                </a:extLst>
              </p:cNvPr>
              <p:cNvSpPr txBox="1"/>
              <p:nvPr>
                <p:custDataLst>
                  <p:tags r:id="rId6"/>
                </p:custDataLst>
              </p:nvPr>
            </p:nvSpPr>
            <p:spPr>
              <a:xfrm>
                <a:off x="4130935" y="1035413"/>
                <a:ext cx="1809218" cy="521208"/>
              </a:xfrm>
              <a:prstGeom prst="rect">
                <a:avLst/>
              </a:prstGeom>
              <a:solidFill>
                <a:srgbClr val="2E75B6"/>
              </a:solidFill>
              <a:ln w="9525">
                <a:noFill/>
                <a:miter lim="800000"/>
                <a:headEnd/>
                <a:tailEnd/>
              </a:ln>
              <a:effectLst>
                <a:outerShdw blurRad="50800" dist="38100" dir="2700000" algn="tl" rotWithShape="0">
                  <a:prstClr val="black">
                    <a:alpha val="40000"/>
                  </a:prstClr>
                </a:outerShdw>
              </a:effectLst>
            </p:spPr>
            <p:txBody>
              <a:bodyPr vert="horz" wrap="square" lIns="76200" tIns="76200" rIns="76200" bIns="76200" numCol="1" anchor="ctr" anchorCtr="0" compatLnSpc="1">
                <a:prstTxWarp prst="textNoShape">
                  <a:avLst/>
                </a:prstTxWarp>
                <a:noAutofit/>
              </a:bodyPr>
              <a:lstStyle>
                <a:lvl1pPr lvl="0" indent="0" defTabSz="913526" fontAlgn="base">
                  <a:spcBef>
                    <a:spcPct val="0"/>
                  </a:spcBef>
                  <a:spcAft>
                    <a:spcPct val="0"/>
                  </a:spcAft>
                  <a:buClr>
                    <a:schemeClr val="tx2"/>
                  </a:buClr>
                  <a:defRPr sz="1600"/>
                </a:lvl1pPr>
                <a:lvl2pPr marL="197607" lvl="1" indent="-195987" defTabSz="913526" fontAlgn="base">
                  <a:spcBef>
                    <a:spcPct val="0"/>
                  </a:spcBef>
                  <a:spcAft>
                    <a:spcPct val="0"/>
                  </a:spcAft>
                  <a:buClr>
                    <a:schemeClr val="tx2"/>
                  </a:buClr>
                  <a:buSzPct val="125000"/>
                  <a:buFont typeface="Arial" charset="0"/>
                  <a:buChar char="▪"/>
                  <a:defRPr sz="1600"/>
                </a:lvl2pPr>
                <a:lvl3pPr marL="466481" lvl="2" indent="-267255" defTabSz="913526" fontAlgn="base">
                  <a:spcBef>
                    <a:spcPct val="0"/>
                  </a:spcBef>
                  <a:spcAft>
                    <a:spcPct val="0"/>
                  </a:spcAft>
                  <a:buClr>
                    <a:schemeClr val="tx2"/>
                  </a:buClr>
                  <a:buSzPct val="120000"/>
                  <a:buFont typeface="Arial" charset="0"/>
                  <a:buChar char="–"/>
                  <a:defRPr sz="1600"/>
                </a:lvl3pPr>
                <a:lvl4pPr marL="626835" lvl="3" indent="-158733" defTabSz="913526" fontAlgn="base">
                  <a:spcBef>
                    <a:spcPct val="0"/>
                  </a:spcBef>
                  <a:spcAft>
                    <a:spcPct val="0"/>
                  </a:spcAft>
                  <a:buClr>
                    <a:schemeClr val="tx2"/>
                  </a:buClr>
                  <a:buSzPct val="120000"/>
                  <a:buFont typeface="Arial" charset="0"/>
                  <a:buChar char="▫"/>
                  <a:defRPr sz="1600"/>
                </a:lvl4pPr>
                <a:lvl5pPr marL="765029" lvl="4" indent="-132818" defTabSz="913526" fontAlgn="base">
                  <a:spcBef>
                    <a:spcPct val="0"/>
                  </a:spcBef>
                  <a:spcAft>
                    <a:spcPct val="0"/>
                  </a:spcAft>
                  <a:buClr>
                    <a:schemeClr val="tx2"/>
                  </a:buClr>
                  <a:buSzPct val="89000"/>
                  <a:buFont typeface="Arial" charset="0"/>
                  <a:buChar char="-"/>
                  <a:defRPr sz="1600"/>
                </a:lvl5pPr>
                <a:lvl6pPr marL="765029" indent="-132818" defTabSz="913526" fontAlgn="base">
                  <a:spcBef>
                    <a:spcPct val="0"/>
                  </a:spcBef>
                  <a:spcAft>
                    <a:spcPct val="0"/>
                  </a:spcAft>
                  <a:buClr>
                    <a:schemeClr val="tx2"/>
                  </a:buClr>
                  <a:buSzPct val="89000"/>
                  <a:buFont typeface="Arial" charset="0"/>
                  <a:buChar char="-"/>
                  <a:defRPr sz="1600"/>
                </a:lvl6pPr>
                <a:lvl7pPr marL="765029" indent="-132818" defTabSz="913526" fontAlgn="base">
                  <a:spcBef>
                    <a:spcPct val="0"/>
                  </a:spcBef>
                  <a:spcAft>
                    <a:spcPct val="0"/>
                  </a:spcAft>
                  <a:buClr>
                    <a:schemeClr val="tx2"/>
                  </a:buClr>
                  <a:buSzPct val="89000"/>
                  <a:buFont typeface="Arial" charset="0"/>
                  <a:buChar char="-"/>
                  <a:defRPr sz="1600"/>
                </a:lvl7pPr>
                <a:lvl8pPr marL="765029" indent="-132818" defTabSz="913526" fontAlgn="base">
                  <a:spcBef>
                    <a:spcPct val="0"/>
                  </a:spcBef>
                  <a:spcAft>
                    <a:spcPct val="0"/>
                  </a:spcAft>
                  <a:buClr>
                    <a:schemeClr val="tx2"/>
                  </a:buClr>
                  <a:buSzPct val="89000"/>
                  <a:buFont typeface="Arial" charset="0"/>
                  <a:buChar char="-"/>
                  <a:defRPr sz="1600"/>
                </a:lvl8pPr>
                <a:lvl9pPr marL="765029" indent="-132818" defTabSz="913526" fontAlgn="base">
                  <a:spcBef>
                    <a:spcPct val="0"/>
                  </a:spcBef>
                  <a:spcAft>
                    <a:spcPct val="0"/>
                  </a:spcAft>
                  <a:buClr>
                    <a:schemeClr val="tx2"/>
                  </a:buClr>
                  <a:buSzPct val="89000"/>
                  <a:buFont typeface="Arial" charset="0"/>
                  <a:buChar char="-"/>
                  <a:defRPr sz="1600"/>
                </a:lvl9pPr>
              </a:lstStyle>
              <a:p>
                <a:pPr algn="ctr"/>
                <a:r>
                  <a:rPr lang="nl-NL" sz="1200" b="1">
                    <a:solidFill>
                      <a:schemeClr val="bg1"/>
                    </a:solidFill>
                  </a:rPr>
                  <a:t>Rolmodel zijn</a:t>
                </a:r>
              </a:p>
            </p:txBody>
          </p:sp>
          <p:sp>
            <p:nvSpPr>
              <p:cNvPr id="78" name="Rectangle 14">
                <a:extLst>
                  <a:ext uri="{FF2B5EF4-FFF2-40B4-BE49-F238E27FC236}">
                    <a16:creationId xmlns:a16="http://schemas.microsoft.com/office/drawing/2014/main" id="{F4A9E86F-CD60-4D21-AF68-F4449552C026}"/>
                  </a:ext>
                </a:extLst>
              </p:cNvPr>
              <p:cNvSpPr txBox="1"/>
              <p:nvPr>
                <p:custDataLst>
                  <p:tags r:id="rId7"/>
                </p:custDataLst>
              </p:nvPr>
            </p:nvSpPr>
            <p:spPr>
              <a:xfrm>
                <a:off x="2195736" y="1035413"/>
                <a:ext cx="1797350" cy="521208"/>
              </a:xfrm>
              <a:prstGeom prst="rect">
                <a:avLst/>
              </a:prstGeom>
              <a:solidFill>
                <a:srgbClr val="2E75B6"/>
              </a:solidFill>
              <a:ln w="9525">
                <a:noFill/>
                <a:miter lim="800000"/>
                <a:headEnd/>
                <a:tailEnd/>
              </a:ln>
              <a:effectLst>
                <a:outerShdw blurRad="50800" dist="38100" dir="2700000" algn="tl" rotWithShape="0">
                  <a:prstClr val="black">
                    <a:alpha val="40000"/>
                  </a:prstClr>
                </a:outerShdw>
              </a:effectLst>
            </p:spPr>
            <p:txBody>
              <a:bodyPr vert="horz" wrap="square" lIns="76200" tIns="76200" rIns="76200" bIns="76200" numCol="1" anchor="ctr" anchorCtr="0" compatLnSpc="1">
                <a:prstTxWarp prst="textNoShape">
                  <a:avLst/>
                </a:prstTxWarp>
                <a:noAutofit/>
              </a:bodyPr>
              <a:lstStyle>
                <a:lvl1pPr lvl="0" indent="0" defTabSz="913526" fontAlgn="base">
                  <a:spcBef>
                    <a:spcPct val="0"/>
                  </a:spcBef>
                  <a:spcAft>
                    <a:spcPct val="0"/>
                  </a:spcAft>
                  <a:buClr>
                    <a:schemeClr val="tx2"/>
                  </a:buClr>
                  <a:defRPr sz="1600"/>
                </a:lvl1pPr>
                <a:lvl2pPr marL="197607" lvl="1" indent="-195987" defTabSz="913526" fontAlgn="base">
                  <a:spcBef>
                    <a:spcPct val="0"/>
                  </a:spcBef>
                  <a:spcAft>
                    <a:spcPct val="0"/>
                  </a:spcAft>
                  <a:buClr>
                    <a:schemeClr val="tx2"/>
                  </a:buClr>
                  <a:buSzPct val="125000"/>
                  <a:buFont typeface="Arial" charset="0"/>
                  <a:buChar char="▪"/>
                  <a:defRPr sz="1600"/>
                </a:lvl2pPr>
                <a:lvl3pPr marL="466481" lvl="2" indent="-267255" defTabSz="913526" fontAlgn="base">
                  <a:spcBef>
                    <a:spcPct val="0"/>
                  </a:spcBef>
                  <a:spcAft>
                    <a:spcPct val="0"/>
                  </a:spcAft>
                  <a:buClr>
                    <a:schemeClr val="tx2"/>
                  </a:buClr>
                  <a:buSzPct val="120000"/>
                  <a:buFont typeface="Arial" charset="0"/>
                  <a:buChar char="–"/>
                  <a:defRPr sz="1600"/>
                </a:lvl3pPr>
                <a:lvl4pPr marL="626835" lvl="3" indent="-158733" defTabSz="913526" fontAlgn="base">
                  <a:spcBef>
                    <a:spcPct val="0"/>
                  </a:spcBef>
                  <a:spcAft>
                    <a:spcPct val="0"/>
                  </a:spcAft>
                  <a:buClr>
                    <a:schemeClr val="tx2"/>
                  </a:buClr>
                  <a:buSzPct val="120000"/>
                  <a:buFont typeface="Arial" charset="0"/>
                  <a:buChar char="▫"/>
                  <a:defRPr sz="1600"/>
                </a:lvl4pPr>
                <a:lvl5pPr marL="765029" lvl="4" indent="-132818" defTabSz="913526" fontAlgn="base">
                  <a:spcBef>
                    <a:spcPct val="0"/>
                  </a:spcBef>
                  <a:spcAft>
                    <a:spcPct val="0"/>
                  </a:spcAft>
                  <a:buClr>
                    <a:schemeClr val="tx2"/>
                  </a:buClr>
                  <a:buSzPct val="89000"/>
                  <a:buFont typeface="Arial" charset="0"/>
                  <a:buChar char="-"/>
                  <a:defRPr sz="1600"/>
                </a:lvl5pPr>
                <a:lvl6pPr marL="765029" indent="-132818" defTabSz="913526" fontAlgn="base">
                  <a:spcBef>
                    <a:spcPct val="0"/>
                  </a:spcBef>
                  <a:spcAft>
                    <a:spcPct val="0"/>
                  </a:spcAft>
                  <a:buClr>
                    <a:schemeClr val="tx2"/>
                  </a:buClr>
                  <a:buSzPct val="89000"/>
                  <a:buFont typeface="Arial" charset="0"/>
                  <a:buChar char="-"/>
                  <a:defRPr sz="1600"/>
                </a:lvl6pPr>
                <a:lvl7pPr marL="765029" indent="-132818" defTabSz="913526" fontAlgn="base">
                  <a:spcBef>
                    <a:spcPct val="0"/>
                  </a:spcBef>
                  <a:spcAft>
                    <a:spcPct val="0"/>
                  </a:spcAft>
                  <a:buClr>
                    <a:schemeClr val="tx2"/>
                  </a:buClr>
                  <a:buSzPct val="89000"/>
                  <a:buFont typeface="Arial" charset="0"/>
                  <a:buChar char="-"/>
                  <a:defRPr sz="1600"/>
                </a:lvl7pPr>
                <a:lvl8pPr marL="765029" indent="-132818" defTabSz="913526" fontAlgn="base">
                  <a:spcBef>
                    <a:spcPct val="0"/>
                  </a:spcBef>
                  <a:spcAft>
                    <a:spcPct val="0"/>
                  </a:spcAft>
                  <a:buClr>
                    <a:schemeClr val="tx2"/>
                  </a:buClr>
                  <a:buSzPct val="89000"/>
                  <a:buFont typeface="Arial" charset="0"/>
                  <a:buChar char="-"/>
                  <a:defRPr sz="1600"/>
                </a:lvl8pPr>
                <a:lvl9pPr marL="765029" indent="-132818" defTabSz="913526" fontAlgn="base">
                  <a:spcBef>
                    <a:spcPct val="0"/>
                  </a:spcBef>
                  <a:spcAft>
                    <a:spcPct val="0"/>
                  </a:spcAft>
                  <a:buClr>
                    <a:schemeClr val="tx2"/>
                  </a:buClr>
                  <a:buSzPct val="89000"/>
                  <a:buFont typeface="Arial" charset="0"/>
                  <a:buChar char="-"/>
                  <a:defRPr sz="1600"/>
                </a:lvl9pPr>
              </a:lstStyle>
              <a:p>
                <a:pPr algn="ctr"/>
                <a:r>
                  <a:rPr lang="nl-NL" sz="1200" b="1">
                    <a:solidFill>
                      <a:schemeClr val="bg1"/>
                    </a:solidFill>
                  </a:rPr>
                  <a:t>Overtuiging creëren</a:t>
                </a:r>
              </a:p>
            </p:txBody>
          </p:sp>
          <p:grpSp>
            <p:nvGrpSpPr>
              <p:cNvPr id="79" name="Group 46">
                <a:extLst>
                  <a:ext uri="{FF2B5EF4-FFF2-40B4-BE49-F238E27FC236}">
                    <a16:creationId xmlns:a16="http://schemas.microsoft.com/office/drawing/2014/main" id="{ACB61C1A-0624-494E-A570-4033103AD7C7}"/>
                  </a:ext>
                </a:extLst>
              </p:cNvPr>
              <p:cNvGrpSpPr/>
              <p:nvPr/>
            </p:nvGrpSpPr>
            <p:grpSpPr>
              <a:xfrm>
                <a:off x="2195736" y="1556792"/>
                <a:ext cx="3744416" cy="3744416"/>
                <a:chOff x="2195736" y="1556792"/>
                <a:chExt cx="3744416" cy="3744416"/>
              </a:xfrm>
            </p:grpSpPr>
            <p:sp>
              <p:nvSpPr>
                <p:cNvPr id="83" name="Freeform 7">
                  <a:extLst>
                    <a:ext uri="{FF2B5EF4-FFF2-40B4-BE49-F238E27FC236}">
                      <a16:creationId xmlns:a16="http://schemas.microsoft.com/office/drawing/2014/main" id="{18619290-7482-4573-B3F5-3FF41E06472A}"/>
                    </a:ext>
                  </a:extLst>
                </p:cNvPr>
                <p:cNvSpPr>
                  <a:spLocks/>
                </p:cNvSpPr>
                <p:nvPr/>
              </p:nvSpPr>
              <p:spPr bwMode="auto">
                <a:xfrm flipH="1">
                  <a:off x="2195736" y="1556792"/>
                  <a:ext cx="2218012" cy="1788437"/>
                </a:xfrm>
                <a:custGeom>
                  <a:avLst/>
                  <a:gdLst>
                    <a:gd name="T0" fmla="*/ 816779 w 1027"/>
                    <a:gd name="T1" fmla="*/ 1015535 h 834"/>
                    <a:gd name="T2" fmla="*/ 815336 w 1027"/>
                    <a:gd name="T3" fmla="*/ 916134 h 834"/>
                    <a:gd name="T4" fmla="*/ 817982 w 1027"/>
                    <a:gd name="T5" fmla="*/ 913488 h 834"/>
                    <a:gd name="T6" fmla="*/ 832253 w 1027"/>
                    <a:gd name="T7" fmla="*/ 863659 h 834"/>
                    <a:gd name="T8" fmla="*/ 744152 w 1027"/>
                    <a:gd name="T9" fmla="*/ 772978 h 834"/>
                    <a:gd name="T10" fmla="*/ 655291 w 1027"/>
                    <a:gd name="T11" fmla="*/ 863659 h 834"/>
                    <a:gd name="T12" fmla="*/ 669926 w 1027"/>
                    <a:gd name="T13" fmla="*/ 913488 h 834"/>
                    <a:gd name="T14" fmla="*/ 672568 w 1027"/>
                    <a:gd name="T15" fmla="*/ 916134 h 834"/>
                    <a:gd name="T16" fmla="*/ 671209 w 1027"/>
                    <a:gd name="T17" fmla="*/ 1015535 h 834"/>
                    <a:gd name="T18" fmla="*/ 519137 w 1027"/>
                    <a:gd name="T19" fmla="*/ 1015535 h 834"/>
                    <a:gd name="T20" fmla="*/ 497540 w 1027"/>
                    <a:gd name="T21" fmla="*/ 1015535 h 834"/>
                    <a:gd name="T22" fmla="*/ 251886 w 1027"/>
                    <a:gd name="T23" fmla="*/ 1015535 h 834"/>
                    <a:gd name="T24" fmla="*/ 238598 w 1027"/>
                    <a:gd name="T25" fmla="*/ 1015535 h 834"/>
                    <a:gd name="T26" fmla="*/ 238598 w 1027"/>
                    <a:gd name="T27" fmla="*/ 596946 h 834"/>
                    <a:gd name="T28" fmla="*/ 238598 w 1027"/>
                    <a:gd name="T29" fmla="*/ 577209 h 834"/>
                    <a:gd name="T30" fmla="*/ 140177 w 1027"/>
                    <a:gd name="T31" fmla="*/ 577209 h 834"/>
                    <a:gd name="T32" fmla="*/ 139069 w 1027"/>
                    <a:gd name="T33" fmla="*/ 578138 h 834"/>
                    <a:gd name="T34" fmla="*/ 88163 w 1027"/>
                    <a:gd name="T35" fmla="*/ 594231 h 834"/>
                    <a:gd name="T36" fmla="*/ 0 w 1027"/>
                    <a:gd name="T37" fmla="*/ 504341 h 834"/>
                    <a:gd name="T38" fmla="*/ 88163 w 1027"/>
                    <a:gd name="T39" fmla="*/ 414295 h 834"/>
                    <a:gd name="T40" fmla="*/ 137683 w 1027"/>
                    <a:gd name="T41" fmla="*/ 429578 h 834"/>
                    <a:gd name="T42" fmla="*/ 140177 w 1027"/>
                    <a:gd name="T43" fmla="*/ 430945 h 834"/>
                    <a:gd name="T44" fmla="*/ 238598 w 1027"/>
                    <a:gd name="T45" fmla="*/ 430945 h 834"/>
                    <a:gd name="T46" fmla="*/ 238598 w 1027"/>
                    <a:gd name="T47" fmla="*/ 411464 h 834"/>
                    <a:gd name="T48" fmla="*/ 238598 w 1027"/>
                    <a:gd name="T49" fmla="*/ 0 h 834"/>
                    <a:gd name="T50" fmla="*/ 624409 w 1027"/>
                    <a:gd name="T51" fmla="*/ 0 h 834"/>
                    <a:gd name="T52" fmla="*/ 916784 w 1027"/>
                    <a:gd name="T53" fmla="*/ 0 h 834"/>
                    <a:gd name="T54" fmla="*/ 1242379 w 1027"/>
                    <a:gd name="T55" fmla="*/ 0 h 834"/>
                    <a:gd name="T56" fmla="*/ 1242379 w 1027"/>
                    <a:gd name="T57" fmla="*/ 1015535 h 834"/>
                    <a:gd name="T58" fmla="*/ 967385 w 1027"/>
                    <a:gd name="T59" fmla="*/ 1015535 h 834"/>
                    <a:gd name="T60" fmla="*/ 955466 w 1027"/>
                    <a:gd name="T61" fmla="*/ 1015535 h 834"/>
                    <a:gd name="T62" fmla="*/ 816779 w 1027"/>
                    <a:gd name="T63" fmla="*/ 1015535 h 83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027"/>
                    <a:gd name="T97" fmla="*/ 0 h 834"/>
                    <a:gd name="T98" fmla="*/ 1027 w 1027"/>
                    <a:gd name="T99" fmla="*/ 834 h 834"/>
                    <a:gd name="connsiteX0" fmla="*/ 6573 w 10186"/>
                    <a:gd name="connsiteY0" fmla="*/ 10740 h 10740"/>
                    <a:gd name="connsiteX1" fmla="*/ 6563 w 10186"/>
                    <a:gd name="connsiteY1" fmla="*/ 9757 h 10740"/>
                    <a:gd name="connsiteX2" fmla="*/ 6582 w 10186"/>
                    <a:gd name="connsiteY2" fmla="*/ 9733 h 10740"/>
                    <a:gd name="connsiteX3" fmla="*/ 6699 w 10186"/>
                    <a:gd name="connsiteY3" fmla="*/ 9241 h 10740"/>
                    <a:gd name="connsiteX4" fmla="*/ 5988 w 10186"/>
                    <a:gd name="connsiteY4" fmla="*/ 8354 h 10740"/>
                    <a:gd name="connsiteX5" fmla="*/ 5278 w 10186"/>
                    <a:gd name="connsiteY5" fmla="*/ 9241 h 10740"/>
                    <a:gd name="connsiteX6" fmla="*/ 5394 w 10186"/>
                    <a:gd name="connsiteY6" fmla="*/ 9733 h 10740"/>
                    <a:gd name="connsiteX7" fmla="*/ 5414 w 10186"/>
                    <a:gd name="connsiteY7" fmla="*/ 9757 h 10740"/>
                    <a:gd name="connsiteX8" fmla="*/ 5404 w 10186"/>
                    <a:gd name="connsiteY8" fmla="*/ 10740 h 10740"/>
                    <a:gd name="connsiteX9" fmla="*/ 4177 w 10186"/>
                    <a:gd name="connsiteY9" fmla="*/ 10740 h 10740"/>
                    <a:gd name="connsiteX10" fmla="*/ 4002 w 10186"/>
                    <a:gd name="connsiteY10" fmla="*/ 10740 h 10740"/>
                    <a:gd name="connsiteX11" fmla="*/ 2025 w 10186"/>
                    <a:gd name="connsiteY11" fmla="*/ 10740 h 10740"/>
                    <a:gd name="connsiteX12" fmla="*/ 1918 w 10186"/>
                    <a:gd name="connsiteY12" fmla="*/ 10740 h 10740"/>
                    <a:gd name="connsiteX13" fmla="*/ 1918 w 10186"/>
                    <a:gd name="connsiteY13" fmla="*/ 6615 h 10740"/>
                    <a:gd name="connsiteX14" fmla="*/ 1918 w 10186"/>
                    <a:gd name="connsiteY14" fmla="*/ 6423 h 10740"/>
                    <a:gd name="connsiteX15" fmla="*/ 1130 w 10186"/>
                    <a:gd name="connsiteY15" fmla="*/ 6423 h 10740"/>
                    <a:gd name="connsiteX16" fmla="*/ 1120 w 10186"/>
                    <a:gd name="connsiteY16" fmla="*/ 6435 h 10740"/>
                    <a:gd name="connsiteX17" fmla="*/ 711 w 10186"/>
                    <a:gd name="connsiteY17" fmla="*/ 6591 h 10740"/>
                    <a:gd name="connsiteX18" fmla="*/ 0 w 10186"/>
                    <a:gd name="connsiteY18" fmla="*/ 5704 h 10740"/>
                    <a:gd name="connsiteX19" fmla="*/ 711 w 10186"/>
                    <a:gd name="connsiteY19" fmla="*/ 4817 h 10740"/>
                    <a:gd name="connsiteX20" fmla="*/ 1110 w 10186"/>
                    <a:gd name="connsiteY20" fmla="*/ 4973 h 10740"/>
                    <a:gd name="connsiteX21" fmla="*/ 1130 w 10186"/>
                    <a:gd name="connsiteY21" fmla="*/ 4985 h 10740"/>
                    <a:gd name="connsiteX22" fmla="*/ 1918 w 10186"/>
                    <a:gd name="connsiteY22" fmla="*/ 4985 h 10740"/>
                    <a:gd name="connsiteX23" fmla="*/ 1918 w 10186"/>
                    <a:gd name="connsiteY23" fmla="*/ 4793 h 10740"/>
                    <a:gd name="connsiteX24" fmla="*/ 1918 w 10186"/>
                    <a:gd name="connsiteY24" fmla="*/ 740 h 10740"/>
                    <a:gd name="connsiteX25" fmla="*/ 5024 w 10186"/>
                    <a:gd name="connsiteY25" fmla="*/ 740 h 10740"/>
                    <a:gd name="connsiteX26" fmla="*/ 7381 w 10186"/>
                    <a:gd name="connsiteY26" fmla="*/ 740 h 10740"/>
                    <a:gd name="connsiteX27" fmla="*/ 10000 w 10186"/>
                    <a:gd name="connsiteY27" fmla="*/ 740 h 10740"/>
                    <a:gd name="connsiteX28" fmla="*/ 9977 w 10186"/>
                    <a:gd name="connsiteY28" fmla="*/ 10740 h 10740"/>
                    <a:gd name="connsiteX29" fmla="*/ 7790 w 10186"/>
                    <a:gd name="connsiteY29" fmla="*/ 10740 h 10740"/>
                    <a:gd name="connsiteX30" fmla="*/ 7692 w 10186"/>
                    <a:gd name="connsiteY30" fmla="*/ 10740 h 10740"/>
                    <a:gd name="connsiteX31" fmla="*/ 6573 w 10186"/>
                    <a:gd name="connsiteY31" fmla="*/ 10740 h 10740"/>
                    <a:gd name="connsiteX0" fmla="*/ 6573 w 10000"/>
                    <a:gd name="connsiteY0" fmla="*/ 10740 h 10740"/>
                    <a:gd name="connsiteX1" fmla="*/ 6563 w 10000"/>
                    <a:gd name="connsiteY1" fmla="*/ 9757 h 10740"/>
                    <a:gd name="connsiteX2" fmla="*/ 6582 w 10000"/>
                    <a:gd name="connsiteY2" fmla="*/ 9733 h 10740"/>
                    <a:gd name="connsiteX3" fmla="*/ 6699 w 10000"/>
                    <a:gd name="connsiteY3" fmla="*/ 9241 h 10740"/>
                    <a:gd name="connsiteX4" fmla="*/ 5988 w 10000"/>
                    <a:gd name="connsiteY4" fmla="*/ 8354 h 10740"/>
                    <a:gd name="connsiteX5" fmla="*/ 5278 w 10000"/>
                    <a:gd name="connsiteY5" fmla="*/ 9241 h 10740"/>
                    <a:gd name="connsiteX6" fmla="*/ 5394 w 10000"/>
                    <a:gd name="connsiteY6" fmla="*/ 9733 h 10740"/>
                    <a:gd name="connsiteX7" fmla="*/ 5414 w 10000"/>
                    <a:gd name="connsiteY7" fmla="*/ 9757 h 10740"/>
                    <a:gd name="connsiteX8" fmla="*/ 5404 w 10000"/>
                    <a:gd name="connsiteY8" fmla="*/ 10740 h 10740"/>
                    <a:gd name="connsiteX9" fmla="*/ 4177 w 10000"/>
                    <a:gd name="connsiteY9" fmla="*/ 10740 h 10740"/>
                    <a:gd name="connsiteX10" fmla="*/ 4002 w 10000"/>
                    <a:gd name="connsiteY10" fmla="*/ 10740 h 10740"/>
                    <a:gd name="connsiteX11" fmla="*/ 2025 w 10000"/>
                    <a:gd name="connsiteY11" fmla="*/ 10740 h 10740"/>
                    <a:gd name="connsiteX12" fmla="*/ 1918 w 10000"/>
                    <a:gd name="connsiteY12" fmla="*/ 10740 h 10740"/>
                    <a:gd name="connsiteX13" fmla="*/ 1918 w 10000"/>
                    <a:gd name="connsiteY13" fmla="*/ 6615 h 10740"/>
                    <a:gd name="connsiteX14" fmla="*/ 1918 w 10000"/>
                    <a:gd name="connsiteY14" fmla="*/ 6423 h 10740"/>
                    <a:gd name="connsiteX15" fmla="*/ 1130 w 10000"/>
                    <a:gd name="connsiteY15" fmla="*/ 6423 h 10740"/>
                    <a:gd name="connsiteX16" fmla="*/ 1120 w 10000"/>
                    <a:gd name="connsiteY16" fmla="*/ 6435 h 10740"/>
                    <a:gd name="connsiteX17" fmla="*/ 711 w 10000"/>
                    <a:gd name="connsiteY17" fmla="*/ 6591 h 10740"/>
                    <a:gd name="connsiteX18" fmla="*/ 0 w 10000"/>
                    <a:gd name="connsiteY18" fmla="*/ 5704 h 10740"/>
                    <a:gd name="connsiteX19" fmla="*/ 711 w 10000"/>
                    <a:gd name="connsiteY19" fmla="*/ 4817 h 10740"/>
                    <a:gd name="connsiteX20" fmla="*/ 1110 w 10000"/>
                    <a:gd name="connsiteY20" fmla="*/ 4973 h 10740"/>
                    <a:gd name="connsiteX21" fmla="*/ 1130 w 10000"/>
                    <a:gd name="connsiteY21" fmla="*/ 4985 h 10740"/>
                    <a:gd name="connsiteX22" fmla="*/ 1918 w 10000"/>
                    <a:gd name="connsiteY22" fmla="*/ 4985 h 10740"/>
                    <a:gd name="connsiteX23" fmla="*/ 1918 w 10000"/>
                    <a:gd name="connsiteY23" fmla="*/ 4793 h 10740"/>
                    <a:gd name="connsiteX24" fmla="*/ 1918 w 10000"/>
                    <a:gd name="connsiteY24" fmla="*/ 740 h 10740"/>
                    <a:gd name="connsiteX25" fmla="*/ 5024 w 10000"/>
                    <a:gd name="connsiteY25" fmla="*/ 740 h 10740"/>
                    <a:gd name="connsiteX26" fmla="*/ 7381 w 10000"/>
                    <a:gd name="connsiteY26" fmla="*/ 740 h 10740"/>
                    <a:gd name="connsiteX27" fmla="*/ 10000 w 10000"/>
                    <a:gd name="connsiteY27" fmla="*/ 740 h 10740"/>
                    <a:gd name="connsiteX28" fmla="*/ 9977 w 10000"/>
                    <a:gd name="connsiteY28" fmla="*/ 10740 h 10740"/>
                    <a:gd name="connsiteX29" fmla="*/ 7790 w 10000"/>
                    <a:gd name="connsiteY29" fmla="*/ 10740 h 10740"/>
                    <a:gd name="connsiteX30" fmla="*/ 7692 w 10000"/>
                    <a:gd name="connsiteY30" fmla="*/ 10740 h 10740"/>
                    <a:gd name="connsiteX31" fmla="*/ 6573 w 10000"/>
                    <a:gd name="connsiteY31" fmla="*/ 10740 h 10740"/>
                    <a:gd name="connsiteX0" fmla="*/ 6573 w 10000"/>
                    <a:gd name="connsiteY0" fmla="*/ 10000 h 10000"/>
                    <a:gd name="connsiteX1" fmla="*/ 6563 w 10000"/>
                    <a:gd name="connsiteY1" fmla="*/ 9017 h 10000"/>
                    <a:gd name="connsiteX2" fmla="*/ 6582 w 10000"/>
                    <a:gd name="connsiteY2" fmla="*/ 8993 h 10000"/>
                    <a:gd name="connsiteX3" fmla="*/ 6699 w 10000"/>
                    <a:gd name="connsiteY3" fmla="*/ 8501 h 10000"/>
                    <a:gd name="connsiteX4" fmla="*/ 5988 w 10000"/>
                    <a:gd name="connsiteY4" fmla="*/ 7614 h 10000"/>
                    <a:gd name="connsiteX5" fmla="*/ 5278 w 10000"/>
                    <a:gd name="connsiteY5" fmla="*/ 8501 h 10000"/>
                    <a:gd name="connsiteX6" fmla="*/ 5394 w 10000"/>
                    <a:gd name="connsiteY6" fmla="*/ 8993 h 10000"/>
                    <a:gd name="connsiteX7" fmla="*/ 5414 w 10000"/>
                    <a:gd name="connsiteY7" fmla="*/ 9017 h 10000"/>
                    <a:gd name="connsiteX8" fmla="*/ 5404 w 10000"/>
                    <a:gd name="connsiteY8" fmla="*/ 10000 h 10000"/>
                    <a:gd name="connsiteX9" fmla="*/ 4177 w 10000"/>
                    <a:gd name="connsiteY9" fmla="*/ 10000 h 10000"/>
                    <a:gd name="connsiteX10" fmla="*/ 4002 w 10000"/>
                    <a:gd name="connsiteY10" fmla="*/ 10000 h 10000"/>
                    <a:gd name="connsiteX11" fmla="*/ 2025 w 10000"/>
                    <a:gd name="connsiteY11" fmla="*/ 10000 h 10000"/>
                    <a:gd name="connsiteX12" fmla="*/ 1918 w 10000"/>
                    <a:gd name="connsiteY12" fmla="*/ 10000 h 10000"/>
                    <a:gd name="connsiteX13" fmla="*/ 1918 w 10000"/>
                    <a:gd name="connsiteY13" fmla="*/ 5875 h 10000"/>
                    <a:gd name="connsiteX14" fmla="*/ 1918 w 10000"/>
                    <a:gd name="connsiteY14" fmla="*/ 5683 h 10000"/>
                    <a:gd name="connsiteX15" fmla="*/ 1130 w 10000"/>
                    <a:gd name="connsiteY15" fmla="*/ 5683 h 10000"/>
                    <a:gd name="connsiteX16" fmla="*/ 1120 w 10000"/>
                    <a:gd name="connsiteY16" fmla="*/ 5695 h 10000"/>
                    <a:gd name="connsiteX17" fmla="*/ 711 w 10000"/>
                    <a:gd name="connsiteY17" fmla="*/ 5851 h 10000"/>
                    <a:gd name="connsiteX18" fmla="*/ 0 w 10000"/>
                    <a:gd name="connsiteY18" fmla="*/ 4964 h 10000"/>
                    <a:gd name="connsiteX19" fmla="*/ 711 w 10000"/>
                    <a:gd name="connsiteY19" fmla="*/ 4077 h 10000"/>
                    <a:gd name="connsiteX20" fmla="*/ 1110 w 10000"/>
                    <a:gd name="connsiteY20" fmla="*/ 4233 h 10000"/>
                    <a:gd name="connsiteX21" fmla="*/ 1130 w 10000"/>
                    <a:gd name="connsiteY21" fmla="*/ 4245 h 10000"/>
                    <a:gd name="connsiteX22" fmla="*/ 1918 w 10000"/>
                    <a:gd name="connsiteY22" fmla="*/ 4245 h 10000"/>
                    <a:gd name="connsiteX23" fmla="*/ 1918 w 10000"/>
                    <a:gd name="connsiteY23" fmla="*/ 4053 h 10000"/>
                    <a:gd name="connsiteX24" fmla="*/ 1918 w 10000"/>
                    <a:gd name="connsiteY24" fmla="*/ 0 h 10000"/>
                    <a:gd name="connsiteX25" fmla="*/ 5024 w 10000"/>
                    <a:gd name="connsiteY25" fmla="*/ 0 h 10000"/>
                    <a:gd name="connsiteX26" fmla="*/ 7381 w 10000"/>
                    <a:gd name="connsiteY26" fmla="*/ 0 h 10000"/>
                    <a:gd name="connsiteX27" fmla="*/ 10000 w 10000"/>
                    <a:gd name="connsiteY27" fmla="*/ 0 h 10000"/>
                    <a:gd name="connsiteX28" fmla="*/ 9977 w 10000"/>
                    <a:gd name="connsiteY28" fmla="*/ 10000 h 10000"/>
                    <a:gd name="connsiteX29" fmla="*/ 7790 w 10000"/>
                    <a:gd name="connsiteY29" fmla="*/ 10000 h 10000"/>
                    <a:gd name="connsiteX30" fmla="*/ 7692 w 10000"/>
                    <a:gd name="connsiteY30" fmla="*/ 10000 h 10000"/>
                    <a:gd name="connsiteX31" fmla="*/ 6573 w 10000"/>
                    <a:gd name="connsiteY31" fmla="*/ 10000 h 10000"/>
                    <a:gd name="connsiteX0" fmla="*/ 6573 w 10134"/>
                    <a:gd name="connsiteY0" fmla="*/ 10000 h 10740"/>
                    <a:gd name="connsiteX1" fmla="*/ 6563 w 10134"/>
                    <a:gd name="connsiteY1" fmla="*/ 9017 h 10740"/>
                    <a:gd name="connsiteX2" fmla="*/ 6582 w 10134"/>
                    <a:gd name="connsiteY2" fmla="*/ 8993 h 10740"/>
                    <a:gd name="connsiteX3" fmla="*/ 6699 w 10134"/>
                    <a:gd name="connsiteY3" fmla="*/ 8501 h 10740"/>
                    <a:gd name="connsiteX4" fmla="*/ 5988 w 10134"/>
                    <a:gd name="connsiteY4" fmla="*/ 7614 h 10740"/>
                    <a:gd name="connsiteX5" fmla="*/ 5278 w 10134"/>
                    <a:gd name="connsiteY5" fmla="*/ 8501 h 10740"/>
                    <a:gd name="connsiteX6" fmla="*/ 5394 w 10134"/>
                    <a:gd name="connsiteY6" fmla="*/ 8993 h 10740"/>
                    <a:gd name="connsiteX7" fmla="*/ 5414 w 10134"/>
                    <a:gd name="connsiteY7" fmla="*/ 9017 h 10740"/>
                    <a:gd name="connsiteX8" fmla="*/ 5404 w 10134"/>
                    <a:gd name="connsiteY8" fmla="*/ 10000 h 10740"/>
                    <a:gd name="connsiteX9" fmla="*/ 4177 w 10134"/>
                    <a:gd name="connsiteY9" fmla="*/ 10000 h 10740"/>
                    <a:gd name="connsiteX10" fmla="*/ 4002 w 10134"/>
                    <a:gd name="connsiteY10" fmla="*/ 10000 h 10740"/>
                    <a:gd name="connsiteX11" fmla="*/ 2025 w 10134"/>
                    <a:gd name="connsiteY11" fmla="*/ 10000 h 10740"/>
                    <a:gd name="connsiteX12" fmla="*/ 1918 w 10134"/>
                    <a:gd name="connsiteY12" fmla="*/ 10000 h 10740"/>
                    <a:gd name="connsiteX13" fmla="*/ 1918 w 10134"/>
                    <a:gd name="connsiteY13" fmla="*/ 5875 h 10740"/>
                    <a:gd name="connsiteX14" fmla="*/ 1918 w 10134"/>
                    <a:gd name="connsiteY14" fmla="*/ 5683 h 10740"/>
                    <a:gd name="connsiteX15" fmla="*/ 1130 w 10134"/>
                    <a:gd name="connsiteY15" fmla="*/ 5683 h 10740"/>
                    <a:gd name="connsiteX16" fmla="*/ 1120 w 10134"/>
                    <a:gd name="connsiteY16" fmla="*/ 5695 h 10740"/>
                    <a:gd name="connsiteX17" fmla="*/ 711 w 10134"/>
                    <a:gd name="connsiteY17" fmla="*/ 5851 h 10740"/>
                    <a:gd name="connsiteX18" fmla="*/ 0 w 10134"/>
                    <a:gd name="connsiteY18" fmla="*/ 4964 h 10740"/>
                    <a:gd name="connsiteX19" fmla="*/ 711 w 10134"/>
                    <a:gd name="connsiteY19" fmla="*/ 4077 h 10740"/>
                    <a:gd name="connsiteX20" fmla="*/ 1110 w 10134"/>
                    <a:gd name="connsiteY20" fmla="*/ 4233 h 10740"/>
                    <a:gd name="connsiteX21" fmla="*/ 1130 w 10134"/>
                    <a:gd name="connsiteY21" fmla="*/ 4245 h 10740"/>
                    <a:gd name="connsiteX22" fmla="*/ 1918 w 10134"/>
                    <a:gd name="connsiteY22" fmla="*/ 4245 h 10740"/>
                    <a:gd name="connsiteX23" fmla="*/ 1918 w 10134"/>
                    <a:gd name="connsiteY23" fmla="*/ 4053 h 10740"/>
                    <a:gd name="connsiteX24" fmla="*/ 1918 w 10134"/>
                    <a:gd name="connsiteY24" fmla="*/ 0 h 10740"/>
                    <a:gd name="connsiteX25" fmla="*/ 5024 w 10134"/>
                    <a:gd name="connsiteY25" fmla="*/ 0 h 10740"/>
                    <a:gd name="connsiteX26" fmla="*/ 7381 w 10134"/>
                    <a:gd name="connsiteY26" fmla="*/ 0 h 10740"/>
                    <a:gd name="connsiteX27" fmla="*/ 9969 w 10134"/>
                    <a:gd name="connsiteY27" fmla="*/ 0 h 10740"/>
                    <a:gd name="connsiteX28" fmla="*/ 9977 w 10134"/>
                    <a:gd name="connsiteY28" fmla="*/ 10000 h 10740"/>
                    <a:gd name="connsiteX29" fmla="*/ 7790 w 10134"/>
                    <a:gd name="connsiteY29" fmla="*/ 10000 h 10740"/>
                    <a:gd name="connsiteX30" fmla="*/ 7692 w 10134"/>
                    <a:gd name="connsiteY30" fmla="*/ 10000 h 10740"/>
                    <a:gd name="connsiteX31" fmla="*/ 6573 w 10134"/>
                    <a:gd name="connsiteY31" fmla="*/ 10000 h 10740"/>
                    <a:gd name="connsiteX0" fmla="*/ 6573 w 10134"/>
                    <a:gd name="connsiteY0" fmla="*/ 10000 h 10000"/>
                    <a:gd name="connsiteX1" fmla="*/ 6563 w 10134"/>
                    <a:gd name="connsiteY1" fmla="*/ 9017 h 10000"/>
                    <a:gd name="connsiteX2" fmla="*/ 6582 w 10134"/>
                    <a:gd name="connsiteY2" fmla="*/ 8993 h 10000"/>
                    <a:gd name="connsiteX3" fmla="*/ 6699 w 10134"/>
                    <a:gd name="connsiteY3" fmla="*/ 8501 h 10000"/>
                    <a:gd name="connsiteX4" fmla="*/ 5988 w 10134"/>
                    <a:gd name="connsiteY4" fmla="*/ 7614 h 10000"/>
                    <a:gd name="connsiteX5" fmla="*/ 5278 w 10134"/>
                    <a:gd name="connsiteY5" fmla="*/ 8501 h 10000"/>
                    <a:gd name="connsiteX6" fmla="*/ 5394 w 10134"/>
                    <a:gd name="connsiteY6" fmla="*/ 8993 h 10000"/>
                    <a:gd name="connsiteX7" fmla="*/ 5414 w 10134"/>
                    <a:gd name="connsiteY7" fmla="*/ 9017 h 10000"/>
                    <a:gd name="connsiteX8" fmla="*/ 5404 w 10134"/>
                    <a:gd name="connsiteY8" fmla="*/ 10000 h 10000"/>
                    <a:gd name="connsiteX9" fmla="*/ 4177 w 10134"/>
                    <a:gd name="connsiteY9" fmla="*/ 10000 h 10000"/>
                    <a:gd name="connsiteX10" fmla="*/ 4002 w 10134"/>
                    <a:gd name="connsiteY10" fmla="*/ 10000 h 10000"/>
                    <a:gd name="connsiteX11" fmla="*/ 2025 w 10134"/>
                    <a:gd name="connsiteY11" fmla="*/ 10000 h 10000"/>
                    <a:gd name="connsiteX12" fmla="*/ 1918 w 10134"/>
                    <a:gd name="connsiteY12" fmla="*/ 10000 h 10000"/>
                    <a:gd name="connsiteX13" fmla="*/ 1918 w 10134"/>
                    <a:gd name="connsiteY13" fmla="*/ 5875 h 10000"/>
                    <a:gd name="connsiteX14" fmla="*/ 1918 w 10134"/>
                    <a:gd name="connsiteY14" fmla="*/ 5683 h 10000"/>
                    <a:gd name="connsiteX15" fmla="*/ 1130 w 10134"/>
                    <a:gd name="connsiteY15" fmla="*/ 5683 h 10000"/>
                    <a:gd name="connsiteX16" fmla="*/ 1120 w 10134"/>
                    <a:gd name="connsiteY16" fmla="*/ 5695 h 10000"/>
                    <a:gd name="connsiteX17" fmla="*/ 711 w 10134"/>
                    <a:gd name="connsiteY17" fmla="*/ 5851 h 10000"/>
                    <a:gd name="connsiteX18" fmla="*/ 0 w 10134"/>
                    <a:gd name="connsiteY18" fmla="*/ 4964 h 10000"/>
                    <a:gd name="connsiteX19" fmla="*/ 711 w 10134"/>
                    <a:gd name="connsiteY19" fmla="*/ 4077 h 10000"/>
                    <a:gd name="connsiteX20" fmla="*/ 1110 w 10134"/>
                    <a:gd name="connsiteY20" fmla="*/ 4233 h 10000"/>
                    <a:gd name="connsiteX21" fmla="*/ 1130 w 10134"/>
                    <a:gd name="connsiteY21" fmla="*/ 4245 h 10000"/>
                    <a:gd name="connsiteX22" fmla="*/ 1918 w 10134"/>
                    <a:gd name="connsiteY22" fmla="*/ 4245 h 10000"/>
                    <a:gd name="connsiteX23" fmla="*/ 1918 w 10134"/>
                    <a:gd name="connsiteY23" fmla="*/ 4053 h 10000"/>
                    <a:gd name="connsiteX24" fmla="*/ 1918 w 10134"/>
                    <a:gd name="connsiteY24" fmla="*/ 0 h 10000"/>
                    <a:gd name="connsiteX25" fmla="*/ 5024 w 10134"/>
                    <a:gd name="connsiteY25" fmla="*/ 0 h 10000"/>
                    <a:gd name="connsiteX26" fmla="*/ 7381 w 10134"/>
                    <a:gd name="connsiteY26" fmla="*/ 0 h 10000"/>
                    <a:gd name="connsiteX27" fmla="*/ 9969 w 10134"/>
                    <a:gd name="connsiteY27" fmla="*/ 0 h 10000"/>
                    <a:gd name="connsiteX28" fmla="*/ 9977 w 10134"/>
                    <a:gd name="connsiteY28" fmla="*/ 10000 h 10000"/>
                    <a:gd name="connsiteX29" fmla="*/ 7790 w 10134"/>
                    <a:gd name="connsiteY29" fmla="*/ 10000 h 10000"/>
                    <a:gd name="connsiteX30" fmla="*/ 7692 w 10134"/>
                    <a:gd name="connsiteY30" fmla="*/ 10000 h 10000"/>
                    <a:gd name="connsiteX31" fmla="*/ 6573 w 10134"/>
                    <a:gd name="connsiteY31" fmla="*/ 10000 h 10000"/>
                    <a:gd name="connsiteX0" fmla="*/ 6573 w 9977"/>
                    <a:gd name="connsiteY0" fmla="*/ 10000 h 10000"/>
                    <a:gd name="connsiteX1" fmla="*/ 6563 w 9977"/>
                    <a:gd name="connsiteY1" fmla="*/ 9017 h 10000"/>
                    <a:gd name="connsiteX2" fmla="*/ 6582 w 9977"/>
                    <a:gd name="connsiteY2" fmla="*/ 8993 h 10000"/>
                    <a:gd name="connsiteX3" fmla="*/ 6699 w 9977"/>
                    <a:gd name="connsiteY3" fmla="*/ 8501 h 10000"/>
                    <a:gd name="connsiteX4" fmla="*/ 5988 w 9977"/>
                    <a:gd name="connsiteY4" fmla="*/ 7614 h 10000"/>
                    <a:gd name="connsiteX5" fmla="*/ 5278 w 9977"/>
                    <a:gd name="connsiteY5" fmla="*/ 8501 h 10000"/>
                    <a:gd name="connsiteX6" fmla="*/ 5394 w 9977"/>
                    <a:gd name="connsiteY6" fmla="*/ 8993 h 10000"/>
                    <a:gd name="connsiteX7" fmla="*/ 5414 w 9977"/>
                    <a:gd name="connsiteY7" fmla="*/ 9017 h 10000"/>
                    <a:gd name="connsiteX8" fmla="*/ 5404 w 9977"/>
                    <a:gd name="connsiteY8" fmla="*/ 10000 h 10000"/>
                    <a:gd name="connsiteX9" fmla="*/ 4177 w 9977"/>
                    <a:gd name="connsiteY9" fmla="*/ 10000 h 10000"/>
                    <a:gd name="connsiteX10" fmla="*/ 4002 w 9977"/>
                    <a:gd name="connsiteY10" fmla="*/ 10000 h 10000"/>
                    <a:gd name="connsiteX11" fmla="*/ 2025 w 9977"/>
                    <a:gd name="connsiteY11" fmla="*/ 10000 h 10000"/>
                    <a:gd name="connsiteX12" fmla="*/ 1918 w 9977"/>
                    <a:gd name="connsiteY12" fmla="*/ 10000 h 10000"/>
                    <a:gd name="connsiteX13" fmla="*/ 1918 w 9977"/>
                    <a:gd name="connsiteY13" fmla="*/ 5875 h 10000"/>
                    <a:gd name="connsiteX14" fmla="*/ 1918 w 9977"/>
                    <a:gd name="connsiteY14" fmla="*/ 5683 h 10000"/>
                    <a:gd name="connsiteX15" fmla="*/ 1130 w 9977"/>
                    <a:gd name="connsiteY15" fmla="*/ 5683 h 10000"/>
                    <a:gd name="connsiteX16" fmla="*/ 1120 w 9977"/>
                    <a:gd name="connsiteY16" fmla="*/ 5695 h 10000"/>
                    <a:gd name="connsiteX17" fmla="*/ 711 w 9977"/>
                    <a:gd name="connsiteY17" fmla="*/ 5851 h 10000"/>
                    <a:gd name="connsiteX18" fmla="*/ 0 w 9977"/>
                    <a:gd name="connsiteY18" fmla="*/ 4964 h 10000"/>
                    <a:gd name="connsiteX19" fmla="*/ 711 w 9977"/>
                    <a:gd name="connsiteY19" fmla="*/ 4077 h 10000"/>
                    <a:gd name="connsiteX20" fmla="*/ 1110 w 9977"/>
                    <a:gd name="connsiteY20" fmla="*/ 4233 h 10000"/>
                    <a:gd name="connsiteX21" fmla="*/ 1130 w 9977"/>
                    <a:gd name="connsiteY21" fmla="*/ 4245 h 10000"/>
                    <a:gd name="connsiteX22" fmla="*/ 1918 w 9977"/>
                    <a:gd name="connsiteY22" fmla="*/ 4245 h 10000"/>
                    <a:gd name="connsiteX23" fmla="*/ 1918 w 9977"/>
                    <a:gd name="connsiteY23" fmla="*/ 4053 h 10000"/>
                    <a:gd name="connsiteX24" fmla="*/ 1918 w 9977"/>
                    <a:gd name="connsiteY24" fmla="*/ 0 h 10000"/>
                    <a:gd name="connsiteX25" fmla="*/ 5024 w 9977"/>
                    <a:gd name="connsiteY25" fmla="*/ 0 h 10000"/>
                    <a:gd name="connsiteX26" fmla="*/ 7381 w 9977"/>
                    <a:gd name="connsiteY26" fmla="*/ 0 h 10000"/>
                    <a:gd name="connsiteX27" fmla="*/ 9969 w 9977"/>
                    <a:gd name="connsiteY27" fmla="*/ 0 h 10000"/>
                    <a:gd name="connsiteX28" fmla="*/ 9977 w 9977"/>
                    <a:gd name="connsiteY28" fmla="*/ 10000 h 10000"/>
                    <a:gd name="connsiteX29" fmla="*/ 7790 w 9977"/>
                    <a:gd name="connsiteY29" fmla="*/ 10000 h 10000"/>
                    <a:gd name="connsiteX30" fmla="*/ 7692 w 9977"/>
                    <a:gd name="connsiteY30" fmla="*/ 10000 h 10000"/>
                    <a:gd name="connsiteX31" fmla="*/ 6573 w 9977"/>
                    <a:gd name="connsiteY31" fmla="*/ 10000 h 10000"/>
                    <a:gd name="connsiteX0" fmla="*/ 6588 w 10000"/>
                    <a:gd name="connsiteY0" fmla="*/ 10000 h 10000"/>
                    <a:gd name="connsiteX1" fmla="*/ 6547 w 10000"/>
                    <a:gd name="connsiteY1" fmla="*/ 9008 h 10000"/>
                    <a:gd name="connsiteX2" fmla="*/ 6597 w 10000"/>
                    <a:gd name="connsiteY2" fmla="*/ 8993 h 10000"/>
                    <a:gd name="connsiteX3" fmla="*/ 6714 w 10000"/>
                    <a:gd name="connsiteY3" fmla="*/ 8501 h 10000"/>
                    <a:gd name="connsiteX4" fmla="*/ 6002 w 10000"/>
                    <a:gd name="connsiteY4" fmla="*/ 7614 h 10000"/>
                    <a:gd name="connsiteX5" fmla="*/ 5290 w 10000"/>
                    <a:gd name="connsiteY5" fmla="*/ 8501 h 10000"/>
                    <a:gd name="connsiteX6" fmla="*/ 5406 w 10000"/>
                    <a:gd name="connsiteY6" fmla="*/ 8993 h 10000"/>
                    <a:gd name="connsiteX7" fmla="*/ 5426 w 10000"/>
                    <a:gd name="connsiteY7" fmla="*/ 9017 h 10000"/>
                    <a:gd name="connsiteX8" fmla="*/ 5416 w 10000"/>
                    <a:gd name="connsiteY8" fmla="*/ 10000 h 10000"/>
                    <a:gd name="connsiteX9" fmla="*/ 4187 w 10000"/>
                    <a:gd name="connsiteY9" fmla="*/ 10000 h 10000"/>
                    <a:gd name="connsiteX10" fmla="*/ 4011 w 10000"/>
                    <a:gd name="connsiteY10" fmla="*/ 10000 h 10000"/>
                    <a:gd name="connsiteX11" fmla="*/ 2030 w 10000"/>
                    <a:gd name="connsiteY11" fmla="*/ 10000 h 10000"/>
                    <a:gd name="connsiteX12" fmla="*/ 1922 w 10000"/>
                    <a:gd name="connsiteY12" fmla="*/ 10000 h 10000"/>
                    <a:gd name="connsiteX13" fmla="*/ 1922 w 10000"/>
                    <a:gd name="connsiteY13" fmla="*/ 5875 h 10000"/>
                    <a:gd name="connsiteX14" fmla="*/ 1922 w 10000"/>
                    <a:gd name="connsiteY14" fmla="*/ 5683 h 10000"/>
                    <a:gd name="connsiteX15" fmla="*/ 1133 w 10000"/>
                    <a:gd name="connsiteY15" fmla="*/ 5683 h 10000"/>
                    <a:gd name="connsiteX16" fmla="*/ 1123 w 10000"/>
                    <a:gd name="connsiteY16" fmla="*/ 5695 h 10000"/>
                    <a:gd name="connsiteX17" fmla="*/ 713 w 10000"/>
                    <a:gd name="connsiteY17" fmla="*/ 5851 h 10000"/>
                    <a:gd name="connsiteX18" fmla="*/ 0 w 10000"/>
                    <a:gd name="connsiteY18" fmla="*/ 4964 h 10000"/>
                    <a:gd name="connsiteX19" fmla="*/ 713 w 10000"/>
                    <a:gd name="connsiteY19" fmla="*/ 4077 h 10000"/>
                    <a:gd name="connsiteX20" fmla="*/ 1113 w 10000"/>
                    <a:gd name="connsiteY20" fmla="*/ 4233 h 10000"/>
                    <a:gd name="connsiteX21" fmla="*/ 1133 w 10000"/>
                    <a:gd name="connsiteY21" fmla="*/ 4245 h 10000"/>
                    <a:gd name="connsiteX22" fmla="*/ 1922 w 10000"/>
                    <a:gd name="connsiteY22" fmla="*/ 4245 h 10000"/>
                    <a:gd name="connsiteX23" fmla="*/ 1922 w 10000"/>
                    <a:gd name="connsiteY23" fmla="*/ 4053 h 10000"/>
                    <a:gd name="connsiteX24" fmla="*/ 1922 w 10000"/>
                    <a:gd name="connsiteY24" fmla="*/ 0 h 10000"/>
                    <a:gd name="connsiteX25" fmla="*/ 5036 w 10000"/>
                    <a:gd name="connsiteY25" fmla="*/ 0 h 10000"/>
                    <a:gd name="connsiteX26" fmla="*/ 7398 w 10000"/>
                    <a:gd name="connsiteY26" fmla="*/ 0 h 10000"/>
                    <a:gd name="connsiteX27" fmla="*/ 9992 w 10000"/>
                    <a:gd name="connsiteY27" fmla="*/ 0 h 10000"/>
                    <a:gd name="connsiteX28" fmla="*/ 10000 w 10000"/>
                    <a:gd name="connsiteY28" fmla="*/ 10000 h 10000"/>
                    <a:gd name="connsiteX29" fmla="*/ 7808 w 10000"/>
                    <a:gd name="connsiteY29" fmla="*/ 10000 h 10000"/>
                    <a:gd name="connsiteX30" fmla="*/ 7710 w 10000"/>
                    <a:gd name="connsiteY30" fmla="*/ 10000 h 10000"/>
                    <a:gd name="connsiteX31" fmla="*/ 6588 w 10000"/>
                    <a:gd name="connsiteY31" fmla="*/ 10000 h 10000"/>
                    <a:gd name="connsiteX0" fmla="*/ 6588 w 10000"/>
                    <a:gd name="connsiteY0" fmla="*/ 10000 h 10000"/>
                    <a:gd name="connsiteX1" fmla="*/ 6547 w 10000"/>
                    <a:gd name="connsiteY1" fmla="*/ 9008 h 10000"/>
                    <a:gd name="connsiteX2" fmla="*/ 6714 w 10000"/>
                    <a:gd name="connsiteY2" fmla="*/ 8501 h 10000"/>
                    <a:gd name="connsiteX3" fmla="*/ 6002 w 10000"/>
                    <a:gd name="connsiteY3" fmla="*/ 7614 h 10000"/>
                    <a:gd name="connsiteX4" fmla="*/ 5290 w 10000"/>
                    <a:gd name="connsiteY4" fmla="*/ 8501 h 10000"/>
                    <a:gd name="connsiteX5" fmla="*/ 5406 w 10000"/>
                    <a:gd name="connsiteY5" fmla="*/ 8993 h 10000"/>
                    <a:gd name="connsiteX6" fmla="*/ 5426 w 10000"/>
                    <a:gd name="connsiteY6" fmla="*/ 9017 h 10000"/>
                    <a:gd name="connsiteX7" fmla="*/ 5416 w 10000"/>
                    <a:gd name="connsiteY7" fmla="*/ 10000 h 10000"/>
                    <a:gd name="connsiteX8" fmla="*/ 4187 w 10000"/>
                    <a:gd name="connsiteY8" fmla="*/ 10000 h 10000"/>
                    <a:gd name="connsiteX9" fmla="*/ 4011 w 10000"/>
                    <a:gd name="connsiteY9" fmla="*/ 10000 h 10000"/>
                    <a:gd name="connsiteX10" fmla="*/ 2030 w 10000"/>
                    <a:gd name="connsiteY10" fmla="*/ 10000 h 10000"/>
                    <a:gd name="connsiteX11" fmla="*/ 1922 w 10000"/>
                    <a:gd name="connsiteY11" fmla="*/ 10000 h 10000"/>
                    <a:gd name="connsiteX12" fmla="*/ 1922 w 10000"/>
                    <a:gd name="connsiteY12" fmla="*/ 5875 h 10000"/>
                    <a:gd name="connsiteX13" fmla="*/ 1922 w 10000"/>
                    <a:gd name="connsiteY13" fmla="*/ 5683 h 10000"/>
                    <a:gd name="connsiteX14" fmla="*/ 1133 w 10000"/>
                    <a:gd name="connsiteY14" fmla="*/ 5683 h 10000"/>
                    <a:gd name="connsiteX15" fmla="*/ 1123 w 10000"/>
                    <a:gd name="connsiteY15" fmla="*/ 5695 h 10000"/>
                    <a:gd name="connsiteX16" fmla="*/ 713 w 10000"/>
                    <a:gd name="connsiteY16" fmla="*/ 5851 h 10000"/>
                    <a:gd name="connsiteX17" fmla="*/ 0 w 10000"/>
                    <a:gd name="connsiteY17" fmla="*/ 4964 h 10000"/>
                    <a:gd name="connsiteX18" fmla="*/ 713 w 10000"/>
                    <a:gd name="connsiteY18" fmla="*/ 4077 h 10000"/>
                    <a:gd name="connsiteX19" fmla="*/ 1113 w 10000"/>
                    <a:gd name="connsiteY19" fmla="*/ 4233 h 10000"/>
                    <a:gd name="connsiteX20" fmla="*/ 1133 w 10000"/>
                    <a:gd name="connsiteY20" fmla="*/ 4245 h 10000"/>
                    <a:gd name="connsiteX21" fmla="*/ 1922 w 10000"/>
                    <a:gd name="connsiteY21" fmla="*/ 4245 h 10000"/>
                    <a:gd name="connsiteX22" fmla="*/ 1922 w 10000"/>
                    <a:gd name="connsiteY22" fmla="*/ 4053 h 10000"/>
                    <a:gd name="connsiteX23" fmla="*/ 1922 w 10000"/>
                    <a:gd name="connsiteY23" fmla="*/ 0 h 10000"/>
                    <a:gd name="connsiteX24" fmla="*/ 5036 w 10000"/>
                    <a:gd name="connsiteY24" fmla="*/ 0 h 10000"/>
                    <a:gd name="connsiteX25" fmla="*/ 7398 w 10000"/>
                    <a:gd name="connsiteY25" fmla="*/ 0 h 10000"/>
                    <a:gd name="connsiteX26" fmla="*/ 9992 w 10000"/>
                    <a:gd name="connsiteY26" fmla="*/ 0 h 10000"/>
                    <a:gd name="connsiteX27" fmla="*/ 10000 w 10000"/>
                    <a:gd name="connsiteY27" fmla="*/ 10000 h 10000"/>
                    <a:gd name="connsiteX28" fmla="*/ 7808 w 10000"/>
                    <a:gd name="connsiteY28" fmla="*/ 10000 h 10000"/>
                    <a:gd name="connsiteX29" fmla="*/ 7710 w 10000"/>
                    <a:gd name="connsiteY29" fmla="*/ 10000 h 10000"/>
                    <a:gd name="connsiteX30" fmla="*/ 6588 w 10000"/>
                    <a:gd name="connsiteY30" fmla="*/ 10000 h 10000"/>
                    <a:gd name="connsiteX0" fmla="*/ 6588 w 10000"/>
                    <a:gd name="connsiteY0" fmla="*/ 10000 h 10000"/>
                    <a:gd name="connsiteX1" fmla="*/ 6547 w 10000"/>
                    <a:gd name="connsiteY1" fmla="*/ 9008 h 10000"/>
                    <a:gd name="connsiteX2" fmla="*/ 6714 w 10000"/>
                    <a:gd name="connsiteY2" fmla="*/ 8501 h 10000"/>
                    <a:gd name="connsiteX3" fmla="*/ 6002 w 10000"/>
                    <a:gd name="connsiteY3" fmla="*/ 7614 h 10000"/>
                    <a:gd name="connsiteX4" fmla="*/ 5290 w 10000"/>
                    <a:gd name="connsiteY4" fmla="*/ 8501 h 10000"/>
                    <a:gd name="connsiteX5" fmla="*/ 5406 w 10000"/>
                    <a:gd name="connsiteY5" fmla="*/ 8993 h 10000"/>
                    <a:gd name="connsiteX6" fmla="*/ 5426 w 10000"/>
                    <a:gd name="connsiteY6" fmla="*/ 9017 h 10000"/>
                    <a:gd name="connsiteX7" fmla="*/ 5416 w 10000"/>
                    <a:gd name="connsiteY7" fmla="*/ 10000 h 10000"/>
                    <a:gd name="connsiteX8" fmla="*/ 4187 w 10000"/>
                    <a:gd name="connsiteY8" fmla="*/ 10000 h 10000"/>
                    <a:gd name="connsiteX9" fmla="*/ 4011 w 10000"/>
                    <a:gd name="connsiteY9" fmla="*/ 10000 h 10000"/>
                    <a:gd name="connsiteX10" fmla="*/ 2030 w 10000"/>
                    <a:gd name="connsiteY10" fmla="*/ 10000 h 10000"/>
                    <a:gd name="connsiteX11" fmla="*/ 1922 w 10000"/>
                    <a:gd name="connsiteY11" fmla="*/ 10000 h 10000"/>
                    <a:gd name="connsiteX12" fmla="*/ 1922 w 10000"/>
                    <a:gd name="connsiteY12" fmla="*/ 5875 h 10000"/>
                    <a:gd name="connsiteX13" fmla="*/ 1922 w 10000"/>
                    <a:gd name="connsiteY13" fmla="*/ 5683 h 10000"/>
                    <a:gd name="connsiteX14" fmla="*/ 1133 w 10000"/>
                    <a:gd name="connsiteY14" fmla="*/ 5683 h 10000"/>
                    <a:gd name="connsiteX15" fmla="*/ 1123 w 10000"/>
                    <a:gd name="connsiteY15" fmla="*/ 5695 h 10000"/>
                    <a:gd name="connsiteX16" fmla="*/ 713 w 10000"/>
                    <a:gd name="connsiteY16" fmla="*/ 5851 h 10000"/>
                    <a:gd name="connsiteX17" fmla="*/ 0 w 10000"/>
                    <a:gd name="connsiteY17" fmla="*/ 4964 h 10000"/>
                    <a:gd name="connsiteX18" fmla="*/ 713 w 10000"/>
                    <a:gd name="connsiteY18" fmla="*/ 4077 h 10000"/>
                    <a:gd name="connsiteX19" fmla="*/ 1113 w 10000"/>
                    <a:gd name="connsiteY19" fmla="*/ 4233 h 10000"/>
                    <a:gd name="connsiteX20" fmla="*/ 1133 w 10000"/>
                    <a:gd name="connsiteY20" fmla="*/ 4245 h 10000"/>
                    <a:gd name="connsiteX21" fmla="*/ 1922 w 10000"/>
                    <a:gd name="connsiteY21" fmla="*/ 4245 h 10000"/>
                    <a:gd name="connsiteX22" fmla="*/ 1922 w 10000"/>
                    <a:gd name="connsiteY22" fmla="*/ 4053 h 10000"/>
                    <a:gd name="connsiteX23" fmla="*/ 1922 w 10000"/>
                    <a:gd name="connsiteY23" fmla="*/ 0 h 10000"/>
                    <a:gd name="connsiteX24" fmla="*/ 5036 w 10000"/>
                    <a:gd name="connsiteY24" fmla="*/ 0 h 10000"/>
                    <a:gd name="connsiteX25" fmla="*/ 7398 w 10000"/>
                    <a:gd name="connsiteY25" fmla="*/ 0 h 10000"/>
                    <a:gd name="connsiteX26" fmla="*/ 9992 w 10000"/>
                    <a:gd name="connsiteY26" fmla="*/ 0 h 10000"/>
                    <a:gd name="connsiteX27" fmla="*/ 10000 w 10000"/>
                    <a:gd name="connsiteY27" fmla="*/ 10000 h 10000"/>
                    <a:gd name="connsiteX28" fmla="*/ 7808 w 10000"/>
                    <a:gd name="connsiteY28" fmla="*/ 10000 h 10000"/>
                    <a:gd name="connsiteX29" fmla="*/ 7710 w 10000"/>
                    <a:gd name="connsiteY29" fmla="*/ 10000 h 10000"/>
                    <a:gd name="connsiteX30" fmla="*/ 6588 w 10000"/>
                    <a:gd name="connsiteY30" fmla="*/ 10000 h 10000"/>
                    <a:gd name="connsiteX0" fmla="*/ 6588 w 10000"/>
                    <a:gd name="connsiteY0" fmla="*/ 10000 h 10000"/>
                    <a:gd name="connsiteX1" fmla="*/ 6547 w 10000"/>
                    <a:gd name="connsiteY1" fmla="*/ 9008 h 10000"/>
                    <a:gd name="connsiteX2" fmla="*/ 6714 w 10000"/>
                    <a:gd name="connsiteY2" fmla="*/ 8501 h 10000"/>
                    <a:gd name="connsiteX3" fmla="*/ 6002 w 10000"/>
                    <a:gd name="connsiteY3" fmla="*/ 7614 h 10000"/>
                    <a:gd name="connsiteX4" fmla="*/ 5290 w 10000"/>
                    <a:gd name="connsiteY4" fmla="*/ 8501 h 10000"/>
                    <a:gd name="connsiteX5" fmla="*/ 5406 w 10000"/>
                    <a:gd name="connsiteY5" fmla="*/ 8993 h 10000"/>
                    <a:gd name="connsiteX6" fmla="*/ 5426 w 10000"/>
                    <a:gd name="connsiteY6" fmla="*/ 9017 h 10000"/>
                    <a:gd name="connsiteX7" fmla="*/ 5416 w 10000"/>
                    <a:gd name="connsiteY7" fmla="*/ 10000 h 10000"/>
                    <a:gd name="connsiteX8" fmla="*/ 4187 w 10000"/>
                    <a:gd name="connsiteY8" fmla="*/ 10000 h 10000"/>
                    <a:gd name="connsiteX9" fmla="*/ 4011 w 10000"/>
                    <a:gd name="connsiteY9" fmla="*/ 10000 h 10000"/>
                    <a:gd name="connsiteX10" fmla="*/ 2030 w 10000"/>
                    <a:gd name="connsiteY10" fmla="*/ 10000 h 10000"/>
                    <a:gd name="connsiteX11" fmla="*/ 1922 w 10000"/>
                    <a:gd name="connsiteY11" fmla="*/ 10000 h 10000"/>
                    <a:gd name="connsiteX12" fmla="*/ 1922 w 10000"/>
                    <a:gd name="connsiteY12" fmla="*/ 5875 h 10000"/>
                    <a:gd name="connsiteX13" fmla="*/ 1922 w 10000"/>
                    <a:gd name="connsiteY13" fmla="*/ 5683 h 10000"/>
                    <a:gd name="connsiteX14" fmla="*/ 1133 w 10000"/>
                    <a:gd name="connsiteY14" fmla="*/ 5683 h 10000"/>
                    <a:gd name="connsiteX15" fmla="*/ 1123 w 10000"/>
                    <a:gd name="connsiteY15" fmla="*/ 5695 h 10000"/>
                    <a:gd name="connsiteX16" fmla="*/ 713 w 10000"/>
                    <a:gd name="connsiteY16" fmla="*/ 5851 h 10000"/>
                    <a:gd name="connsiteX17" fmla="*/ 0 w 10000"/>
                    <a:gd name="connsiteY17" fmla="*/ 4964 h 10000"/>
                    <a:gd name="connsiteX18" fmla="*/ 713 w 10000"/>
                    <a:gd name="connsiteY18" fmla="*/ 4077 h 10000"/>
                    <a:gd name="connsiteX19" fmla="*/ 1113 w 10000"/>
                    <a:gd name="connsiteY19" fmla="*/ 4233 h 10000"/>
                    <a:gd name="connsiteX20" fmla="*/ 1133 w 10000"/>
                    <a:gd name="connsiteY20" fmla="*/ 4245 h 10000"/>
                    <a:gd name="connsiteX21" fmla="*/ 1922 w 10000"/>
                    <a:gd name="connsiteY21" fmla="*/ 4245 h 10000"/>
                    <a:gd name="connsiteX22" fmla="*/ 1922 w 10000"/>
                    <a:gd name="connsiteY22" fmla="*/ 4053 h 10000"/>
                    <a:gd name="connsiteX23" fmla="*/ 1922 w 10000"/>
                    <a:gd name="connsiteY23" fmla="*/ 0 h 10000"/>
                    <a:gd name="connsiteX24" fmla="*/ 5036 w 10000"/>
                    <a:gd name="connsiteY24" fmla="*/ 0 h 10000"/>
                    <a:gd name="connsiteX25" fmla="*/ 7398 w 10000"/>
                    <a:gd name="connsiteY25" fmla="*/ 0 h 10000"/>
                    <a:gd name="connsiteX26" fmla="*/ 9992 w 10000"/>
                    <a:gd name="connsiteY26" fmla="*/ 0 h 10000"/>
                    <a:gd name="connsiteX27" fmla="*/ 10000 w 10000"/>
                    <a:gd name="connsiteY27" fmla="*/ 10000 h 10000"/>
                    <a:gd name="connsiteX28" fmla="*/ 7808 w 10000"/>
                    <a:gd name="connsiteY28" fmla="*/ 10000 h 10000"/>
                    <a:gd name="connsiteX29" fmla="*/ 7710 w 10000"/>
                    <a:gd name="connsiteY29" fmla="*/ 10000 h 10000"/>
                    <a:gd name="connsiteX30" fmla="*/ 6588 w 10000"/>
                    <a:gd name="connsiteY30" fmla="*/ 10000 h 10000"/>
                    <a:gd name="connsiteX0" fmla="*/ 6588 w 10000"/>
                    <a:gd name="connsiteY0" fmla="*/ 10000 h 10000"/>
                    <a:gd name="connsiteX1" fmla="*/ 6547 w 10000"/>
                    <a:gd name="connsiteY1" fmla="*/ 9008 h 10000"/>
                    <a:gd name="connsiteX2" fmla="*/ 6714 w 10000"/>
                    <a:gd name="connsiteY2" fmla="*/ 8501 h 10000"/>
                    <a:gd name="connsiteX3" fmla="*/ 6002 w 10000"/>
                    <a:gd name="connsiteY3" fmla="*/ 7614 h 10000"/>
                    <a:gd name="connsiteX4" fmla="*/ 5290 w 10000"/>
                    <a:gd name="connsiteY4" fmla="*/ 8501 h 10000"/>
                    <a:gd name="connsiteX5" fmla="*/ 5406 w 10000"/>
                    <a:gd name="connsiteY5" fmla="*/ 8993 h 10000"/>
                    <a:gd name="connsiteX6" fmla="*/ 5426 w 10000"/>
                    <a:gd name="connsiteY6" fmla="*/ 9017 h 10000"/>
                    <a:gd name="connsiteX7" fmla="*/ 5416 w 10000"/>
                    <a:gd name="connsiteY7" fmla="*/ 10000 h 10000"/>
                    <a:gd name="connsiteX8" fmla="*/ 4187 w 10000"/>
                    <a:gd name="connsiteY8" fmla="*/ 10000 h 10000"/>
                    <a:gd name="connsiteX9" fmla="*/ 4011 w 10000"/>
                    <a:gd name="connsiteY9" fmla="*/ 10000 h 10000"/>
                    <a:gd name="connsiteX10" fmla="*/ 2030 w 10000"/>
                    <a:gd name="connsiteY10" fmla="*/ 10000 h 10000"/>
                    <a:gd name="connsiteX11" fmla="*/ 1922 w 10000"/>
                    <a:gd name="connsiteY11" fmla="*/ 10000 h 10000"/>
                    <a:gd name="connsiteX12" fmla="*/ 1922 w 10000"/>
                    <a:gd name="connsiteY12" fmla="*/ 5875 h 10000"/>
                    <a:gd name="connsiteX13" fmla="*/ 1922 w 10000"/>
                    <a:gd name="connsiteY13" fmla="*/ 5683 h 10000"/>
                    <a:gd name="connsiteX14" fmla="*/ 1133 w 10000"/>
                    <a:gd name="connsiteY14" fmla="*/ 5683 h 10000"/>
                    <a:gd name="connsiteX15" fmla="*/ 1123 w 10000"/>
                    <a:gd name="connsiteY15" fmla="*/ 5695 h 10000"/>
                    <a:gd name="connsiteX16" fmla="*/ 713 w 10000"/>
                    <a:gd name="connsiteY16" fmla="*/ 5851 h 10000"/>
                    <a:gd name="connsiteX17" fmla="*/ 0 w 10000"/>
                    <a:gd name="connsiteY17" fmla="*/ 4964 h 10000"/>
                    <a:gd name="connsiteX18" fmla="*/ 713 w 10000"/>
                    <a:gd name="connsiteY18" fmla="*/ 4077 h 10000"/>
                    <a:gd name="connsiteX19" fmla="*/ 1113 w 10000"/>
                    <a:gd name="connsiteY19" fmla="*/ 4233 h 10000"/>
                    <a:gd name="connsiteX20" fmla="*/ 1133 w 10000"/>
                    <a:gd name="connsiteY20" fmla="*/ 4245 h 10000"/>
                    <a:gd name="connsiteX21" fmla="*/ 1922 w 10000"/>
                    <a:gd name="connsiteY21" fmla="*/ 4245 h 10000"/>
                    <a:gd name="connsiteX22" fmla="*/ 1922 w 10000"/>
                    <a:gd name="connsiteY22" fmla="*/ 4053 h 10000"/>
                    <a:gd name="connsiteX23" fmla="*/ 1922 w 10000"/>
                    <a:gd name="connsiteY23" fmla="*/ 0 h 10000"/>
                    <a:gd name="connsiteX24" fmla="*/ 5036 w 10000"/>
                    <a:gd name="connsiteY24" fmla="*/ 0 h 10000"/>
                    <a:gd name="connsiteX25" fmla="*/ 7398 w 10000"/>
                    <a:gd name="connsiteY25" fmla="*/ 0 h 10000"/>
                    <a:gd name="connsiteX26" fmla="*/ 9992 w 10000"/>
                    <a:gd name="connsiteY26" fmla="*/ 0 h 10000"/>
                    <a:gd name="connsiteX27" fmla="*/ 10000 w 10000"/>
                    <a:gd name="connsiteY27" fmla="*/ 10000 h 10000"/>
                    <a:gd name="connsiteX28" fmla="*/ 7808 w 10000"/>
                    <a:gd name="connsiteY28" fmla="*/ 10000 h 10000"/>
                    <a:gd name="connsiteX29" fmla="*/ 7710 w 10000"/>
                    <a:gd name="connsiteY29" fmla="*/ 10000 h 10000"/>
                    <a:gd name="connsiteX30" fmla="*/ 6588 w 10000"/>
                    <a:gd name="connsiteY30" fmla="*/ 10000 h 10000"/>
                    <a:gd name="connsiteX0" fmla="*/ 6588 w 10000"/>
                    <a:gd name="connsiteY0" fmla="*/ 10000 h 10000"/>
                    <a:gd name="connsiteX1" fmla="*/ 6547 w 10000"/>
                    <a:gd name="connsiteY1" fmla="*/ 9008 h 10000"/>
                    <a:gd name="connsiteX2" fmla="*/ 6714 w 10000"/>
                    <a:gd name="connsiteY2" fmla="*/ 8501 h 10000"/>
                    <a:gd name="connsiteX3" fmla="*/ 6002 w 10000"/>
                    <a:gd name="connsiteY3" fmla="*/ 7614 h 10000"/>
                    <a:gd name="connsiteX4" fmla="*/ 5290 w 10000"/>
                    <a:gd name="connsiteY4" fmla="*/ 8501 h 10000"/>
                    <a:gd name="connsiteX5" fmla="*/ 5406 w 10000"/>
                    <a:gd name="connsiteY5" fmla="*/ 8993 h 10000"/>
                    <a:gd name="connsiteX6" fmla="*/ 5426 w 10000"/>
                    <a:gd name="connsiteY6" fmla="*/ 9017 h 10000"/>
                    <a:gd name="connsiteX7" fmla="*/ 5416 w 10000"/>
                    <a:gd name="connsiteY7" fmla="*/ 10000 h 10000"/>
                    <a:gd name="connsiteX8" fmla="*/ 4187 w 10000"/>
                    <a:gd name="connsiteY8" fmla="*/ 10000 h 10000"/>
                    <a:gd name="connsiteX9" fmla="*/ 4011 w 10000"/>
                    <a:gd name="connsiteY9" fmla="*/ 10000 h 10000"/>
                    <a:gd name="connsiteX10" fmla="*/ 2030 w 10000"/>
                    <a:gd name="connsiteY10" fmla="*/ 10000 h 10000"/>
                    <a:gd name="connsiteX11" fmla="*/ 1922 w 10000"/>
                    <a:gd name="connsiteY11" fmla="*/ 10000 h 10000"/>
                    <a:gd name="connsiteX12" fmla="*/ 1922 w 10000"/>
                    <a:gd name="connsiteY12" fmla="*/ 5875 h 10000"/>
                    <a:gd name="connsiteX13" fmla="*/ 1922 w 10000"/>
                    <a:gd name="connsiteY13" fmla="*/ 5683 h 10000"/>
                    <a:gd name="connsiteX14" fmla="*/ 1133 w 10000"/>
                    <a:gd name="connsiteY14" fmla="*/ 5683 h 10000"/>
                    <a:gd name="connsiteX15" fmla="*/ 1123 w 10000"/>
                    <a:gd name="connsiteY15" fmla="*/ 5695 h 10000"/>
                    <a:gd name="connsiteX16" fmla="*/ 713 w 10000"/>
                    <a:gd name="connsiteY16" fmla="*/ 5851 h 10000"/>
                    <a:gd name="connsiteX17" fmla="*/ 0 w 10000"/>
                    <a:gd name="connsiteY17" fmla="*/ 4964 h 10000"/>
                    <a:gd name="connsiteX18" fmla="*/ 713 w 10000"/>
                    <a:gd name="connsiteY18" fmla="*/ 4077 h 10000"/>
                    <a:gd name="connsiteX19" fmla="*/ 1113 w 10000"/>
                    <a:gd name="connsiteY19" fmla="*/ 4233 h 10000"/>
                    <a:gd name="connsiteX20" fmla="*/ 1133 w 10000"/>
                    <a:gd name="connsiteY20" fmla="*/ 4245 h 10000"/>
                    <a:gd name="connsiteX21" fmla="*/ 1922 w 10000"/>
                    <a:gd name="connsiteY21" fmla="*/ 4245 h 10000"/>
                    <a:gd name="connsiteX22" fmla="*/ 1922 w 10000"/>
                    <a:gd name="connsiteY22" fmla="*/ 4053 h 10000"/>
                    <a:gd name="connsiteX23" fmla="*/ 1922 w 10000"/>
                    <a:gd name="connsiteY23" fmla="*/ 0 h 10000"/>
                    <a:gd name="connsiteX24" fmla="*/ 5036 w 10000"/>
                    <a:gd name="connsiteY24" fmla="*/ 0 h 10000"/>
                    <a:gd name="connsiteX25" fmla="*/ 7398 w 10000"/>
                    <a:gd name="connsiteY25" fmla="*/ 0 h 10000"/>
                    <a:gd name="connsiteX26" fmla="*/ 9992 w 10000"/>
                    <a:gd name="connsiteY26" fmla="*/ 0 h 10000"/>
                    <a:gd name="connsiteX27" fmla="*/ 10000 w 10000"/>
                    <a:gd name="connsiteY27" fmla="*/ 10000 h 10000"/>
                    <a:gd name="connsiteX28" fmla="*/ 7808 w 10000"/>
                    <a:gd name="connsiteY28" fmla="*/ 10000 h 10000"/>
                    <a:gd name="connsiteX29" fmla="*/ 7710 w 10000"/>
                    <a:gd name="connsiteY29" fmla="*/ 10000 h 10000"/>
                    <a:gd name="connsiteX30" fmla="*/ 6588 w 10000"/>
                    <a:gd name="connsiteY30" fmla="*/ 10000 h 10000"/>
                    <a:gd name="connsiteX0" fmla="*/ 6588 w 10000"/>
                    <a:gd name="connsiteY0" fmla="*/ 10000 h 10000"/>
                    <a:gd name="connsiteX1" fmla="*/ 6547 w 10000"/>
                    <a:gd name="connsiteY1" fmla="*/ 9008 h 10000"/>
                    <a:gd name="connsiteX2" fmla="*/ 6714 w 10000"/>
                    <a:gd name="connsiteY2" fmla="*/ 8501 h 10000"/>
                    <a:gd name="connsiteX3" fmla="*/ 6002 w 10000"/>
                    <a:gd name="connsiteY3" fmla="*/ 7614 h 10000"/>
                    <a:gd name="connsiteX4" fmla="*/ 5290 w 10000"/>
                    <a:gd name="connsiteY4" fmla="*/ 8501 h 10000"/>
                    <a:gd name="connsiteX5" fmla="*/ 5406 w 10000"/>
                    <a:gd name="connsiteY5" fmla="*/ 8993 h 10000"/>
                    <a:gd name="connsiteX6" fmla="*/ 5426 w 10000"/>
                    <a:gd name="connsiteY6" fmla="*/ 9017 h 10000"/>
                    <a:gd name="connsiteX7" fmla="*/ 5416 w 10000"/>
                    <a:gd name="connsiteY7" fmla="*/ 10000 h 10000"/>
                    <a:gd name="connsiteX8" fmla="*/ 4187 w 10000"/>
                    <a:gd name="connsiteY8" fmla="*/ 10000 h 10000"/>
                    <a:gd name="connsiteX9" fmla="*/ 4011 w 10000"/>
                    <a:gd name="connsiteY9" fmla="*/ 10000 h 10000"/>
                    <a:gd name="connsiteX10" fmla="*/ 2030 w 10000"/>
                    <a:gd name="connsiteY10" fmla="*/ 10000 h 10000"/>
                    <a:gd name="connsiteX11" fmla="*/ 1922 w 10000"/>
                    <a:gd name="connsiteY11" fmla="*/ 10000 h 10000"/>
                    <a:gd name="connsiteX12" fmla="*/ 1922 w 10000"/>
                    <a:gd name="connsiteY12" fmla="*/ 5875 h 10000"/>
                    <a:gd name="connsiteX13" fmla="*/ 1922 w 10000"/>
                    <a:gd name="connsiteY13" fmla="*/ 5683 h 10000"/>
                    <a:gd name="connsiteX14" fmla="*/ 1133 w 10000"/>
                    <a:gd name="connsiteY14" fmla="*/ 5683 h 10000"/>
                    <a:gd name="connsiteX15" fmla="*/ 1123 w 10000"/>
                    <a:gd name="connsiteY15" fmla="*/ 5695 h 10000"/>
                    <a:gd name="connsiteX16" fmla="*/ 713 w 10000"/>
                    <a:gd name="connsiteY16" fmla="*/ 5851 h 10000"/>
                    <a:gd name="connsiteX17" fmla="*/ 0 w 10000"/>
                    <a:gd name="connsiteY17" fmla="*/ 4964 h 10000"/>
                    <a:gd name="connsiteX18" fmla="*/ 713 w 10000"/>
                    <a:gd name="connsiteY18" fmla="*/ 4077 h 10000"/>
                    <a:gd name="connsiteX19" fmla="*/ 1113 w 10000"/>
                    <a:gd name="connsiteY19" fmla="*/ 4233 h 10000"/>
                    <a:gd name="connsiteX20" fmla="*/ 1133 w 10000"/>
                    <a:gd name="connsiteY20" fmla="*/ 4245 h 10000"/>
                    <a:gd name="connsiteX21" fmla="*/ 1922 w 10000"/>
                    <a:gd name="connsiteY21" fmla="*/ 4245 h 10000"/>
                    <a:gd name="connsiteX22" fmla="*/ 1922 w 10000"/>
                    <a:gd name="connsiteY22" fmla="*/ 4053 h 10000"/>
                    <a:gd name="connsiteX23" fmla="*/ 1922 w 10000"/>
                    <a:gd name="connsiteY23" fmla="*/ 0 h 10000"/>
                    <a:gd name="connsiteX24" fmla="*/ 5036 w 10000"/>
                    <a:gd name="connsiteY24" fmla="*/ 0 h 10000"/>
                    <a:gd name="connsiteX25" fmla="*/ 7398 w 10000"/>
                    <a:gd name="connsiteY25" fmla="*/ 0 h 10000"/>
                    <a:gd name="connsiteX26" fmla="*/ 9992 w 10000"/>
                    <a:gd name="connsiteY26" fmla="*/ 0 h 10000"/>
                    <a:gd name="connsiteX27" fmla="*/ 10000 w 10000"/>
                    <a:gd name="connsiteY27" fmla="*/ 10000 h 10000"/>
                    <a:gd name="connsiteX28" fmla="*/ 7808 w 10000"/>
                    <a:gd name="connsiteY28" fmla="*/ 10000 h 10000"/>
                    <a:gd name="connsiteX29" fmla="*/ 7710 w 10000"/>
                    <a:gd name="connsiteY29" fmla="*/ 10000 h 10000"/>
                    <a:gd name="connsiteX30" fmla="*/ 6588 w 10000"/>
                    <a:gd name="connsiteY30" fmla="*/ 10000 h 10000"/>
                    <a:gd name="connsiteX0" fmla="*/ 6588 w 10000"/>
                    <a:gd name="connsiteY0" fmla="*/ 10000 h 10000"/>
                    <a:gd name="connsiteX1" fmla="*/ 6547 w 10000"/>
                    <a:gd name="connsiteY1" fmla="*/ 9008 h 10000"/>
                    <a:gd name="connsiteX2" fmla="*/ 6714 w 10000"/>
                    <a:gd name="connsiteY2" fmla="*/ 8501 h 10000"/>
                    <a:gd name="connsiteX3" fmla="*/ 6002 w 10000"/>
                    <a:gd name="connsiteY3" fmla="*/ 7614 h 10000"/>
                    <a:gd name="connsiteX4" fmla="*/ 5290 w 10000"/>
                    <a:gd name="connsiteY4" fmla="*/ 8501 h 10000"/>
                    <a:gd name="connsiteX5" fmla="*/ 5406 w 10000"/>
                    <a:gd name="connsiteY5" fmla="*/ 8993 h 10000"/>
                    <a:gd name="connsiteX6" fmla="*/ 5426 w 10000"/>
                    <a:gd name="connsiteY6" fmla="*/ 9017 h 10000"/>
                    <a:gd name="connsiteX7" fmla="*/ 5416 w 10000"/>
                    <a:gd name="connsiteY7" fmla="*/ 10000 h 10000"/>
                    <a:gd name="connsiteX8" fmla="*/ 4187 w 10000"/>
                    <a:gd name="connsiteY8" fmla="*/ 10000 h 10000"/>
                    <a:gd name="connsiteX9" fmla="*/ 4011 w 10000"/>
                    <a:gd name="connsiteY9" fmla="*/ 10000 h 10000"/>
                    <a:gd name="connsiteX10" fmla="*/ 2030 w 10000"/>
                    <a:gd name="connsiteY10" fmla="*/ 10000 h 10000"/>
                    <a:gd name="connsiteX11" fmla="*/ 1922 w 10000"/>
                    <a:gd name="connsiteY11" fmla="*/ 10000 h 10000"/>
                    <a:gd name="connsiteX12" fmla="*/ 1922 w 10000"/>
                    <a:gd name="connsiteY12" fmla="*/ 5875 h 10000"/>
                    <a:gd name="connsiteX13" fmla="*/ 1922 w 10000"/>
                    <a:gd name="connsiteY13" fmla="*/ 5683 h 10000"/>
                    <a:gd name="connsiteX14" fmla="*/ 1133 w 10000"/>
                    <a:gd name="connsiteY14" fmla="*/ 5683 h 10000"/>
                    <a:gd name="connsiteX15" fmla="*/ 1123 w 10000"/>
                    <a:gd name="connsiteY15" fmla="*/ 5695 h 10000"/>
                    <a:gd name="connsiteX16" fmla="*/ 713 w 10000"/>
                    <a:gd name="connsiteY16" fmla="*/ 5851 h 10000"/>
                    <a:gd name="connsiteX17" fmla="*/ 0 w 10000"/>
                    <a:gd name="connsiteY17" fmla="*/ 4964 h 10000"/>
                    <a:gd name="connsiteX18" fmla="*/ 713 w 10000"/>
                    <a:gd name="connsiteY18" fmla="*/ 4077 h 10000"/>
                    <a:gd name="connsiteX19" fmla="*/ 1113 w 10000"/>
                    <a:gd name="connsiteY19" fmla="*/ 4233 h 10000"/>
                    <a:gd name="connsiteX20" fmla="*/ 1133 w 10000"/>
                    <a:gd name="connsiteY20" fmla="*/ 4245 h 10000"/>
                    <a:gd name="connsiteX21" fmla="*/ 1922 w 10000"/>
                    <a:gd name="connsiteY21" fmla="*/ 4245 h 10000"/>
                    <a:gd name="connsiteX22" fmla="*/ 1922 w 10000"/>
                    <a:gd name="connsiteY22" fmla="*/ 4053 h 10000"/>
                    <a:gd name="connsiteX23" fmla="*/ 1922 w 10000"/>
                    <a:gd name="connsiteY23" fmla="*/ 0 h 10000"/>
                    <a:gd name="connsiteX24" fmla="*/ 5036 w 10000"/>
                    <a:gd name="connsiteY24" fmla="*/ 0 h 10000"/>
                    <a:gd name="connsiteX25" fmla="*/ 7398 w 10000"/>
                    <a:gd name="connsiteY25" fmla="*/ 0 h 10000"/>
                    <a:gd name="connsiteX26" fmla="*/ 9992 w 10000"/>
                    <a:gd name="connsiteY26" fmla="*/ 0 h 10000"/>
                    <a:gd name="connsiteX27" fmla="*/ 10000 w 10000"/>
                    <a:gd name="connsiteY27" fmla="*/ 10000 h 10000"/>
                    <a:gd name="connsiteX28" fmla="*/ 7808 w 10000"/>
                    <a:gd name="connsiteY28" fmla="*/ 10000 h 10000"/>
                    <a:gd name="connsiteX29" fmla="*/ 7710 w 10000"/>
                    <a:gd name="connsiteY29" fmla="*/ 10000 h 10000"/>
                    <a:gd name="connsiteX30" fmla="*/ 6588 w 10000"/>
                    <a:gd name="connsiteY30" fmla="*/ 10000 h 10000"/>
                    <a:gd name="connsiteX0" fmla="*/ 6588 w 10000"/>
                    <a:gd name="connsiteY0" fmla="*/ 10000 h 10000"/>
                    <a:gd name="connsiteX1" fmla="*/ 6547 w 10000"/>
                    <a:gd name="connsiteY1" fmla="*/ 9008 h 10000"/>
                    <a:gd name="connsiteX2" fmla="*/ 6714 w 10000"/>
                    <a:gd name="connsiteY2" fmla="*/ 8501 h 10000"/>
                    <a:gd name="connsiteX3" fmla="*/ 6002 w 10000"/>
                    <a:gd name="connsiteY3" fmla="*/ 7614 h 10000"/>
                    <a:gd name="connsiteX4" fmla="*/ 5290 w 10000"/>
                    <a:gd name="connsiteY4" fmla="*/ 8501 h 10000"/>
                    <a:gd name="connsiteX5" fmla="*/ 5406 w 10000"/>
                    <a:gd name="connsiteY5" fmla="*/ 8993 h 10000"/>
                    <a:gd name="connsiteX6" fmla="*/ 5426 w 10000"/>
                    <a:gd name="connsiteY6" fmla="*/ 9017 h 10000"/>
                    <a:gd name="connsiteX7" fmla="*/ 5416 w 10000"/>
                    <a:gd name="connsiteY7" fmla="*/ 10000 h 10000"/>
                    <a:gd name="connsiteX8" fmla="*/ 4187 w 10000"/>
                    <a:gd name="connsiteY8" fmla="*/ 10000 h 10000"/>
                    <a:gd name="connsiteX9" fmla="*/ 4011 w 10000"/>
                    <a:gd name="connsiteY9" fmla="*/ 10000 h 10000"/>
                    <a:gd name="connsiteX10" fmla="*/ 2030 w 10000"/>
                    <a:gd name="connsiteY10" fmla="*/ 10000 h 10000"/>
                    <a:gd name="connsiteX11" fmla="*/ 1922 w 10000"/>
                    <a:gd name="connsiteY11" fmla="*/ 10000 h 10000"/>
                    <a:gd name="connsiteX12" fmla="*/ 1922 w 10000"/>
                    <a:gd name="connsiteY12" fmla="*/ 5875 h 10000"/>
                    <a:gd name="connsiteX13" fmla="*/ 1922 w 10000"/>
                    <a:gd name="connsiteY13" fmla="*/ 5683 h 10000"/>
                    <a:gd name="connsiteX14" fmla="*/ 1133 w 10000"/>
                    <a:gd name="connsiteY14" fmla="*/ 5683 h 10000"/>
                    <a:gd name="connsiteX15" fmla="*/ 1123 w 10000"/>
                    <a:gd name="connsiteY15" fmla="*/ 5695 h 10000"/>
                    <a:gd name="connsiteX16" fmla="*/ 713 w 10000"/>
                    <a:gd name="connsiteY16" fmla="*/ 5851 h 10000"/>
                    <a:gd name="connsiteX17" fmla="*/ 0 w 10000"/>
                    <a:gd name="connsiteY17" fmla="*/ 4964 h 10000"/>
                    <a:gd name="connsiteX18" fmla="*/ 713 w 10000"/>
                    <a:gd name="connsiteY18" fmla="*/ 4077 h 10000"/>
                    <a:gd name="connsiteX19" fmla="*/ 1113 w 10000"/>
                    <a:gd name="connsiteY19" fmla="*/ 4233 h 10000"/>
                    <a:gd name="connsiteX20" fmla="*/ 1133 w 10000"/>
                    <a:gd name="connsiteY20" fmla="*/ 4245 h 10000"/>
                    <a:gd name="connsiteX21" fmla="*/ 1922 w 10000"/>
                    <a:gd name="connsiteY21" fmla="*/ 4245 h 10000"/>
                    <a:gd name="connsiteX22" fmla="*/ 1922 w 10000"/>
                    <a:gd name="connsiteY22" fmla="*/ 4053 h 10000"/>
                    <a:gd name="connsiteX23" fmla="*/ 1922 w 10000"/>
                    <a:gd name="connsiteY23" fmla="*/ 0 h 10000"/>
                    <a:gd name="connsiteX24" fmla="*/ 5036 w 10000"/>
                    <a:gd name="connsiteY24" fmla="*/ 0 h 10000"/>
                    <a:gd name="connsiteX25" fmla="*/ 7398 w 10000"/>
                    <a:gd name="connsiteY25" fmla="*/ 0 h 10000"/>
                    <a:gd name="connsiteX26" fmla="*/ 9992 w 10000"/>
                    <a:gd name="connsiteY26" fmla="*/ 0 h 10000"/>
                    <a:gd name="connsiteX27" fmla="*/ 10000 w 10000"/>
                    <a:gd name="connsiteY27" fmla="*/ 10000 h 10000"/>
                    <a:gd name="connsiteX28" fmla="*/ 7808 w 10000"/>
                    <a:gd name="connsiteY28" fmla="*/ 10000 h 10000"/>
                    <a:gd name="connsiteX29" fmla="*/ 7710 w 10000"/>
                    <a:gd name="connsiteY29" fmla="*/ 10000 h 10000"/>
                    <a:gd name="connsiteX30" fmla="*/ 6588 w 10000"/>
                    <a:gd name="connsiteY30" fmla="*/ 10000 h 10000"/>
                    <a:gd name="connsiteX0" fmla="*/ 6588 w 10000"/>
                    <a:gd name="connsiteY0" fmla="*/ 10000 h 10000"/>
                    <a:gd name="connsiteX1" fmla="*/ 6547 w 10000"/>
                    <a:gd name="connsiteY1" fmla="*/ 9008 h 10000"/>
                    <a:gd name="connsiteX2" fmla="*/ 6714 w 10000"/>
                    <a:gd name="connsiteY2" fmla="*/ 8501 h 10000"/>
                    <a:gd name="connsiteX3" fmla="*/ 6002 w 10000"/>
                    <a:gd name="connsiteY3" fmla="*/ 7614 h 10000"/>
                    <a:gd name="connsiteX4" fmla="*/ 5290 w 10000"/>
                    <a:gd name="connsiteY4" fmla="*/ 8501 h 10000"/>
                    <a:gd name="connsiteX5" fmla="*/ 5406 w 10000"/>
                    <a:gd name="connsiteY5" fmla="*/ 8993 h 10000"/>
                    <a:gd name="connsiteX6" fmla="*/ 5426 w 10000"/>
                    <a:gd name="connsiteY6" fmla="*/ 9017 h 10000"/>
                    <a:gd name="connsiteX7" fmla="*/ 5416 w 10000"/>
                    <a:gd name="connsiteY7" fmla="*/ 10000 h 10000"/>
                    <a:gd name="connsiteX8" fmla="*/ 4187 w 10000"/>
                    <a:gd name="connsiteY8" fmla="*/ 10000 h 10000"/>
                    <a:gd name="connsiteX9" fmla="*/ 4011 w 10000"/>
                    <a:gd name="connsiteY9" fmla="*/ 10000 h 10000"/>
                    <a:gd name="connsiteX10" fmla="*/ 2030 w 10000"/>
                    <a:gd name="connsiteY10" fmla="*/ 10000 h 10000"/>
                    <a:gd name="connsiteX11" fmla="*/ 1922 w 10000"/>
                    <a:gd name="connsiteY11" fmla="*/ 10000 h 10000"/>
                    <a:gd name="connsiteX12" fmla="*/ 1922 w 10000"/>
                    <a:gd name="connsiteY12" fmla="*/ 5875 h 10000"/>
                    <a:gd name="connsiteX13" fmla="*/ 1922 w 10000"/>
                    <a:gd name="connsiteY13" fmla="*/ 5683 h 10000"/>
                    <a:gd name="connsiteX14" fmla="*/ 1133 w 10000"/>
                    <a:gd name="connsiteY14" fmla="*/ 5683 h 10000"/>
                    <a:gd name="connsiteX15" fmla="*/ 1123 w 10000"/>
                    <a:gd name="connsiteY15" fmla="*/ 5695 h 10000"/>
                    <a:gd name="connsiteX16" fmla="*/ 713 w 10000"/>
                    <a:gd name="connsiteY16" fmla="*/ 5851 h 10000"/>
                    <a:gd name="connsiteX17" fmla="*/ 0 w 10000"/>
                    <a:gd name="connsiteY17" fmla="*/ 4964 h 10000"/>
                    <a:gd name="connsiteX18" fmla="*/ 713 w 10000"/>
                    <a:gd name="connsiteY18" fmla="*/ 4077 h 10000"/>
                    <a:gd name="connsiteX19" fmla="*/ 1113 w 10000"/>
                    <a:gd name="connsiteY19" fmla="*/ 4233 h 10000"/>
                    <a:gd name="connsiteX20" fmla="*/ 1133 w 10000"/>
                    <a:gd name="connsiteY20" fmla="*/ 4245 h 10000"/>
                    <a:gd name="connsiteX21" fmla="*/ 1922 w 10000"/>
                    <a:gd name="connsiteY21" fmla="*/ 4245 h 10000"/>
                    <a:gd name="connsiteX22" fmla="*/ 1922 w 10000"/>
                    <a:gd name="connsiteY22" fmla="*/ 4053 h 10000"/>
                    <a:gd name="connsiteX23" fmla="*/ 1922 w 10000"/>
                    <a:gd name="connsiteY23" fmla="*/ 0 h 10000"/>
                    <a:gd name="connsiteX24" fmla="*/ 5036 w 10000"/>
                    <a:gd name="connsiteY24" fmla="*/ 0 h 10000"/>
                    <a:gd name="connsiteX25" fmla="*/ 7398 w 10000"/>
                    <a:gd name="connsiteY25" fmla="*/ 0 h 10000"/>
                    <a:gd name="connsiteX26" fmla="*/ 9992 w 10000"/>
                    <a:gd name="connsiteY26" fmla="*/ 0 h 10000"/>
                    <a:gd name="connsiteX27" fmla="*/ 10000 w 10000"/>
                    <a:gd name="connsiteY27" fmla="*/ 10000 h 10000"/>
                    <a:gd name="connsiteX28" fmla="*/ 7808 w 10000"/>
                    <a:gd name="connsiteY28" fmla="*/ 10000 h 10000"/>
                    <a:gd name="connsiteX29" fmla="*/ 7710 w 10000"/>
                    <a:gd name="connsiteY29" fmla="*/ 10000 h 10000"/>
                    <a:gd name="connsiteX30" fmla="*/ 6588 w 10000"/>
                    <a:gd name="connsiteY30" fmla="*/ 10000 h 10000"/>
                    <a:gd name="connsiteX0" fmla="*/ 6588 w 10000"/>
                    <a:gd name="connsiteY0" fmla="*/ 10000 h 10000"/>
                    <a:gd name="connsiteX1" fmla="*/ 6547 w 10000"/>
                    <a:gd name="connsiteY1" fmla="*/ 9008 h 10000"/>
                    <a:gd name="connsiteX2" fmla="*/ 6714 w 10000"/>
                    <a:gd name="connsiteY2" fmla="*/ 8501 h 10000"/>
                    <a:gd name="connsiteX3" fmla="*/ 6002 w 10000"/>
                    <a:gd name="connsiteY3" fmla="*/ 7614 h 10000"/>
                    <a:gd name="connsiteX4" fmla="*/ 5290 w 10000"/>
                    <a:gd name="connsiteY4" fmla="*/ 8501 h 10000"/>
                    <a:gd name="connsiteX5" fmla="*/ 5406 w 10000"/>
                    <a:gd name="connsiteY5" fmla="*/ 8993 h 10000"/>
                    <a:gd name="connsiteX6" fmla="*/ 5426 w 10000"/>
                    <a:gd name="connsiteY6" fmla="*/ 9017 h 10000"/>
                    <a:gd name="connsiteX7" fmla="*/ 5416 w 10000"/>
                    <a:gd name="connsiteY7" fmla="*/ 10000 h 10000"/>
                    <a:gd name="connsiteX8" fmla="*/ 4187 w 10000"/>
                    <a:gd name="connsiteY8" fmla="*/ 10000 h 10000"/>
                    <a:gd name="connsiteX9" fmla="*/ 4011 w 10000"/>
                    <a:gd name="connsiteY9" fmla="*/ 10000 h 10000"/>
                    <a:gd name="connsiteX10" fmla="*/ 2030 w 10000"/>
                    <a:gd name="connsiteY10" fmla="*/ 10000 h 10000"/>
                    <a:gd name="connsiteX11" fmla="*/ 1922 w 10000"/>
                    <a:gd name="connsiteY11" fmla="*/ 10000 h 10000"/>
                    <a:gd name="connsiteX12" fmla="*/ 1922 w 10000"/>
                    <a:gd name="connsiteY12" fmla="*/ 5875 h 10000"/>
                    <a:gd name="connsiteX13" fmla="*/ 1922 w 10000"/>
                    <a:gd name="connsiteY13" fmla="*/ 5683 h 10000"/>
                    <a:gd name="connsiteX14" fmla="*/ 1133 w 10000"/>
                    <a:gd name="connsiteY14" fmla="*/ 5683 h 10000"/>
                    <a:gd name="connsiteX15" fmla="*/ 1123 w 10000"/>
                    <a:gd name="connsiteY15" fmla="*/ 5695 h 10000"/>
                    <a:gd name="connsiteX16" fmla="*/ 713 w 10000"/>
                    <a:gd name="connsiteY16" fmla="*/ 5851 h 10000"/>
                    <a:gd name="connsiteX17" fmla="*/ 0 w 10000"/>
                    <a:gd name="connsiteY17" fmla="*/ 4964 h 10000"/>
                    <a:gd name="connsiteX18" fmla="*/ 713 w 10000"/>
                    <a:gd name="connsiteY18" fmla="*/ 4077 h 10000"/>
                    <a:gd name="connsiteX19" fmla="*/ 1113 w 10000"/>
                    <a:gd name="connsiteY19" fmla="*/ 4233 h 10000"/>
                    <a:gd name="connsiteX20" fmla="*/ 1133 w 10000"/>
                    <a:gd name="connsiteY20" fmla="*/ 4245 h 10000"/>
                    <a:gd name="connsiteX21" fmla="*/ 1922 w 10000"/>
                    <a:gd name="connsiteY21" fmla="*/ 4245 h 10000"/>
                    <a:gd name="connsiteX22" fmla="*/ 1922 w 10000"/>
                    <a:gd name="connsiteY22" fmla="*/ 4053 h 10000"/>
                    <a:gd name="connsiteX23" fmla="*/ 1922 w 10000"/>
                    <a:gd name="connsiteY23" fmla="*/ 0 h 10000"/>
                    <a:gd name="connsiteX24" fmla="*/ 5036 w 10000"/>
                    <a:gd name="connsiteY24" fmla="*/ 0 h 10000"/>
                    <a:gd name="connsiteX25" fmla="*/ 7398 w 10000"/>
                    <a:gd name="connsiteY25" fmla="*/ 0 h 10000"/>
                    <a:gd name="connsiteX26" fmla="*/ 9992 w 10000"/>
                    <a:gd name="connsiteY26" fmla="*/ 0 h 10000"/>
                    <a:gd name="connsiteX27" fmla="*/ 10000 w 10000"/>
                    <a:gd name="connsiteY27" fmla="*/ 10000 h 10000"/>
                    <a:gd name="connsiteX28" fmla="*/ 7808 w 10000"/>
                    <a:gd name="connsiteY28" fmla="*/ 10000 h 10000"/>
                    <a:gd name="connsiteX29" fmla="*/ 7710 w 10000"/>
                    <a:gd name="connsiteY29" fmla="*/ 10000 h 10000"/>
                    <a:gd name="connsiteX30" fmla="*/ 6588 w 10000"/>
                    <a:gd name="connsiteY30"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0000" h="10000">
                      <a:moveTo>
                        <a:pt x="6588" y="10000"/>
                      </a:moveTo>
                      <a:cubicBezTo>
                        <a:pt x="6588" y="10000"/>
                        <a:pt x="5766" y="9943"/>
                        <a:pt x="6547" y="9008"/>
                      </a:cubicBezTo>
                      <a:cubicBezTo>
                        <a:pt x="6629" y="8853"/>
                        <a:pt x="6717" y="8703"/>
                        <a:pt x="6714" y="8501"/>
                      </a:cubicBezTo>
                      <a:cubicBezTo>
                        <a:pt x="6706" y="8015"/>
                        <a:pt x="6393" y="7614"/>
                        <a:pt x="6002" y="7614"/>
                      </a:cubicBezTo>
                      <a:cubicBezTo>
                        <a:pt x="5602" y="7614"/>
                        <a:pt x="5290" y="8010"/>
                        <a:pt x="5290" y="8501"/>
                      </a:cubicBezTo>
                      <a:cubicBezTo>
                        <a:pt x="5290" y="8693"/>
                        <a:pt x="5328" y="8849"/>
                        <a:pt x="5406" y="8993"/>
                      </a:cubicBezTo>
                      <a:cubicBezTo>
                        <a:pt x="5413" y="9001"/>
                        <a:pt x="5419" y="9009"/>
                        <a:pt x="5426" y="9017"/>
                      </a:cubicBezTo>
                      <a:cubicBezTo>
                        <a:pt x="6217" y="9952"/>
                        <a:pt x="5416" y="10000"/>
                        <a:pt x="5416" y="10000"/>
                      </a:cubicBezTo>
                      <a:lnTo>
                        <a:pt x="4187" y="10000"/>
                      </a:lnTo>
                      <a:lnTo>
                        <a:pt x="4011" y="10000"/>
                      </a:lnTo>
                      <a:lnTo>
                        <a:pt x="2030" y="10000"/>
                      </a:lnTo>
                      <a:lnTo>
                        <a:pt x="1922" y="10000"/>
                      </a:lnTo>
                      <a:lnTo>
                        <a:pt x="1922" y="5875"/>
                      </a:lnTo>
                      <a:lnTo>
                        <a:pt x="1922" y="5683"/>
                      </a:lnTo>
                      <a:cubicBezTo>
                        <a:pt x="1922" y="5683"/>
                        <a:pt x="1883" y="4712"/>
                        <a:pt x="1133" y="5683"/>
                      </a:cubicBezTo>
                      <a:cubicBezTo>
                        <a:pt x="1130" y="5687"/>
                        <a:pt x="1126" y="5691"/>
                        <a:pt x="1123" y="5695"/>
                      </a:cubicBezTo>
                      <a:cubicBezTo>
                        <a:pt x="1005" y="5803"/>
                        <a:pt x="869" y="5851"/>
                        <a:pt x="713" y="5851"/>
                      </a:cubicBezTo>
                      <a:cubicBezTo>
                        <a:pt x="322" y="5851"/>
                        <a:pt x="0" y="5456"/>
                        <a:pt x="0" y="4964"/>
                      </a:cubicBezTo>
                      <a:cubicBezTo>
                        <a:pt x="0" y="4484"/>
                        <a:pt x="322" y="4077"/>
                        <a:pt x="713" y="4077"/>
                      </a:cubicBezTo>
                      <a:cubicBezTo>
                        <a:pt x="859" y="4077"/>
                        <a:pt x="995" y="4137"/>
                        <a:pt x="1113" y="4233"/>
                      </a:cubicBezTo>
                      <a:cubicBezTo>
                        <a:pt x="1120" y="4237"/>
                        <a:pt x="1126" y="4241"/>
                        <a:pt x="1133" y="4245"/>
                      </a:cubicBezTo>
                      <a:cubicBezTo>
                        <a:pt x="1883" y="5228"/>
                        <a:pt x="1922" y="4245"/>
                        <a:pt x="1922" y="4245"/>
                      </a:cubicBezTo>
                      <a:lnTo>
                        <a:pt x="1922" y="4053"/>
                      </a:lnTo>
                      <a:lnTo>
                        <a:pt x="1922" y="0"/>
                      </a:lnTo>
                      <a:lnTo>
                        <a:pt x="5036" y="0"/>
                      </a:lnTo>
                      <a:lnTo>
                        <a:pt x="7398" y="0"/>
                      </a:lnTo>
                      <a:lnTo>
                        <a:pt x="9992" y="0"/>
                      </a:lnTo>
                      <a:cubicBezTo>
                        <a:pt x="9995" y="3333"/>
                        <a:pt x="9997" y="6667"/>
                        <a:pt x="10000" y="10000"/>
                      </a:cubicBezTo>
                      <a:lnTo>
                        <a:pt x="7808" y="10000"/>
                      </a:lnTo>
                      <a:lnTo>
                        <a:pt x="7710" y="10000"/>
                      </a:lnTo>
                      <a:lnTo>
                        <a:pt x="6588" y="10000"/>
                      </a:lnTo>
                      <a:close/>
                    </a:path>
                  </a:pathLst>
                </a:custGeom>
                <a:solidFill>
                  <a:srgbClr val="9DC3E6"/>
                </a:solidFill>
                <a:ln w="9525">
                  <a:noFill/>
                  <a:miter lim="800000"/>
                  <a:headEnd/>
                  <a:tailEnd/>
                </a:ln>
                <a:effectLst>
                  <a:outerShdw blurRad="50800" dist="38100" dir="2700000" algn="tl" rotWithShape="0">
                    <a:prstClr val="black">
                      <a:alpha val="40000"/>
                    </a:prstClr>
                  </a:outerShdw>
                </a:effectLst>
              </p:spPr>
              <p:txBody>
                <a:bodyPr/>
                <a:lstStyle/>
                <a:p>
                  <a:pPr algn="just"/>
                  <a:endParaRPr lang="en-US" sz="1837" b="1"/>
                </a:p>
              </p:txBody>
            </p:sp>
            <p:sp>
              <p:nvSpPr>
                <p:cNvPr id="84" name="Freeform 4">
                  <a:extLst>
                    <a:ext uri="{FF2B5EF4-FFF2-40B4-BE49-F238E27FC236}">
                      <a16:creationId xmlns:a16="http://schemas.microsoft.com/office/drawing/2014/main" id="{67AF438A-C23F-41EB-A242-2D13A418D7FD}"/>
                    </a:ext>
                  </a:extLst>
                </p:cNvPr>
                <p:cNvSpPr>
                  <a:spLocks/>
                </p:cNvSpPr>
                <p:nvPr/>
              </p:nvSpPr>
              <p:spPr bwMode="auto">
                <a:xfrm flipH="1">
                  <a:off x="2195736" y="3088985"/>
                  <a:ext cx="1797349" cy="2212223"/>
                </a:xfrm>
                <a:custGeom>
                  <a:avLst/>
                  <a:gdLst>
                    <a:gd name="T0" fmla="*/ 0 w 830"/>
                    <a:gd name="T1" fmla="*/ 822569 h 1032"/>
                    <a:gd name="T2" fmla="*/ 98241 w 830"/>
                    <a:gd name="T3" fmla="*/ 821070 h 1032"/>
                    <a:gd name="T4" fmla="*/ 100490 w 830"/>
                    <a:gd name="T5" fmla="*/ 823732 h 1032"/>
                    <a:gd name="T6" fmla="*/ 150179 w 830"/>
                    <a:gd name="T7" fmla="*/ 838053 h 1032"/>
                    <a:gd name="T8" fmla="*/ 240690 w 830"/>
                    <a:gd name="T9" fmla="*/ 749753 h 1032"/>
                    <a:gd name="T10" fmla="*/ 150179 w 830"/>
                    <a:gd name="T11" fmla="*/ 659682 h 1032"/>
                    <a:gd name="T12" fmla="*/ 100490 w 830"/>
                    <a:gd name="T13" fmla="*/ 675447 h 1032"/>
                    <a:gd name="T14" fmla="*/ 98241 w 830"/>
                    <a:gd name="T15" fmla="*/ 676647 h 1032"/>
                    <a:gd name="T16" fmla="*/ 0 w 830"/>
                    <a:gd name="T17" fmla="*/ 676647 h 1032"/>
                    <a:gd name="T18" fmla="*/ 0 w 830"/>
                    <a:gd name="T19" fmla="*/ 522941 h 1032"/>
                    <a:gd name="T20" fmla="*/ 0 w 830"/>
                    <a:gd name="T21" fmla="*/ 501224 h 1032"/>
                    <a:gd name="T22" fmla="*/ 0 w 830"/>
                    <a:gd name="T23" fmla="*/ 253780 h 1032"/>
                    <a:gd name="T24" fmla="*/ 0 w 830"/>
                    <a:gd name="T25" fmla="*/ 240464 h 1032"/>
                    <a:gd name="T26" fmla="*/ 414117 w 830"/>
                    <a:gd name="T27" fmla="*/ 240464 h 1032"/>
                    <a:gd name="T28" fmla="*/ 433654 w 830"/>
                    <a:gd name="T29" fmla="*/ 240464 h 1032"/>
                    <a:gd name="T30" fmla="*/ 435014 w 830"/>
                    <a:gd name="T31" fmla="*/ 140415 h 1032"/>
                    <a:gd name="T32" fmla="*/ 432432 w 830"/>
                    <a:gd name="T33" fmla="*/ 139411 h 1032"/>
                    <a:gd name="T34" fmla="*/ 416289 w 830"/>
                    <a:gd name="T35" fmla="*/ 88289 h 1032"/>
                    <a:gd name="T36" fmla="*/ 506118 w 830"/>
                    <a:gd name="T37" fmla="*/ 0 h 1032"/>
                    <a:gd name="T38" fmla="*/ 595939 w 830"/>
                    <a:gd name="T39" fmla="*/ 88289 h 1032"/>
                    <a:gd name="T40" fmla="*/ 580698 w 830"/>
                    <a:gd name="T41" fmla="*/ 138025 h 1032"/>
                    <a:gd name="T42" fmla="*/ 579691 w 830"/>
                    <a:gd name="T43" fmla="*/ 140415 h 1032"/>
                    <a:gd name="T44" fmla="*/ 579691 w 830"/>
                    <a:gd name="T45" fmla="*/ 240464 h 1032"/>
                    <a:gd name="T46" fmla="*/ 598797 w 830"/>
                    <a:gd name="T47" fmla="*/ 240464 h 1032"/>
                    <a:gd name="T48" fmla="*/ 1008089 w 830"/>
                    <a:gd name="T49" fmla="*/ 240464 h 1032"/>
                    <a:gd name="T50" fmla="*/ 1008089 w 830"/>
                    <a:gd name="T51" fmla="*/ 628408 h 1032"/>
                    <a:gd name="T52" fmla="*/ 1008089 w 830"/>
                    <a:gd name="T53" fmla="*/ 924094 h 1032"/>
                    <a:gd name="T54" fmla="*/ 1008089 w 830"/>
                    <a:gd name="T55" fmla="*/ 1251642 h 1032"/>
                    <a:gd name="T56" fmla="*/ 0 w 830"/>
                    <a:gd name="T57" fmla="*/ 1251642 h 1032"/>
                    <a:gd name="T58" fmla="*/ 0 w 830"/>
                    <a:gd name="T59" fmla="*/ 973754 h 1032"/>
                    <a:gd name="T60" fmla="*/ 0 w 830"/>
                    <a:gd name="T61" fmla="*/ 962764 h 1032"/>
                    <a:gd name="T62" fmla="*/ 0 w 830"/>
                    <a:gd name="T63" fmla="*/ 822569 h 103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830"/>
                    <a:gd name="T97" fmla="*/ 0 h 1032"/>
                    <a:gd name="T98" fmla="*/ 830 w 830"/>
                    <a:gd name="T99" fmla="*/ 1032 h 103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830" h="1032">
                      <a:moveTo>
                        <a:pt x="0" y="678"/>
                      </a:moveTo>
                      <a:cubicBezTo>
                        <a:pt x="0" y="678"/>
                        <a:pt x="3" y="596"/>
                        <a:pt x="81" y="677"/>
                      </a:cubicBezTo>
                      <a:cubicBezTo>
                        <a:pt x="83" y="679"/>
                        <a:pt x="83" y="679"/>
                        <a:pt x="83" y="679"/>
                      </a:cubicBezTo>
                      <a:cubicBezTo>
                        <a:pt x="95" y="687"/>
                        <a:pt x="109" y="691"/>
                        <a:pt x="124" y="691"/>
                      </a:cubicBezTo>
                      <a:cubicBezTo>
                        <a:pt x="165" y="691"/>
                        <a:pt x="198" y="658"/>
                        <a:pt x="198" y="618"/>
                      </a:cubicBezTo>
                      <a:cubicBezTo>
                        <a:pt x="198" y="577"/>
                        <a:pt x="165" y="544"/>
                        <a:pt x="124" y="544"/>
                      </a:cubicBezTo>
                      <a:cubicBezTo>
                        <a:pt x="108" y="544"/>
                        <a:pt x="95" y="548"/>
                        <a:pt x="83" y="557"/>
                      </a:cubicBezTo>
                      <a:cubicBezTo>
                        <a:pt x="81" y="558"/>
                        <a:pt x="81" y="558"/>
                        <a:pt x="81" y="558"/>
                      </a:cubicBezTo>
                      <a:cubicBezTo>
                        <a:pt x="3" y="639"/>
                        <a:pt x="0" y="558"/>
                        <a:pt x="0" y="558"/>
                      </a:cubicBezTo>
                      <a:cubicBezTo>
                        <a:pt x="0" y="431"/>
                        <a:pt x="0" y="431"/>
                        <a:pt x="0" y="431"/>
                      </a:cubicBezTo>
                      <a:cubicBezTo>
                        <a:pt x="0" y="413"/>
                        <a:pt x="0" y="413"/>
                        <a:pt x="0" y="413"/>
                      </a:cubicBezTo>
                      <a:cubicBezTo>
                        <a:pt x="0" y="209"/>
                        <a:pt x="0" y="209"/>
                        <a:pt x="0" y="209"/>
                      </a:cubicBezTo>
                      <a:cubicBezTo>
                        <a:pt x="0" y="198"/>
                        <a:pt x="0" y="198"/>
                        <a:pt x="0" y="198"/>
                      </a:cubicBezTo>
                      <a:cubicBezTo>
                        <a:pt x="341" y="198"/>
                        <a:pt x="341" y="198"/>
                        <a:pt x="341" y="198"/>
                      </a:cubicBezTo>
                      <a:cubicBezTo>
                        <a:pt x="357" y="198"/>
                        <a:pt x="357" y="198"/>
                        <a:pt x="357" y="198"/>
                      </a:cubicBezTo>
                      <a:cubicBezTo>
                        <a:pt x="357" y="198"/>
                        <a:pt x="439" y="194"/>
                        <a:pt x="358" y="116"/>
                      </a:cubicBezTo>
                      <a:cubicBezTo>
                        <a:pt x="356" y="115"/>
                        <a:pt x="356" y="115"/>
                        <a:pt x="356" y="115"/>
                      </a:cubicBezTo>
                      <a:cubicBezTo>
                        <a:pt x="348" y="103"/>
                        <a:pt x="343" y="89"/>
                        <a:pt x="343" y="73"/>
                      </a:cubicBezTo>
                      <a:cubicBezTo>
                        <a:pt x="343" y="33"/>
                        <a:pt x="376" y="0"/>
                        <a:pt x="417" y="0"/>
                      </a:cubicBezTo>
                      <a:cubicBezTo>
                        <a:pt x="458" y="0"/>
                        <a:pt x="491" y="33"/>
                        <a:pt x="491" y="73"/>
                      </a:cubicBezTo>
                      <a:cubicBezTo>
                        <a:pt x="491" y="88"/>
                        <a:pt x="486" y="102"/>
                        <a:pt x="478" y="114"/>
                      </a:cubicBezTo>
                      <a:cubicBezTo>
                        <a:pt x="477" y="116"/>
                        <a:pt x="477" y="116"/>
                        <a:pt x="477" y="116"/>
                      </a:cubicBezTo>
                      <a:cubicBezTo>
                        <a:pt x="396" y="194"/>
                        <a:pt x="477" y="198"/>
                        <a:pt x="477" y="198"/>
                      </a:cubicBezTo>
                      <a:cubicBezTo>
                        <a:pt x="493" y="198"/>
                        <a:pt x="493" y="198"/>
                        <a:pt x="493" y="198"/>
                      </a:cubicBezTo>
                      <a:cubicBezTo>
                        <a:pt x="830" y="198"/>
                        <a:pt x="830" y="198"/>
                        <a:pt x="830" y="198"/>
                      </a:cubicBezTo>
                      <a:cubicBezTo>
                        <a:pt x="830" y="518"/>
                        <a:pt x="830" y="518"/>
                        <a:pt x="830" y="518"/>
                      </a:cubicBezTo>
                      <a:cubicBezTo>
                        <a:pt x="830" y="762"/>
                        <a:pt x="830" y="762"/>
                        <a:pt x="830" y="762"/>
                      </a:cubicBezTo>
                      <a:cubicBezTo>
                        <a:pt x="830" y="1032"/>
                        <a:pt x="830" y="1032"/>
                        <a:pt x="830" y="1032"/>
                      </a:cubicBezTo>
                      <a:cubicBezTo>
                        <a:pt x="0" y="1032"/>
                        <a:pt x="0" y="1032"/>
                        <a:pt x="0" y="1032"/>
                      </a:cubicBezTo>
                      <a:cubicBezTo>
                        <a:pt x="0" y="803"/>
                        <a:pt x="0" y="803"/>
                        <a:pt x="0" y="803"/>
                      </a:cubicBezTo>
                      <a:cubicBezTo>
                        <a:pt x="0" y="794"/>
                        <a:pt x="0" y="794"/>
                        <a:pt x="0" y="794"/>
                      </a:cubicBezTo>
                      <a:lnTo>
                        <a:pt x="0" y="678"/>
                      </a:lnTo>
                      <a:close/>
                    </a:path>
                  </a:pathLst>
                </a:custGeom>
                <a:solidFill>
                  <a:srgbClr val="9DC3E6"/>
                </a:solidFill>
                <a:ln w="9525">
                  <a:noFill/>
                  <a:miter lim="800000"/>
                  <a:headEnd/>
                  <a:tailEnd/>
                </a:ln>
                <a:effectLst>
                  <a:outerShdw blurRad="50800" dist="38100" dir="2700000" algn="tl" rotWithShape="0">
                    <a:prstClr val="black">
                      <a:alpha val="40000"/>
                    </a:prstClr>
                  </a:outerShdw>
                </a:effectLst>
              </p:spPr>
              <p:txBody>
                <a:bodyPr/>
                <a:lstStyle/>
                <a:p>
                  <a:pPr algn="just"/>
                  <a:endParaRPr lang="en-US" sz="1837" b="1"/>
                </a:p>
              </p:txBody>
            </p:sp>
            <p:sp>
              <p:nvSpPr>
                <p:cNvPr id="85" name="Freeform 5">
                  <a:extLst>
                    <a:ext uri="{FF2B5EF4-FFF2-40B4-BE49-F238E27FC236}">
                      <a16:creationId xmlns:a16="http://schemas.microsoft.com/office/drawing/2014/main" id="{6E2841D3-3576-477C-8CB4-E72C7AE35D58}"/>
                    </a:ext>
                  </a:extLst>
                </p:cNvPr>
                <p:cNvSpPr>
                  <a:spLocks/>
                </p:cNvSpPr>
                <p:nvPr/>
              </p:nvSpPr>
              <p:spPr bwMode="auto">
                <a:xfrm flipH="1">
                  <a:off x="3705674" y="3513895"/>
                  <a:ext cx="2234478" cy="1787313"/>
                </a:xfrm>
                <a:custGeom>
                  <a:avLst/>
                  <a:gdLst>
                    <a:gd name="T0" fmla="*/ 429230 w 1032"/>
                    <a:gd name="T1" fmla="*/ 0 h 834"/>
                    <a:gd name="T2" fmla="*/ 429230 w 1032"/>
                    <a:gd name="T3" fmla="*/ 98778 h 834"/>
                    <a:gd name="T4" fmla="*/ 427922 w 1032"/>
                    <a:gd name="T5" fmla="*/ 101392 h 834"/>
                    <a:gd name="T6" fmla="*/ 412248 w 1032"/>
                    <a:gd name="T7" fmla="*/ 151172 h 834"/>
                    <a:gd name="T8" fmla="*/ 501935 w 1032"/>
                    <a:gd name="T9" fmla="*/ 240475 h 834"/>
                    <a:gd name="T10" fmla="*/ 591006 w 1032"/>
                    <a:gd name="T11" fmla="*/ 151172 h 834"/>
                    <a:gd name="T12" fmla="*/ 576235 w 1032"/>
                    <a:gd name="T13" fmla="*/ 100164 h 834"/>
                    <a:gd name="T14" fmla="*/ 573628 w 1032"/>
                    <a:gd name="T15" fmla="*/ 98778 h 834"/>
                    <a:gd name="T16" fmla="*/ 575041 w 1032"/>
                    <a:gd name="T17" fmla="*/ 0 h 834"/>
                    <a:gd name="T18" fmla="*/ 728726 w 1032"/>
                    <a:gd name="T19" fmla="*/ 0 h 834"/>
                    <a:gd name="T20" fmla="*/ 749753 w 1032"/>
                    <a:gd name="T21" fmla="*/ 0 h 834"/>
                    <a:gd name="T22" fmla="*/ 997915 w 1032"/>
                    <a:gd name="T23" fmla="*/ 0 h 834"/>
                    <a:gd name="T24" fmla="*/ 1011174 w 1032"/>
                    <a:gd name="T25" fmla="*/ 0 h 834"/>
                    <a:gd name="T26" fmla="*/ 1011174 w 1032"/>
                    <a:gd name="T27" fmla="*/ 414855 h 834"/>
                    <a:gd name="T28" fmla="*/ 1011174 w 1032"/>
                    <a:gd name="T29" fmla="*/ 433828 h 834"/>
                    <a:gd name="T30" fmla="*/ 1109857 w 1032"/>
                    <a:gd name="T31" fmla="*/ 433828 h 834"/>
                    <a:gd name="T32" fmla="*/ 1112278 w 1032"/>
                    <a:gd name="T33" fmla="*/ 433155 h 834"/>
                    <a:gd name="T34" fmla="*/ 1161940 w 1032"/>
                    <a:gd name="T35" fmla="*/ 417257 h 834"/>
                    <a:gd name="T36" fmla="*/ 1251642 w 1032"/>
                    <a:gd name="T37" fmla="*/ 506756 h 834"/>
                    <a:gd name="T38" fmla="*/ 1161940 w 1032"/>
                    <a:gd name="T39" fmla="*/ 596223 h 834"/>
                    <a:gd name="T40" fmla="*/ 1112278 w 1032"/>
                    <a:gd name="T41" fmla="*/ 580280 h 834"/>
                    <a:gd name="T42" fmla="*/ 1109857 w 1032"/>
                    <a:gd name="T43" fmla="*/ 579275 h 834"/>
                    <a:gd name="T44" fmla="*/ 1011174 w 1032"/>
                    <a:gd name="T45" fmla="*/ 579275 h 834"/>
                    <a:gd name="T46" fmla="*/ 1011174 w 1032"/>
                    <a:gd name="T47" fmla="*/ 600145 h 834"/>
                    <a:gd name="T48" fmla="*/ 1011174 w 1032"/>
                    <a:gd name="T49" fmla="*/ 1008619 h 834"/>
                    <a:gd name="T50" fmla="*/ 622069 w 1032"/>
                    <a:gd name="T51" fmla="*/ 1008619 h 834"/>
                    <a:gd name="T52" fmla="*/ 327603 w 1032"/>
                    <a:gd name="T53" fmla="*/ 1008619 h 834"/>
                    <a:gd name="T54" fmla="*/ 0 w 1032"/>
                    <a:gd name="T55" fmla="*/ 1008619 h 834"/>
                    <a:gd name="T56" fmla="*/ 0 w 1032"/>
                    <a:gd name="T57" fmla="*/ 0 h 834"/>
                    <a:gd name="T58" fmla="*/ 276859 w 1032"/>
                    <a:gd name="T59" fmla="*/ 0 h 834"/>
                    <a:gd name="T60" fmla="*/ 288703 w 1032"/>
                    <a:gd name="T61" fmla="*/ 0 h 834"/>
                    <a:gd name="T62" fmla="*/ 429230 w 1032"/>
                    <a:gd name="T63" fmla="*/ 0 h 83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032"/>
                    <a:gd name="T97" fmla="*/ 0 h 834"/>
                    <a:gd name="T98" fmla="*/ 1032 w 1032"/>
                    <a:gd name="T99" fmla="*/ 834 h 834"/>
                    <a:gd name="connsiteX0" fmla="*/ 3430 w 10000"/>
                    <a:gd name="connsiteY0" fmla="*/ 0 h 10000"/>
                    <a:gd name="connsiteX1" fmla="*/ 3445 w 10000"/>
                    <a:gd name="connsiteY1" fmla="*/ 992 h 10000"/>
                    <a:gd name="connsiteX2" fmla="*/ 3421 w 10000"/>
                    <a:gd name="connsiteY2" fmla="*/ 1007 h 10000"/>
                    <a:gd name="connsiteX3" fmla="*/ 3295 w 10000"/>
                    <a:gd name="connsiteY3" fmla="*/ 1499 h 10000"/>
                    <a:gd name="connsiteX4" fmla="*/ 4012 w 10000"/>
                    <a:gd name="connsiteY4" fmla="*/ 2386 h 10000"/>
                    <a:gd name="connsiteX5" fmla="*/ 4719 w 10000"/>
                    <a:gd name="connsiteY5" fmla="*/ 1499 h 10000"/>
                    <a:gd name="connsiteX6" fmla="*/ 4603 w 10000"/>
                    <a:gd name="connsiteY6" fmla="*/ 995 h 10000"/>
                    <a:gd name="connsiteX7" fmla="*/ 4583 w 10000"/>
                    <a:gd name="connsiteY7" fmla="*/ 983 h 10000"/>
                    <a:gd name="connsiteX8" fmla="*/ 4593 w 10000"/>
                    <a:gd name="connsiteY8" fmla="*/ 0 h 10000"/>
                    <a:gd name="connsiteX9" fmla="*/ 5824 w 10000"/>
                    <a:gd name="connsiteY9" fmla="*/ 0 h 10000"/>
                    <a:gd name="connsiteX10" fmla="*/ 5988 w 10000"/>
                    <a:gd name="connsiteY10" fmla="*/ 0 h 10000"/>
                    <a:gd name="connsiteX11" fmla="*/ 7975 w 10000"/>
                    <a:gd name="connsiteY11" fmla="*/ 0 h 10000"/>
                    <a:gd name="connsiteX12" fmla="*/ 8081 w 10000"/>
                    <a:gd name="connsiteY12" fmla="*/ 0 h 10000"/>
                    <a:gd name="connsiteX13" fmla="*/ 8081 w 10000"/>
                    <a:gd name="connsiteY13" fmla="*/ 4113 h 10000"/>
                    <a:gd name="connsiteX14" fmla="*/ 8081 w 10000"/>
                    <a:gd name="connsiteY14" fmla="*/ 4305 h 10000"/>
                    <a:gd name="connsiteX15" fmla="*/ 8866 w 10000"/>
                    <a:gd name="connsiteY15" fmla="*/ 4305 h 10000"/>
                    <a:gd name="connsiteX16" fmla="*/ 8886 w 10000"/>
                    <a:gd name="connsiteY16" fmla="*/ 4293 h 10000"/>
                    <a:gd name="connsiteX17" fmla="*/ 9283 w 10000"/>
                    <a:gd name="connsiteY17" fmla="*/ 4137 h 10000"/>
                    <a:gd name="connsiteX18" fmla="*/ 10000 w 10000"/>
                    <a:gd name="connsiteY18" fmla="*/ 5024 h 10000"/>
                    <a:gd name="connsiteX19" fmla="*/ 9283 w 10000"/>
                    <a:gd name="connsiteY19" fmla="*/ 5911 h 10000"/>
                    <a:gd name="connsiteX20" fmla="*/ 8886 w 10000"/>
                    <a:gd name="connsiteY20" fmla="*/ 5755 h 10000"/>
                    <a:gd name="connsiteX21" fmla="*/ 8866 w 10000"/>
                    <a:gd name="connsiteY21" fmla="*/ 5743 h 10000"/>
                    <a:gd name="connsiteX22" fmla="*/ 8081 w 10000"/>
                    <a:gd name="connsiteY22" fmla="*/ 5743 h 10000"/>
                    <a:gd name="connsiteX23" fmla="*/ 8081 w 10000"/>
                    <a:gd name="connsiteY23" fmla="*/ 5947 h 10000"/>
                    <a:gd name="connsiteX24" fmla="*/ 8081 w 10000"/>
                    <a:gd name="connsiteY24" fmla="*/ 10000 h 10000"/>
                    <a:gd name="connsiteX25" fmla="*/ 4971 w 10000"/>
                    <a:gd name="connsiteY25" fmla="*/ 10000 h 10000"/>
                    <a:gd name="connsiteX26" fmla="*/ 2616 w 10000"/>
                    <a:gd name="connsiteY26" fmla="*/ 10000 h 10000"/>
                    <a:gd name="connsiteX27" fmla="*/ 0 w 10000"/>
                    <a:gd name="connsiteY27" fmla="*/ 10000 h 10000"/>
                    <a:gd name="connsiteX28" fmla="*/ 0 w 10000"/>
                    <a:gd name="connsiteY28" fmla="*/ 0 h 10000"/>
                    <a:gd name="connsiteX29" fmla="*/ 2209 w 10000"/>
                    <a:gd name="connsiteY29" fmla="*/ 0 h 10000"/>
                    <a:gd name="connsiteX30" fmla="*/ 2306 w 10000"/>
                    <a:gd name="connsiteY30" fmla="*/ 0 h 10000"/>
                    <a:gd name="connsiteX31" fmla="*/ 3430 w 10000"/>
                    <a:gd name="connsiteY31" fmla="*/ 0 h 10000"/>
                    <a:gd name="connsiteX0" fmla="*/ 3430 w 10000"/>
                    <a:gd name="connsiteY0" fmla="*/ 0 h 10000"/>
                    <a:gd name="connsiteX1" fmla="*/ 3445 w 10000"/>
                    <a:gd name="connsiteY1" fmla="*/ 992 h 10000"/>
                    <a:gd name="connsiteX2" fmla="*/ 3295 w 10000"/>
                    <a:gd name="connsiteY2" fmla="*/ 1499 h 10000"/>
                    <a:gd name="connsiteX3" fmla="*/ 4012 w 10000"/>
                    <a:gd name="connsiteY3" fmla="*/ 2386 h 10000"/>
                    <a:gd name="connsiteX4" fmla="*/ 4719 w 10000"/>
                    <a:gd name="connsiteY4" fmla="*/ 1499 h 10000"/>
                    <a:gd name="connsiteX5" fmla="*/ 4603 w 10000"/>
                    <a:gd name="connsiteY5" fmla="*/ 995 h 10000"/>
                    <a:gd name="connsiteX6" fmla="*/ 4583 w 10000"/>
                    <a:gd name="connsiteY6" fmla="*/ 983 h 10000"/>
                    <a:gd name="connsiteX7" fmla="*/ 4593 w 10000"/>
                    <a:gd name="connsiteY7" fmla="*/ 0 h 10000"/>
                    <a:gd name="connsiteX8" fmla="*/ 5824 w 10000"/>
                    <a:gd name="connsiteY8" fmla="*/ 0 h 10000"/>
                    <a:gd name="connsiteX9" fmla="*/ 5988 w 10000"/>
                    <a:gd name="connsiteY9" fmla="*/ 0 h 10000"/>
                    <a:gd name="connsiteX10" fmla="*/ 7975 w 10000"/>
                    <a:gd name="connsiteY10" fmla="*/ 0 h 10000"/>
                    <a:gd name="connsiteX11" fmla="*/ 8081 w 10000"/>
                    <a:gd name="connsiteY11" fmla="*/ 0 h 10000"/>
                    <a:gd name="connsiteX12" fmla="*/ 8081 w 10000"/>
                    <a:gd name="connsiteY12" fmla="*/ 4113 h 10000"/>
                    <a:gd name="connsiteX13" fmla="*/ 8081 w 10000"/>
                    <a:gd name="connsiteY13" fmla="*/ 4305 h 10000"/>
                    <a:gd name="connsiteX14" fmla="*/ 8866 w 10000"/>
                    <a:gd name="connsiteY14" fmla="*/ 4305 h 10000"/>
                    <a:gd name="connsiteX15" fmla="*/ 8886 w 10000"/>
                    <a:gd name="connsiteY15" fmla="*/ 4293 h 10000"/>
                    <a:gd name="connsiteX16" fmla="*/ 9283 w 10000"/>
                    <a:gd name="connsiteY16" fmla="*/ 4137 h 10000"/>
                    <a:gd name="connsiteX17" fmla="*/ 10000 w 10000"/>
                    <a:gd name="connsiteY17" fmla="*/ 5024 h 10000"/>
                    <a:gd name="connsiteX18" fmla="*/ 9283 w 10000"/>
                    <a:gd name="connsiteY18" fmla="*/ 5911 h 10000"/>
                    <a:gd name="connsiteX19" fmla="*/ 8886 w 10000"/>
                    <a:gd name="connsiteY19" fmla="*/ 5755 h 10000"/>
                    <a:gd name="connsiteX20" fmla="*/ 8866 w 10000"/>
                    <a:gd name="connsiteY20" fmla="*/ 5743 h 10000"/>
                    <a:gd name="connsiteX21" fmla="*/ 8081 w 10000"/>
                    <a:gd name="connsiteY21" fmla="*/ 5743 h 10000"/>
                    <a:gd name="connsiteX22" fmla="*/ 8081 w 10000"/>
                    <a:gd name="connsiteY22" fmla="*/ 5947 h 10000"/>
                    <a:gd name="connsiteX23" fmla="*/ 8081 w 10000"/>
                    <a:gd name="connsiteY23" fmla="*/ 10000 h 10000"/>
                    <a:gd name="connsiteX24" fmla="*/ 4971 w 10000"/>
                    <a:gd name="connsiteY24" fmla="*/ 10000 h 10000"/>
                    <a:gd name="connsiteX25" fmla="*/ 2616 w 10000"/>
                    <a:gd name="connsiteY25" fmla="*/ 10000 h 10000"/>
                    <a:gd name="connsiteX26" fmla="*/ 0 w 10000"/>
                    <a:gd name="connsiteY26" fmla="*/ 10000 h 10000"/>
                    <a:gd name="connsiteX27" fmla="*/ 0 w 10000"/>
                    <a:gd name="connsiteY27" fmla="*/ 0 h 10000"/>
                    <a:gd name="connsiteX28" fmla="*/ 2209 w 10000"/>
                    <a:gd name="connsiteY28" fmla="*/ 0 h 10000"/>
                    <a:gd name="connsiteX29" fmla="*/ 2306 w 10000"/>
                    <a:gd name="connsiteY29" fmla="*/ 0 h 10000"/>
                    <a:gd name="connsiteX30" fmla="*/ 3430 w 10000"/>
                    <a:gd name="connsiteY30" fmla="*/ 0 h 10000"/>
                    <a:gd name="connsiteX0" fmla="*/ 3430 w 10000"/>
                    <a:gd name="connsiteY0" fmla="*/ 0 h 10000"/>
                    <a:gd name="connsiteX1" fmla="*/ 3445 w 10000"/>
                    <a:gd name="connsiteY1" fmla="*/ 992 h 10000"/>
                    <a:gd name="connsiteX2" fmla="*/ 3295 w 10000"/>
                    <a:gd name="connsiteY2" fmla="*/ 1499 h 10000"/>
                    <a:gd name="connsiteX3" fmla="*/ 4012 w 10000"/>
                    <a:gd name="connsiteY3" fmla="*/ 2386 h 10000"/>
                    <a:gd name="connsiteX4" fmla="*/ 4719 w 10000"/>
                    <a:gd name="connsiteY4" fmla="*/ 1499 h 10000"/>
                    <a:gd name="connsiteX5" fmla="*/ 4603 w 10000"/>
                    <a:gd name="connsiteY5" fmla="*/ 995 h 10000"/>
                    <a:gd name="connsiteX6" fmla="*/ 4583 w 10000"/>
                    <a:gd name="connsiteY6" fmla="*/ 983 h 10000"/>
                    <a:gd name="connsiteX7" fmla="*/ 4593 w 10000"/>
                    <a:gd name="connsiteY7" fmla="*/ 0 h 10000"/>
                    <a:gd name="connsiteX8" fmla="*/ 5824 w 10000"/>
                    <a:gd name="connsiteY8" fmla="*/ 0 h 10000"/>
                    <a:gd name="connsiteX9" fmla="*/ 5988 w 10000"/>
                    <a:gd name="connsiteY9" fmla="*/ 0 h 10000"/>
                    <a:gd name="connsiteX10" fmla="*/ 7975 w 10000"/>
                    <a:gd name="connsiteY10" fmla="*/ 0 h 10000"/>
                    <a:gd name="connsiteX11" fmla="*/ 8081 w 10000"/>
                    <a:gd name="connsiteY11" fmla="*/ 0 h 10000"/>
                    <a:gd name="connsiteX12" fmla="*/ 8081 w 10000"/>
                    <a:gd name="connsiteY12" fmla="*/ 4113 h 10000"/>
                    <a:gd name="connsiteX13" fmla="*/ 8081 w 10000"/>
                    <a:gd name="connsiteY13" fmla="*/ 4305 h 10000"/>
                    <a:gd name="connsiteX14" fmla="*/ 8866 w 10000"/>
                    <a:gd name="connsiteY14" fmla="*/ 4305 h 10000"/>
                    <a:gd name="connsiteX15" fmla="*/ 8886 w 10000"/>
                    <a:gd name="connsiteY15" fmla="*/ 4293 h 10000"/>
                    <a:gd name="connsiteX16" fmla="*/ 9283 w 10000"/>
                    <a:gd name="connsiteY16" fmla="*/ 4137 h 10000"/>
                    <a:gd name="connsiteX17" fmla="*/ 10000 w 10000"/>
                    <a:gd name="connsiteY17" fmla="*/ 5024 h 10000"/>
                    <a:gd name="connsiteX18" fmla="*/ 9283 w 10000"/>
                    <a:gd name="connsiteY18" fmla="*/ 5911 h 10000"/>
                    <a:gd name="connsiteX19" fmla="*/ 8886 w 10000"/>
                    <a:gd name="connsiteY19" fmla="*/ 5755 h 10000"/>
                    <a:gd name="connsiteX20" fmla="*/ 8866 w 10000"/>
                    <a:gd name="connsiteY20" fmla="*/ 5743 h 10000"/>
                    <a:gd name="connsiteX21" fmla="*/ 8081 w 10000"/>
                    <a:gd name="connsiteY21" fmla="*/ 5743 h 10000"/>
                    <a:gd name="connsiteX22" fmla="*/ 8081 w 10000"/>
                    <a:gd name="connsiteY22" fmla="*/ 5947 h 10000"/>
                    <a:gd name="connsiteX23" fmla="*/ 8081 w 10000"/>
                    <a:gd name="connsiteY23" fmla="*/ 10000 h 10000"/>
                    <a:gd name="connsiteX24" fmla="*/ 4971 w 10000"/>
                    <a:gd name="connsiteY24" fmla="*/ 10000 h 10000"/>
                    <a:gd name="connsiteX25" fmla="*/ 2616 w 10000"/>
                    <a:gd name="connsiteY25" fmla="*/ 10000 h 10000"/>
                    <a:gd name="connsiteX26" fmla="*/ 0 w 10000"/>
                    <a:gd name="connsiteY26" fmla="*/ 10000 h 10000"/>
                    <a:gd name="connsiteX27" fmla="*/ 0 w 10000"/>
                    <a:gd name="connsiteY27" fmla="*/ 0 h 10000"/>
                    <a:gd name="connsiteX28" fmla="*/ 2209 w 10000"/>
                    <a:gd name="connsiteY28" fmla="*/ 0 h 10000"/>
                    <a:gd name="connsiteX29" fmla="*/ 2306 w 10000"/>
                    <a:gd name="connsiteY29" fmla="*/ 0 h 10000"/>
                    <a:gd name="connsiteX30" fmla="*/ 3430 w 10000"/>
                    <a:gd name="connsiteY30" fmla="*/ 0 h 10000"/>
                    <a:gd name="connsiteX0" fmla="*/ 3430 w 10000"/>
                    <a:gd name="connsiteY0" fmla="*/ 0 h 10000"/>
                    <a:gd name="connsiteX1" fmla="*/ 3445 w 10000"/>
                    <a:gd name="connsiteY1" fmla="*/ 992 h 10000"/>
                    <a:gd name="connsiteX2" fmla="*/ 3295 w 10000"/>
                    <a:gd name="connsiteY2" fmla="*/ 1499 h 10000"/>
                    <a:gd name="connsiteX3" fmla="*/ 4012 w 10000"/>
                    <a:gd name="connsiteY3" fmla="*/ 2386 h 10000"/>
                    <a:gd name="connsiteX4" fmla="*/ 4719 w 10000"/>
                    <a:gd name="connsiteY4" fmla="*/ 1499 h 10000"/>
                    <a:gd name="connsiteX5" fmla="*/ 4603 w 10000"/>
                    <a:gd name="connsiteY5" fmla="*/ 995 h 10000"/>
                    <a:gd name="connsiteX6" fmla="*/ 4583 w 10000"/>
                    <a:gd name="connsiteY6" fmla="*/ 983 h 10000"/>
                    <a:gd name="connsiteX7" fmla="*/ 4593 w 10000"/>
                    <a:gd name="connsiteY7" fmla="*/ 0 h 10000"/>
                    <a:gd name="connsiteX8" fmla="*/ 5824 w 10000"/>
                    <a:gd name="connsiteY8" fmla="*/ 0 h 10000"/>
                    <a:gd name="connsiteX9" fmla="*/ 5988 w 10000"/>
                    <a:gd name="connsiteY9" fmla="*/ 0 h 10000"/>
                    <a:gd name="connsiteX10" fmla="*/ 7975 w 10000"/>
                    <a:gd name="connsiteY10" fmla="*/ 0 h 10000"/>
                    <a:gd name="connsiteX11" fmla="*/ 8081 w 10000"/>
                    <a:gd name="connsiteY11" fmla="*/ 0 h 10000"/>
                    <a:gd name="connsiteX12" fmla="*/ 8081 w 10000"/>
                    <a:gd name="connsiteY12" fmla="*/ 4113 h 10000"/>
                    <a:gd name="connsiteX13" fmla="*/ 8081 w 10000"/>
                    <a:gd name="connsiteY13" fmla="*/ 4305 h 10000"/>
                    <a:gd name="connsiteX14" fmla="*/ 8866 w 10000"/>
                    <a:gd name="connsiteY14" fmla="*/ 4305 h 10000"/>
                    <a:gd name="connsiteX15" fmla="*/ 8886 w 10000"/>
                    <a:gd name="connsiteY15" fmla="*/ 4293 h 10000"/>
                    <a:gd name="connsiteX16" fmla="*/ 9283 w 10000"/>
                    <a:gd name="connsiteY16" fmla="*/ 4137 h 10000"/>
                    <a:gd name="connsiteX17" fmla="*/ 10000 w 10000"/>
                    <a:gd name="connsiteY17" fmla="*/ 5024 h 10000"/>
                    <a:gd name="connsiteX18" fmla="*/ 9283 w 10000"/>
                    <a:gd name="connsiteY18" fmla="*/ 5911 h 10000"/>
                    <a:gd name="connsiteX19" fmla="*/ 8886 w 10000"/>
                    <a:gd name="connsiteY19" fmla="*/ 5755 h 10000"/>
                    <a:gd name="connsiteX20" fmla="*/ 8866 w 10000"/>
                    <a:gd name="connsiteY20" fmla="*/ 5743 h 10000"/>
                    <a:gd name="connsiteX21" fmla="*/ 8081 w 10000"/>
                    <a:gd name="connsiteY21" fmla="*/ 5743 h 10000"/>
                    <a:gd name="connsiteX22" fmla="*/ 8081 w 10000"/>
                    <a:gd name="connsiteY22" fmla="*/ 5947 h 10000"/>
                    <a:gd name="connsiteX23" fmla="*/ 8081 w 10000"/>
                    <a:gd name="connsiteY23" fmla="*/ 10000 h 10000"/>
                    <a:gd name="connsiteX24" fmla="*/ 4971 w 10000"/>
                    <a:gd name="connsiteY24" fmla="*/ 10000 h 10000"/>
                    <a:gd name="connsiteX25" fmla="*/ 2616 w 10000"/>
                    <a:gd name="connsiteY25" fmla="*/ 10000 h 10000"/>
                    <a:gd name="connsiteX26" fmla="*/ 0 w 10000"/>
                    <a:gd name="connsiteY26" fmla="*/ 10000 h 10000"/>
                    <a:gd name="connsiteX27" fmla="*/ 0 w 10000"/>
                    <a:gd name="connsiteY27" fmla="*/ 0 h 10000"/>
                    <a:gd name="connsiteX28" fmla="*/ 2209 w 10000"/>
                    <a:gd name="connsiteY28" fmla="*/ 0 h 10000"/>
                    <a:gd name="connsiteX29" fmla="*/ 2306 w 10000"/>
                    <a:gd name="connsiteY29" fmla="*/ 0 h 10000"/>
                    <a:gd name="connsiteX30" fmla="*/ 3430 w 10000"/>
                    <a:gd name="connsiteY30"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0000" h="10000">
                      <a:moveTo>
                        <a:pt x="3430" y="0"/>
                      </a:moveTo>
                      <a:cubicBezTo>
                        <a:pt x="3430" y="0"/>
                        <a:pt x="4230" y="45"/>
                        <a:pt x="3445" y="992"/>
                      </a:cubicBezTo>
                      <a:cubicBezTo>
                        <a:pt x="3347" y="1195"/>
                        <a:pt x="3298" y="1249"/>
                        <a:pt x="3295" y="1499"/>
                      </a:cubicBezTo>
                      <a:cubicBezTo>
                        <a:pt x="3290" y="1910"/>
                        <a:pt x="3614" y="2386"/>
                        <a:pt x="4012" y="2386"/>
                      </a:cubicBezTo>
                      <a:cubicBezTo>
                        <a:pt x="4399" y="2386"/>
                        <a:pt x="4719" y="1990"/>
                        <a:pt x="4719" y="1499"/>
                      </a:cubicBezTo>
                      <a:cubicBezTo>
                        <a:pt x="4719" y="1307"/>
                        <a:pt x="4680" y="1139"/>
                        <a:pt x="4603" y="995"/>
                      </a:cubicBezTo>
                      <a:cubicBezTo>
                        <a:pt x="4596" y="991"/>
                        <a:pt x="4590" y="987"/>
                        <a:pt x="4583" y="983"/>
                      </a:cubicBezTo>
                      <a:cubicBezTo>
                        <a:pt x="3798" y="36"/>
                        <a:pt x="4593" y="0"/>
                        <a:pt x="4593" y="0"/>
                      </a:cubicBezTo>
                      <a:lnTo>
                        <a:pt x="5824" y="0"/>
                      </a:lnTo>
                      <a:lnTo>
                        <a:pt x="5988" y="0"/>
                      </a:lnTo>
                      <a:lnTo>
                        <a:pt x="7975" y="0"/>
                      </a:lnTo>
                      <a:lnTo>
                        <a:pt x="8081" y="0"/>
                      </a:lnTo>
                      <a:lnTo>
                        <a:pt x="8081" y="4113"/>
                      </a:lnTo>
                      <a:lnTo>
                        <a:pt x="8081" y="4305"/>
                      </a:lnTo>
                      <a:cubicBezTo>
                        <a:pt x="8081" y="4305"/>
                        <a:pt x="8110" y="5288"/>
                        <a:pt x="8866" y="4305"/>
                      </a:cubicBezTo>
                      <a:cubicBezTo>
                        <a:pt x="8873" y="4301"/>
                        <a:pt x="8879" y="4297"/>
                        <a:pt x="8886" y="4293"/>
                      </a:cubicBezTo>
                      <a:cubicBezTo>
                        <a:pt x="9002" y="4185"/>
                        <a:pt x="9128" y="4137"/>
                        <a:pt x="9283" y="4137"/>
                      </a:cubicBezTo>
                      <a:cubicBezTo>
                        <a:pt x="9680" y="4137"/>
                        <a:pt x="10000" y="4532"/>
                        <a:pt x="10000" y="5024"/>
                      </a:cubicBezTo>
                      <a:cubicBezTo>
                        <a:pt x="10000" y="5516"/>
                        <a:pt x="9680" y="5911"/>
                        <a:pt x="9283" y="5911"/>
                      </a:cubicBezTo>
                      <a:cubicBezTo>
                        <a:pt x="9138" y="5911"/>
                        <a:pt x="9002" y="5851"/>
                        <a:pt x="8886" y="5755"/>
                      </a:cubicBezTo>
                      <a:cubicBezTo>
                        <a:pt x="8879" y="5751"/>
                        <a:pt x="8873" y="5747"/>
                        <a:pt x="8866" y="5743"/>
                      </a:cubicBezTo>
                      <a:cubicBezTo>
                        <a:pt x="8110" y="4760"/>
                        <a:pt x="8081" y="5743"/>
                        <a:pt x="8081" y="5743"/>
                      </a:cubicBezTo>
                      <a:lnTo>
                        <a:pt x="8081" y="5947"/>
                      </a:lnTo>
                      <a:lnTo>
                        <a:pt x="8081" y="10000"/>
                      </a:lnTo>
                      <a:lnTo>
                        <a:pt x="4971" y="10000"/>
                      </a:lnTo>
                      <a:lnTo>
                        <a:pt x="2616" y="10000"/>
                      </a:lnTo>
                      <a:lnTo>
                        <a:pt x="0" y="10000"/>
                      </a:lnTo>
                      <a:lnTo>
                        <a:pt x="0" y="0"/>
                      </a:lnTo>
                      <a:lnTo>
                        <a:pt x="2209" y="0"/>
                      </a:lnTo>
                      <a:lnTo>
                        <a:pt x="2306" y="0"/>
                      </a:lnTo>
                      <a:lnTo>
                        <a:pt x="3430" y="0"/>
                      </a:lnTo>
                      <a:close/>
                    </a:path>
                  </a:pathLst>
                </a:custGeom>
                <a:solidFill>
                  <a:srgbClr val="9DC3E6"/>
                </a:solidFill>
                <a:ln w="9525">
                  <a:noFill/>
                  <a:miter lim="800000"/>
                  <a:headEnd/>
                  <a:tailEnd/>
                </a:ln>
                <a:effectLst>
                  <a:outerShdw blurRad="50800" dist="38100" dir="2700000" algn="tl" rotWithShape="0">
                    <a:prstClr val="black">
                      <a:alpha val="40000"/>
                    </a:prstClr>
                  </a:outerShdw>
                </a:effectLst>
              </p:spPr>
              <p:txBody>
                <a:bodyPr/>
                <a:lstStyle/>
                <a:p>
                  <a:pPr algn="just"/>
                  <a:endParaRPr lang="en-US" sz="1837" b="1"/>
                </a:p>
              </p:txBody>
            </p:sp>
            <p:sp>
              <p:nvSpPr>
                <p:cNvPr id="86" name="Freeform 6">
                  <a:extLst>
                    <a:ext uri="{FF2B5EF4-FFF2-40B4-BE49-F238E27FC236}">
                      <a16:creationId xmlns:a16="http://schemas.microsoft.com/office/drawing/2014/main" id="{2B7C29B9-C8F1-410E-A8E5-F8AC845AAB6E}"/>
                    </a:ext>
                  </a:extLst>
                </p:cNvPr>
                <p:cNvSpPr>
                  <a:spLocks/>
                </p:cNvSpPr>
                <p:nvPr/>
              </p:nvSpPr>
              <p:spPr bwMode="auto">
                <a:xfrm flipH="1">
                  <a:off x="4130934" y="1556792"/>
                  <a:ext cx="1809218" cy="2212223"/>
                </a:xfrm>
                <a:custGeom>
                  <a:avLst/>
                  <a:gdLst>
                    <a:gd name="T0" fmla="*/ 1004846 w 832"/>
                    <a:gd name="T1" fmla="*/ 429230 h 1032"/>
                    <a:gd name="T2" fmla="*/ 905959 w 832"/>
                    <a:gd name="T3" fmla="*/ 429230 h 1032"/>
                    <a:gd name="T4" fmla="*/ 903317 w 832"/>
                    <a:gd name="T5" fmla="*/ 427922 h 1032"/>
                    <a:gd name="T6" fmla="*/ 854177 w 832"/>
                    <a:gd name="T7" fmla="*/ 412248 h 1032"/>
                    <a:gd name="T8" fmla="*/ 766137 w 832"/>
                    <a:gd name="T9" fmla="*/ 501935 h 1032"/>
                    <a:gd name="T10" fmla="*/ 854177 w 832"/>
                    <a:gd name="T11" fmla="*/ 591006 h 1032"/>
                    <a:gd name="T12" fmla="*/ 904792 w 832"/>
                    <a:gd name="T13" fmla="*/ 575041 h 1032"/>
                    <a:gd name="T14" fmla="*/ 905959 w 832"/>
                    <a:gd name="T15" fmla="*/ 573628 h 1032"/>
                    <a:gd name="T16" fmla="*/ 1004846 w 832"/>
                    <a:gd name="T17" fmla="*/ 575041 h 1032"/>
                    <a:gd name="T18" fmla="*/ 1004846 w 832"/>
                    <a:gd name="T19" fmla="*/ 728726 h 1032"/>
                    <a:gd name="T20" fmla="*/ 1004846 w 832"/>
                    <a:gd name="T21" fmla="*/ 749753 h 1032"/>
                    <a:gd name="T22" fmla="*/ 1004846 w 832"/>
                    <a:gd name="T23" fmla="*/ 997236 h 1032"/>
                    <a:gd name="T24" fmla="*/ 1004846 w 832"/>
                    <a:gd name="T25" fmla="*/ 1011174 h 1032"/>
                    <a:gd name="T26" fmla="*/ 591628 w 832"/>
                    <a:gd name="T27" fmla="*/ 1011174 h 1032"/>
                    <a:gd name="T28" fmla="*/ 572558 w 832"/>
                    <a:gd name="T29" fmla="*/ 1011174 h 1032"/>
                    <a:gd name="T30" fmla="*/ 571381 w 832"/>
                    <a:gd name="T31" fmla="*/ 1109857 h 1032"/>
                    <a:gd name="T32" fmla="*/ 573299 w 832"/>
                    <a:gd name="T33" fmla="*/ 1110863 h 1032"/>
                    <a:gd name="T34" fmla="*/ 587914 w 832"/>
                    <a:gd name="T35" fmla="*/ 1161940 h 1032"/>
                    <a:gd name="T36" fmla="*/ 499868 w 832"/>
                    <a:gd name="T37" fmla="*/ 1251642 h 1032"/>
                    <a:gd name="T38" fmla="*/ 410377 w 832"/>
                    <a:gd name="T39" fmla="*/ 1161940 h 1032"/>
                    <a:gd name="T40" fmla="*/ 425033 w 832"/>
                    <a:gd name="T41" fmla="*/ 1112278 h 1032"/>
                    <a:gd name="T42" fmla="*/ 427701 w 832"/>
                    <a:gd name="T43" fmla="*/ 1109857 h 1032"/>
                    <a:gd name="T44" fmla="*/ 426516 w 832"/>
                    <a:gd name="T45" fmla="*/ 1011174 h 1032"/>
                    <a:gd name="T46" fmla="*/ 406733 w 832"/>
                    <a:gd name="T47" fmla="*/ 1011174 h 1032"/>
                    <a:gd name="T48" fmla="*/ 0 w 832"/>
                    <a:gd name="T49" fmla="*/ 1011174 h 1032"/>
                    <a:gd name="T50" fmla="*/ 0 w 832"/>
                    <a:gd name="T51" fmla="*/ 622069 h 1032"/>
                    <a:gd name="T52" fmla="*/ 0 w 832"/>
                    <a:gd name="T53" fmla="*/ 327603 h 1032"/>
                    <a:gd name="T54" fmla="*/ 0 w 832"/>
                    <a:gd name="T55" fmla="*/ 0 h 1032"/>
                    <a:gd name="T56" fmla="*/ 1004846 w 832"/>
                    <a:gd name="T57" fmla="*/ 0 h 1032"/>
                    <a:gd name="T58" fmla="*/ 1004846 w 832"/>
                    <a:gd name="T59" fmla="*/ 276859 h 1032"/>
                    <a:gd name="T60" fmla="*/ 1004846 w 832"/>
                    <a:gd name="T61" fmla="*/ 288703 h 1032"/>
                    <a:gd name="T62" fmla="*/ 1004846 w 832"/>
                    <a:gd name="T63" fmla="*/ 429230 h 103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832"/>
                    <a:gd name="T97" fmla="*/ 0 h 1032"/>
                    <a:gd name="T98" fmla="*/ 832 w 832"/>
                    <a:gd name="T99" fmla="*/ 1032 h 1032"/>
                    <a:gd name="connsiteX0" fmla="*/ 10000 w 10000"/>
                    <a:gd name="connsiteY0" fmla="*/ 3430 h 10000"/>
                    <a:gd name="connsiteX1" fmla="*/ 9014 w 10000"/>
                    <a:gd name="connsiteY1" fmla="*/ 3430 h 10000"/>
                    <a:gd name="connsiteX2" fmla="*/ 8990 w 10000"/>
                    <a:gd name="connsiteY2" fmla="*/ 3421 h 10000"/>
                    <a:gd name="connsiteX3" fmla="*/ 8498 w 10000"/>
                    <a:gd name="connsiteY3" fmla="*/ 3295 h 10000"/>
                    <a:gd name="connsiteX4" fmla="*/ 7620 w 10000"/>
                    <a:gd name="connsiteY4" fmla="*/ 4012 h 10000"/>
                    <a:gd name="connsiteX5" fmla="*/ 8498 w 10000"/>
                    <a:gd name="connsiteY5" fmla="*/ 4719 h 10000"/>
                    <a:gd name="connsiteX6" fmla="*/ 9002 w 10000"/>
                    <a:gd name="connsiteY6" fmla="*/ 4593 h 10000"/>
                    <a:gd name="connsiteX7" fmla="*/ 9014 w 10000"/>
                    <a:gd name="connsiteY7" fmla="*/ 4583 h 10000"/>
                    <a:gd name="connsiteX8" fmla="*/ 10000 w 10000"/>
                    <a:gd name="connsiteY8" fmla="*/ 4593 h 10000"/>
                    <a:gd name="connsiteX9" fmla="*/ 10000 w 10000"/>
                    <a:gd name="connsiteY9" fmla="*/ 5824 h 10000"/>
                    <a:gd name="connsiteX10" fmla="*/ 10000 w 10000"/>
                    <a:gd name="connsiteY10" fmla="*/ 5988 h 10000"/>
                    <a:gd name="connsiteX11" fmla="*/ 10000 w 10000"/>
                    <a:gd name="connsiteY11" fmla="*/ 7965 h 10000"/>
                    <a:gd name="connsiteX12" fmla="*/ 10000 w 10000"/>
                    <a:gd name="connsiteY12" fmla="*/ 8081 h 10000"/>
                    <a:gd name="connsiteX13" fmla="*/ 5889 w 10000"/>
                    <a:gd name="connsiteY13" fmla="*/ 8081 h 10000"/>
                    <a:gd name="connsiteX14" fmla="*/ 5697 w 10000"/>
                    <a:gd name="connsiteY14" fmla="*/ 8081 h 10000"/>
                    <a:gd name="connsiteX15" fmla="*/ 5685 w 10000"/>
                    <a:gd name="connsiteY15" fmla="*/ 8866 h 10000"/>
                    <a:gd name="connsiteX16" fmla="*/ 5853 w 10000"/>
                    <a:gd name="connsiteY16" fmla="*/ 9283 h 10000"/>
                    <a:gd name="connsiteX17" fmla="*/ 4976 w 10000"/>
                    <a:gd name="connsiteY17" fmla="*/ 10000 h 10000"/>
                    <a:gd name="connsiteX18" fmla="*/ 4087 w 10000"/>
                    <a:gd name="connsiteY18" fmla="*/ 9283 h 10000"/>
                    <a:gd name="connsiteX19" fmla="*/ 4231 w 10000"/>
                    <a:gd name="connsiteY19" fmla="*/ 8886 h 10000"/>
                    <a:gd name="connsiteX20" fmla="*/ 4255 w 10000"/>
                    <a:gd name="connsiteY20" fmla="*/ 8866 h 10000"/>
                    <a:gd name="connsiteX21" fmla="*/ 4243 w 10000"/>
                    <a:gd name="connsiteY21" fmla="*/ 8081 h 10000"/>
                    <a:gd name="connsiteX22" fmla="*/ 4050 w 10000"/>
                    <a:gd name="connsiteY22" fmla="*/ 8081 h 10000"/>
                    <a:gd name="connsiteX23" fmla="*/ 0 w 10000"/>
                    <a:gd name="connsiteY23" fmla="*/ 8081 h 10000"/>
                    <a:gd name="connsiteX24" fmla="*/ 0 w 10000"/>
                    <a:gd name="connsiteY24" fmla="*/ 4971 h 10000"/>
                    <a:gd name="connsiteX25" fmla="*/ 0 w 10000"/>
                    <a:gd name="connsiteY25" fmla="*/ 2616 h 10000"/>
                    <a:gd name="connsiteX26" fmla="*/ 0 w 10000"/>
                    <a:gd name="connsiteY26" fmla="*/ 0 h 10000"/>
                    <a:gd name="connsiteX27" fmla="*/ 10000 w 10000"/>
                    <a:gd name="connsiteY27" fmla="*/ 0 h 10000"/>
                    <a:gd name="connsiteX28" fmla="*/ 10000 w 10000"/>
                    <a:gd name="connsiteY28" fmla="*/ 2209 h 10000"/>
                    <a:gd name="connsiteX29" fmla="*/ 10000 w 10000"/>
                    <a:gd name="connsiteY29" fmla="*/ 2306 h 10000"/>
                    <a:gd name="connsiteX30" fmla="*/ 10000 w 10000"/>
                    <a:gd name="connsiteY30" fmla="*/ 3430 h 10000"/>
                    <a:gd name="connsiteX0" fmla="*/ 10000 w 10000"/>
                    <a:gd name="connsiteY0" fmla="*/ 3430 h 10000"/>
                    <a:gd name="connsiteX1" fmla="*/ 9014 w 10000"/>
                    <a:gd name="connsiteY1" fmla="*/ 3430 h 10000"/>
                    <a:gd name="connsiteX2" fmla="*/ 8990 w 10000"/>
                    <a:gd name="connsiteY2" fmla="*/ 3421 h 10000"/>
                    <a:gd name="connsiteX3" fmla="*/ 8498 w 10000"/>
                    <a:gd name="connsiteY3" fmla="*/ 3295 h 10000"/>
                    <a:gd name="connsiteX4" fmla="*/ 7620 w 10000"/>
                    <a:gd name="connsiteY4" fmla="*/ 4012 h 10000"/>
                    <a:gd name="connsiteX5" fmla="*/ 8498 w 10000"/>
                    <a:gd name="connsiteY5" fmla="*/ 4719 h 10000"/>
                    <a:gd name="connsiteX6" fmla="*/ 9002 w 10000"/>
                    <a:gd name="connsiteY6" fmla="*/ 4593 h 10000"/>
                    <a:gd name="connsiteX7" fmla="*/ 9014 w 10000"/>
                    <a:gd name="connsiteY7" fmla="*/ 4583 h 10000"/>
                    <a:gd name="connsiteX8" fmla="*/ 10000 w 10000"/>
                    <a:gd name="connsiteY8" fmla="*/ 4593 h 10000"/>
                    <a:gd name="connsiteX9" fmla="*/ 10000 w 10000"/>
                    <a:gd name="connsiteY9" fmla="*/ 5824 h 10000"/>
                    <a:gd name="connsiteX10" fmla="*/ 10000 w 10000"/>
                    <a:gd name="connsiteY10" fmla="*/ 5988 h 10000"/>
                    <a:gd name="connsiteX11" fmla="*/ 10000 w 10000"/>
                    <a:gd name="connsiteY11" fmla="*/ 7965 h 10000"/>
                    <a:gd name="connsiteX12" fmla="*/ 10000 w 10000"/>
                    <a:gd name="connsiteY12" fmla="*/ 8081 h 10000"/>
                    <a:gd name="connsiteX13" fmla="*/ 5889 w 10000"/>
                    <a:gd name="connsiteY13" fmla="*/ 8081 h 10000"/>
                    <a:gd name="connsiteX14" fmla="*/ 5697 w 10000"/>
                    <a:gd name="connsiteY14" fmla="*/ 8081 h 10000"/>
                    <a:gd name="connsiteX15" fmla="*/ 5685 w 10000"/>
                    <a:gd name="connsiteY15" fmla="*/ 8866 h 10000"/>
                    <a:gd name="connsiteX16" fmla="*/ 5853 w 10000"/>
                    <a:gd name="connsiteY16" fmla="*/ 9283 h 10000"/>
                    <a:gd name="connsiteX17" fmla="*/ 4976 w 10000"/>
                    <a:gd name="connsiteY17" fmla="*/ 10000 h 10000"/>
                    <a:gd name="connsiteX18" fmla="*/ 4087 w 10000"/>
                    <a:gd name="connsiteY18" fmla="*/ 9283 h 10000"/>
                    <a:gd name="connsiteX19" fmla="*/ 4231 w 10000"/>
                    <a:gd name="connsiteY19" fmla="*/ 8886 h 10000"/>
                    <a:gd name="connsiteX20" fmla="*/ 4255 w 10000"/>
                    <a:gd name="connsiteY20" fmla="*/ 8866 h 10000"/>
                    <a:gd name="connsiteX21" fmla="*/ 4243 w 10000"/>
                    <a:gd name="connsiteY21" fmla="*/ 8081 h 10000"/>
                    <a:gd name="connsiteX22" fmla="*/ 4050 w 10000"/>
                    <a:gd name="connsiteY22" fmla="*/ 8081 h 10000"/>
                    <a:gd name="connsiteX23" fmla="*/ 0 w 10000"/>
                    <a:gd name="connsiteY23" fmla="*/ 8081 h 10000"/>
                    <a:gd name="connsiteX24" fmla="*/ 0 w 10000"/>
                    <a:gd name="connsiteY24" fmla="*/ 4971 h 10000"/>
                    <a:gd name="connsiteX25" fmla="*/ 0 w 10000"/>
                    <a:gd name="connsiteY25" fmla="*/ 2616 h 10000"/>
                    <a:gd name="connsiteX26" fmla="*/ 0 w 10000"/>
                    <a:gd name="connsiteY26" fmla="*/ 0 h 10000"/>
                    <a:gd name="connsiteX27" fmla="*/ 10000 w 10000"/>
                    <a:gd name="connsiteY27" fmla="*/ 0 h 10000"/>
                    <a:gd name="connsiteX28" fmla="*/ 10000 w 10000"/>
                    <a:gd name="connsiteY28" fmla="*/ 2209 h 10000"/>
                    <a:gd name="connsiteX29" fmla="*/ 10000 w 10000"/>
                    <a:gd name="connsiteY29" fmla="*/ 2306 h 10000"/>
                    <a:gd name="connsiteX30" fmla="*/ 10000 w 10000"/>
                    <a:gd name="connsiteY30" fmla="*/ 3430 h 10000"/>
                    <a:gd name="connsiteX0" fmla="*/ 10000 w 10000"/>
                    <a:gd name="connsiteY0" fmla="*/ 3430 h 10000"/>
                    <a:gd name="connsiteX1" fmla="*/ 9014 w 10000"/>
                    <a:gd name="connsiteY1" fmla="*/ 3430 h 10000"/>
                    <a:gd name="connsiteX2" fmla="*/ 8990 w 10000"/>
                    <a:gd name="connsiteY2" fmla="*/ 3421 h 10000"/>
                    <a:gd name="connsiteX3" fmla="*/ 8498 w 10000"/>
                    <a:gd name="connsiteY3" fmla="*/ 3295 h 10000"/>
                    <a:gd name="connsiteX4" fmla="*/ 7620 w 10000"/>
                    <a:gd name="connsiteY4" fmla="*/ 4012 h 10000"/>
                    <a:gd name="connsiteX5" fmla="*/ 8498 w 10000"/>
                    <a:gd name="connsiteY5" fmla="*/ 4719 h 10000"/>
                    <a:gd name="connsiteX6" fmla="*/ 9002 w 10000"/>
                    <a:gd name="connsiteY6" fmla="*/ 4593 h 10000"/>
                    <a:gd name="connsiteX7" fmla="*/ 9014 w 10000"/>
                    <a:gd name="connsiteY7" fmla="*/ 4583 h 10000"/>
                    <a:gd name="connsiteX8" fmla="*/ 10000 w 10000"/>
                    <a:gd name="connsiteY8" fmla="*/ 4593 h 10000"/>
                    <a:gd name="connsiteX9" fmla="*/ 10000 w 10000"/>
                    <a:gd name="connsiteY9" fmla="*/ 5824 h 10000"/>
                    <a:gd name="connsiteX10" fmla="*/ 10000 w 10000"/>
                    <a:gd name="connsiteY10" fmla="*/ 5988 h 10000"/>
                    <a:gd name="connsiteX11" fmla="*/ 10000 w 10000"/>
                    <a:gd name="connsiteY11" fmla="*/ 7965 h 10000"/>
                    <a:gd name="connsiteX12" fmla="*/ 10000 w 10000"/>
                    <a:gd name="connsiteY12" fmla="*/ 8081 h 10000"/>
                    <a:gd name="connsiteX13" fmla="*/ 5889 w 10000"/>
                    <a:gd name="connsiteY13" fmla="*/ 8081 h 10000"/>
                    <a:gd name="connsiteX14" fmla="*/ 5697 w 10000"/>
                    <a:gd name="connsiteY14" fmla="*/ 8081 h 10000"/>
                    <a:gd name="connsiteX15" fmla="*/ 5685 w 10000"/>
                    <a:gd name="connsiteY15" fmla="*/ 8866 h 10000"/>
                    <a:gd name="connsiteX16" fmla="*/ 5853 w 10000"/>
                    <a:gd name="connsiteY16" fmla="*/ 9283 h 10000"/>
                    <a:gd name="connsiteX17" fmla="*/ 4976 w 10000"/>
                    <a:gd name="connsiteY17" fmla="*/ 10000 h 10000"/>
                    <a:gd name="connsiteX18" fmla="*/ 4087 w 10000"/>
                    <a:gd name="connsiteY18" fmla="*/ 9283 h 10000"/>
                    <a:gd name="connsiteX19" fmla="*/ 4231 w 10000"/>
                    <a:gd name="connsiteY19" fmla="*/ 8886 h 10000"/>
                    <a:gd name="connsiteX20" fmla="*/ 4255 w 10000"/>
                    <a:gd name="connsiteY20" fmla="*/ 8866 h 10000"/>
                    <a:gd name="connsiteX21" fmla="*/ 4243 w 10000"/>
                    <a:gd name="connsiteY21" fmla="*/ 8081 h 10000"/>
                    <a:gd name="connsiteX22" fmla="*/ 4050 w 10000"/>
                    <a:gd name="connsiteY22" fmla="*/ 8081 h 10000"/>
                    <a:gd name="connsiteX23" fmla="*/ 0 w 10000"/>
                    <a:gd name="connsiteY23" fmla="*/ 8081 h 10000"/>
                    <a:gd name="connsiteX24" fmla="*/ 0 w 10000"/>
                    <a:gd name="connsiteY24" fmla="*/ 4971 h 10000"/>
                    <a:gd name="connsiteX25" fmla="*/ 0 w 10000"/>
                    <a:gd name="connsiteY25" fmla="*/ 2616 h 10000"/>
                    <a:gd name="connsiteX26" fmla="*/ 0 w 10000"/>
                    <a:gd name="connsiteY26" fmla="*/ 0 h 10000"/>
                    <a:gd name="connsiteX27" fmla="*/ 10000 w 10000"/>
                    <a:gd name="connsiteY27" fmla="*/ 0 h 10000"/>
                    <a:gd name="connsiteX28" fmla="*/ 10000 w 10000"/>
                    <a:gd name="connsiteY28" fmla="*/ 2209 h 10000"/>
                    <a:gd name="connsiteX29" fmla="*/ 10000 w 10000"/>
                    <a:gd name="connsiteY29" fmla="*/ 2306 h 10000"/>
                    <a:gd name="connsiteX30" fmla="*/ 10000 w 10000"/>
                    <a:gd name="connsiteY30" fmla="*/ 3430 h 10000"/>
                    <a:gd name="connsiteX0" fmla="*/ 10000 w 10000"/>
                    <a:gd name="connsiteY0" fmla="*/ 3430 h 10000"/>
                    <a:gd name="connsiteX1" fmla="*/ 9014 w 10000"/>
                    <a:gd name="connsiteY1" fmla="*/ 3430 h 10000"/>
                    <a:gd name="connsiteX2" fmla="*/ 8990 w 10000"/>
                    <a:gd name="connsiteY2" fmla="*/ 3421 h 10000"/>
                    <a:gd name="connsiteX3" fmla="*/ 8498 w 10000"/>
                    <a:gd name="connsiteY3" fmla="*/ 3295 h 10000"/>
                    <a:gd name="connsiteX4" fmla="*/ 7620 w 10000"/>
                    <a:gd name="connsiteY4" fmla="*/ 4012 h 10000"/>
                    <a:gd name="connsiteX5" fmla="*/ 8498 w 10000"/>
                    <a:gd name="connsiteY5" fmla="*/ 4719 h 10000"/>
                    <a:gd name="connsiteX6" fmla="*/ 9002 w 10000"/>
                    <a:gd name="connsiteY6" fmla="*/ 4593 h 10000"/>
                    <a:gd name="connsiteX7" fmla="*/ 9014 w 10000"/>
                    <a:gd name="connsiteY7" fmla="*/ 4583 h 10000"/>
                    <a:gd name="connsiteX8" fmla="*/ 10000 w 10000"/>
                    <a:gd name="connsiteY8" fmla="*/ 4593 h 10000"/>
                    <a:gd name="connsiteX9" fmla="*/ 10000 w 10000"/>
                    <a:gd name="connsiteY9" fmla="*/ 5824 h 10000"/>
                    <a:gd name="connsiteX10" fmla="*/ 10000 w 10000"/>
                    <a:gd name="connsiteY10" fmla="*/ 5988 h 10000"/>
                    <a:gd name="connsiteX11" fmla="*/ 10000 w 10000"/>
                    <a:gd name="connsiteY11" fmla="*/ 7965 h 10000"/>
                    <a:gd name="connsiteX12" fmla="*/ 10000 w 10000"/>
                    <a:gd name="connsiteY12" fmla="*/ 8081 h 10000"/>
                    <a:gd name="connsiteX13" fmla="*/ 5889 w 10000"/>
                    <a:gd name="connsiteY13" fmla="*/ 8081 h 10000"/>
                    <a:gd name="connsiteX14" fmla="*/ 5697 w 10000"/>
                    <a:gd name="connsiteY14" fmla="*/ 8081 h 10000"/>
                    <a:gd name="connsiteX15" fmla="*/ 5685 w 10000"/>
                    <a:gd name="connsiteY15" fmla="*/ 8866 h 10000"/>
                    <a:gd name="connsiteX16" fmla="*/ 5853 w 10000"/>
                    <a:gd name="connsiteY16" fmla="*/ 9283 h 10000"/>
                    <a:gd name="connsiteX17" fmla="*/ 4976 w 10000"/>
                    <a:gd name="connsiteY17" fmla="*/ 10000 h 10000"/>
                    <a:gd name="connsiteX18" fmla="*/ 4087 w 10000"/>
                    <a:gd name="connsiteY18" fmla="*/ 9283 h 10000"/>
                    <a:gd name="connsiteX19" fmla="*/ 4231 w 10000"/>
                    <a:gd name="connsiteY19" fmla="*/ 8886 h 10000"/>
                    <a:gd name="connsiteX20" fmla="*/ 4255 w 10000"/>
                    <a:gd name="connsiteY20" fmla="*/ 8866 h 10000"/>
                    <a:gd name="connsiteX21" fmla="*/ 4243 w 10000"/>
                    <a:gd name="connsiteY21" fmla="*/ 8081 h 10000"/>
                    <a:gd name="connsiteX22" fmla="*/ 4050 w 10000"/>
                    <a:gd name="connsiteY22" fmla="*/ 8081 h 10000"/>
                    <a:gd name="connsiteX23" fmla="*/ 0 w 10000"/>
                    <a:gd name="connsiteY23" fmla="*/ 8081 h 10000"/>
                    <a:gd name="connsiteX24" fmla="*/ 0 w 10000"/>
                    <a:gd name="connsiteY24" fmla="*/ 4971 h 10000"/>
                    <a:gd name="connsiteX25" fmla="*/ 0 w 10000"/>
                    <a:gd name="connsiteY25" fmla="*/ 2616 h 10000"/>
                    <a:gd name="connsiteX26" fmla="*/ 0 w 10000"/>
                    <a:gd name="connsiteY26" fmla="*/ 0 h 10000"/>
                    <a:gd name="connsiteX27" fmla="*/ 10000 w 10000"/>
                    <a:gd name="connsiteY27" fmla="*/ 0 h 10000"/>
                    <a:gd name="connsiteX28" fmla="*/ 10000 w 10000"/>
                    <a:gd name="connsiteY28" fmla="*/ 2209 h 10000"/>
                    <a:gd name="connsiteX29" fmla="*/ 10000 w 10000"/>
                    <a:gd name="connsiteY29" fmla="*/ 2306 h 10000"/>
                    <a:gd name="connsiteX30" fmla="*/ 10000 w 10000"/>
                    <a:gd name="connsiteY30" fmla="*/ 3430 h 10000"/>
                    <a:gd name="connsiteX0" fmla="*/ 10028 w 10028"/>
                    <a:gd name="connsiteY0" fmla="*/ 3430 h 10000"/>
                    <a:gd name="connsiteX1" fmla="*/ 9042 w 10028"/>
                    <a:gd name="connsiteY1" fmla="*/ 3430 h 10000"/>
                    <a:gd name="connsiteX2" fmla="*/ 9018 w 10028"/>
                    <a:gd name="connsiteY2" fmla="*/ 3421 h 10000"/>
                    <a:gd name="connsiteX3" fmla="*/ 8526 w 10028"/>
                    <a:gd name="connsiteY3" fmla="*/ 3295 h 10000"/>
                    <a:gd name="connsiteX4" fmla="*/ 7648 w 10028"/>
                    <a:gd name="connsiteY4" fmla="*/ 4012 h 10000"/>
                    <a:gd name="connsiteX5" fmla="*/ 8526 w 10028"/>
                    <a:gd name="connsiteY5" fmla="*/ 4719 h 10000"/>
                    <a:gd name="connsiteX6" fmla="*/ 9030 w 10028"/>
                    <a:gd name="connsiteY6" fmla="*/ 4593 h 10000"/>
                    <a:gd name="connsiteX7" fmla="*/ 9042 w 10028"/>
                    <a:gd name="connsiteY7" fmla="*/ 4583 h 10000"/>
                    <a:gd name="connsiteX8" fmla="*/ 10028 w 10028"/>
                    <a:gd name="connsiteY8" fmla="*/ 4593 h 10000"/>
                    <a:gd name="connsiteX9" fmla="*/ 10028 w 10028"/>
                    <a:gd name="connsiteY9" fmla="*/ 5824 h 10000"/>
                    <a:gd name="connsiteX10" fmla="*/ 10028 w 10028"/>
                    <a:gd name="connsiteY10" fmla="*/ 5988 h 10000"/>
                    <a:gd name="connsiteX11" fmla="*/ 10028 w 10028"/>
                    <a:gd name="connsiteY11" fmla="*/ 7965 h 10000"/>
                    <a:gd name="connsiteX12" fmla="*/ 10028 w 10028"/>
                    <a:gd name="connsiteY12" fmla="*/ 8081 h 10000"/>
                    <a:gd name="connsiteX13" fmla="*/ 5917 w 10028"/>
                    <a:gd name="connsiteY13" fmla="*/ 8081 h 10000"/>
                    <a:gd name="connsiteX14" fmla="*/ 5725 w 10028"/>
                    <a:gd name="connsiteY14" fmla="*/ 8081 h 10000"/>
                    <a:gd name="connsiteX15" fmla="*/ 5713 w 10028"/>
                    <a:gd name="connsiteY15" fmla="*/ 8866 h 10000"/>
                    <a:gd name="connsiteX16" fmla="*/ 5881 w 10028"/>
                    <a:gd name="connsiteY16" fmla="*/ 9283 h 10000"/>
                    <a:gd name="connsiteX17" fmla="*/ 5004 w 10028"/>
                    <a:gd name="connsiteY17" fmla="*/ 10000 h 10000"/>
                    <a:gd name="connsiteX18" fmla="*/ 4115 w 10028"/>
                    <a:gd name="connsiteY18" fmla="*/ 9283 h 10000"/>
                    <a:gd name="connsiteX19" fmla="*/ 4259 w 10028"/>
                    <a:gd name="connsiteY19" fmla="*/ 8886 h 10000"/>
                    <a:gd name="connsiteX20" fmla="*/ 4283 w 10028"/>
                    <a:gd name="connsiteY20" fmla="*/ 8866 h 10000"/>
                    <a:gd name="connsiteX21" fmla="*/ 4271 w 10028"/>
                    <a:gd name="connsiteY21" fmla="*/ 8081 h 10000"/>
                    <a:gd name="connsiteX22" fmla="*/ 4078 w 10028"/>
                    <a:gd name="connsiteY22" fmla="*/ 8081 h 10000"/>
                    <a:gd name="connsiteX23" fmla="*/ 0 w 10028"/>
                    <a:gd name="connsiteY23" fmla="*/ 8081 h 10000"/>
                    <a:gd name="connsiteX24" fmla="*/ 28 w 10028"/>
                    <a:gd name="connsiteY24" fmla="*/ 4971 h 10000"/>
                    <a:gd name="connsiteX25" fmla="*/ 28 w 10028"/>
                    <a:gd name="connsiteY25" fmla="*/ 2616 h 10000"/>
                    <a:gd name="connsiteX26" fmla="*/ 28 w 10028"/>
                    <a:gd name="connsiteY26" fmla="*/ 0 h 10000"/>
                    <a:gd name="connsiteX27" fmla="*/ 10028 w 10028"/>
                    <a:gd name="connsiteY27" fmla="*/ 0 h 10000"/>
                    <a:gd name="connsiteX28" fmla="*/ 10028 w 10028"/>
                    <a:gd name="connsiteY28" fmla="*/ 2209 h 10000"/>
                    <a:gd name="connsiteX29" fmla="*/ 10028 w 10028"/>
                    <a:gd name="connsiteY29" fmla="*/ 2306 h 10000"/>
                    <a:gd name="connsiteX30" fmla="*/ 10028 w 10028"/>
                    <a:gd name="connsiteY30" fmla="*/ 3430 h 10000"/>
                    <a:gd name="connsiteX0" fmla="*/ 10038 w 10781"/>
                    <a:gd name="connsiteY0" fmla="*/ 3593 h 10163"/>
                    <a:gd name="connsiteX1" fmla="*/ 9052 w 10781"/>
                    <a:gd name="connsiteY1" fmla="*/ 3593 h 10163"/>
                    <a:gd name="connsiteX2" fmla="*/ 9028 w 10781"/>
                    <a:gd name="connsiteY2" fmla="*/ 3584 h 10163"/>
                    <a:gd name="connsiteX3" fmla="*/ 8536 w 10781"/>
                    <a:gd name="connsiteY3" fmla="*/ 3458 h 10163"/>
                    <a:gd name="connsiteX4" fmla="*/ 7658 w 10781"/>
                    <a:gd name="connsiteY4" fmla="*/ 4175 h 10163"/>
                    <a:gd name="connsiteX5" fmla="*/ 8536 w 10781"/>
                    <a:gd name="connsiteY5" fmla="*/ 4882 h 10163"/>
                    <a:gd name="connsiteX6" fmla="*/ 9040 w 10781"/>
                    <a:gd name="connsiteY6" fmla="*/ 4756 h 10163"/>
                    <a:gd name="connsiteX7" fmla="*/ 9052 w 10781"/>
                    <a:gd name="connsiteY7" fmla="*/ 4746 h 10163"/>
                    <a:gd name="connsiteX8" fmla="*/ 10038 w 10781"/>
                    <a:gd name="connsiteY8" fmla="*/ 4756 h 10163"/>
                    <a:gd name="connsiteX9" fmla="*/ 10038 w 10781"/>
                    <a:gd name="connsiteY9" fmla="*/ 5987 h 10163"/>
                    <a:gd name="connsiteX10" fmla="*/ 10038 w 10781"/>
                    <a:gd name="connsiteY10" fmla="*/ 6151 h 10163"/>
                    <a:gd name="connsiteX11" fmla="*/ 10038 w 10781"/>
                    <a:gd name="connsiteY11" fmla="*/ 8128 h 10163"/>
                    <a:gd name="connsiteX12" fmla="*/ 10038 w 10781"/>
                    <a:gd name="connsiteY12" fmla="*/ 8244 h 10163"/>
                    <a:gd name="connsiteX13" fmla="*/ 5927 w 10781"/>
                    <a:gd name="connsiteY13" fmla="*/ 8244 h 10163"/>
                    <a:gd name="connsiteX14" fmla="*/ 5735 w 10781"/>
                    <a:gd name="connsiteY14" fmla="*/ 8244 h 10163"/>
                    <a:gd name="connsiteX15" fmla="*/ 5723 w 10781"/>
                    <a:gd name="connsiteY15" fmla="*/ 9029 h 10163"/>
                    <a:gd name="connsiteX16" fmla="*/ 5891 w 10781"/>
                    <a:gd name="connsiteY16" fmla="*/ 9446 h 10163"/>
                    <a:gd name="connsiteX17" fmla="*/ 5014 w 10781"/>
                    <a:gd name="connsiteY17" fmla="*/ 10163 h 10163"/>
                    <a:gd name="connsiteX18" fmla="*/ 4125 w 10781"/>
                    <a:gd name="connsiteY18" fmla="*/ 9446 h 10163"/>
                    <a:gd name="connsiteX19" fmla="*/ 4269 w 10781"/>
                    <a:gd name="connsiteY19" fmla="*/ 9049 h 10163"/>
                    <a:gd name="connsiteX20" fmla="*/ 4293 w 10781"/>
                    <a:gd name="connsiteY20" fmla="*/ 9029 h 10163"/>
                    <a:gd name="connsiteX21" fmla="*/ 4281 w 10781"/>
                    <a:gd name="connsiteY21" fmla="*/ 8244 h 10163"/>
                    <a:gd name="connsiteX22" fmla="*/ 4088 w 10781"/>
                    <a:gd name="connsiteY22" fmla="*/ 8244 h 10163"/>
                    <a:gd name="connsiteX23" fmla="*/ 10 w 10781"/>
                    <a:gd name="connsiteY23" fmla="*/ 8244 h 10163"/>
                    <a:gd name="connsiteX24" fmla="*/ 38 w 10781"/>
                    <a:gd name="connsiteY24" fmla="*/ 5134 h 10163"/>
                    <a:gd name="connsiteX25" fmla="*/ 38 w 10781"/>
                    <a:gd name="connsiteY25" fmla="*/ 2779 h 10163"/>
                    <a:gd name="connsiteX26" fmla="*/ 0 w 10781"/>
                    <a:gd name="connsiteY26" fmla="*/ 163 h 10163"/>
                    <a:gd name="connsiteX27" fmla="*/ 10038 w 10781"/>
                    <a:gd name="connsiteY27" fmla="*/ 163 h 10163"/>
                    <a:gd name="connsiteX28" fmla="*/ 10038 w 10781"/>
                    <a:gd name="connsiteY28" fmla="*/ 2372 h 10163"/>
                    <a:gd name="connsiteX29" fmla="*/ 10038 w 10781"/>
                    <a:gd name="connsiteY29" fmla="*/ 2469 h 10163"/>
                    <a:gd name="connsiteX30" fmla="*/ 10038 w 10781"/>
                    <a:gd name="connsiteY30" fmla="*/ 3593 h 10163"/>
                    <a:gd name="connsiteX0" fmla="*/ 10038 w 10781"/>
                    <a:gd name="connsiteY0" fmla="*/ 3430 h 10000"/>
                    <a:gd name="connsiteX1" fmla="*/ 9052 w 10781"/>
                    <a:gd name="connsiteY1" fmla="*/ 3430 h 10000"/>
                    <a:gd name="connsiteX2" fmla="*/ 9028 w 10781"/>
                    <a:gd name="connsiteY2" fmla="*/ 3421 h 10000"/>
                    <a:gd name="connsiteX3" fmla="*/ 8536 w 10781"/>
                    <a:gd name="connsiteY3" fmla="*/ 3295 h 10000"/>
                    <a:gd name="connsiteX4" fmla="*/ 7658 w 10781"/>
                    <a:gd name="connsiteY4" fmla="*/ 4012 h 10000"/>
                    <a:gd name="connsiteX5" fmla="*/ 8536 w 10781"/>
                    <a:gd name="connsiteY5" fmla="*/ 4719 h 10000"/>
                    <a:gd name="connsiteX6" fmla="*/ 9040 w 10781"/>
                    <a:gd name="connsiteY6" fmla="*/ 4593 h 10000"/>
                    <a:gd name="connsiteX7" fmla="*/ 9052 w 10781"/>
                    <a:gd name="connsiteY7" fmla="*/ 4583 h 10000"/>
                    <a:gd name="connsiteX8" fmla="*/ 10038 w 10781"/>
                    <a:gd name="connsiteY8" fmla="*/ 4593 h 10000"/>
                    <a:gd name="connsiteX9" fmla="*/ 10038 w 10781"/>
                    <a:gd name="connsiteY9" fmla="*/ 5824 h 10000"/>
                    <a:gd name="connsiteX10" fmla="*/ 10038 w 10781"/>
                    <a:gd name="connsiteY10" fmla="*/ 5988 h 10000"/>
                    <a:gd name="connsiteX11" fmla="*/ 10038 w 10781"/>
                    <a:gd name="connsiteY11" fmla="*/ 7965 h 10000"/>
                    <a:gd name="connsiteX12" fmla="*/ 10038 w 10781"/>
                    <a:gd name="connsiteY12" fmla="*/ 8081 h 10000"/>
                    <a:gd name="connsiteX13" fmla="*/ 5927 w 10781"/>
                    <a:gd name="connsiteY13" fmla="*/ 8081 h 10000"/>
                    <a:gd name="connsiteX14" fmla="*/ 5735 w 10781"/>
                    <a:gd name="connsiteY14" fmla="*/ 8081 h 10000"/>
                    <a:gd name="connsiteX15" fmla="*/ 5723 w 10781"/>
                    <a:gd name="connsiteY15" fmla="*/ 8866 h 10000"/>
                    <a:gd name="connsiteX16" fmla="*/ 5891 w 10781"/>
                    <a:gd name="connsiteY16" fmla="*/ 9283 h 10000"/>
                    <a:gd name="connsiteX17" fmla="*/ 5014 w 10781"/>
                    <a:gd name="connsiteY17" fmla="*/ 10000 h 10000"/>
                    <a:gd name="connsiteX18" fmla="*/ 4125 w 10781"/>
                    <a:gd name="connsiteY18" fmla="*/ 9283 h 10000"/>
                    <a:gd name="connsiteX19" fmla="*/ 4269 w 10781"/>
                    <a:gd name="connsiteY19" fmla="*/ 8886 h 10000"/>
                    <a:gd name="connsiteX20" fmla="*/ 4293 w 10781"/>
                    <a:gd name="connsiteY20" fmla="*/ 8866 h 10000"/>
                    <a:gd name="connsiteX21" fmla="*/ 4281 w 10781"/>
                    <a:gd name="connsiteY21" fmla="*/ 8081 h 10000"/>
                    <a:gd name="connsiteX22" fmla="*/ 4088 w 10781"/>
                    <a:gd name="connsiteY22" fmla="*/ 8081 h 10000"/>
                    <a:gd name="connsiteX23" fmla="*/ 10 w 10781"/>
                    <a:gd name="connsiteY23" fmla="*/ 8081 h 10000"/>
                    <a:gd name="connsiteX24" fmla="*/ 38 w 10781"/>
                    <a:gd name="connsiteY24" fmla="*/ 4971 h 10000"/>
                    <a:gd name="connsiteX25" fmla="*/ 38 w 10781"/>
                    <a:gd name="connsiteY25" fmla="*/ 2616 h 10000"/>
                    <a:gd name="connsiteX26" fmla="*/ 0 w 10781"/>
                    <a:gd name="connsiteY26" fmla="*/ 0 h 10000"/>
                    <a:gd name="connsiteX27" fmla="*/ 10038 w 10781"/>
                    <a:gd name="connsiteY27" fmla="*/ 0 h 10000"/>
                    <a:gd name="connsiteX28" fmla="*/ 10038 w 10781"/>
                    <a:gd name="connsiteY28" fmla="*/ 2209 h 10000"/>
                    <a:gd name="connsiteX29" fmla="*/ 10038 w 10781"/>
                    <a:gd name="connsiteY29" fmla="*/ 2306 h 10000"/>
                    <a:gd name="connsiteX30" fmla="*/ 10038 w 10781"/>
                    <a:gd name="connsiteY30" fmla="*/ 3430 h 10000"/>
                    <a:gd name="connsiteX0" fmla="*/ 10038 w 10038"/>
                    <a:gd name="connsiteY0" fmla="*/ 3430 h 10000"/>
                    <a:gd name="connsiteX1" fmla="*/ 9052 w 10038"/>
                    <a:gd name="connsiteY1" fmla="*/ 3430 h 10000"/>
                    <a:gd name="connsiteX2" fmla="*/ 9028 w 10038"/>
                    <a:gd name="connsiteY2" fmla="*/ 3421 h 10000"/>
                    <a:gd name="connsiteX3" fmla="*/ 8536 w 10038"/>
                    <a:gd name="connsiteY3" fmla="*/ 3295 h 10000"/>
                    <a:gd name="connsiteX4" fmla="*/ 7658 w 10038"/>
                    <a:gd name="connsiteY4" fmla="*/ 4012 h 10000"/>
                    <a:gd name="connsiteX5" fmla="*/ 8536 w 10038"/>
                    <a:gd name="connsiteY5" fmla="*/ 4719 h 10000"/>
                    <a:gd name="connsiteX6" fmla="*/ 9040 w 10038"/>
                    <a:gd name="connsiteY6" fmla="*/ 4593 h 10000"/>
                    <a:gd name="connsiteX7" fmla="*/ 9052 w 10038"/>
                    <a:gd name="connsiteY7" fmla="*/ 4583 h 10000"/>
                    <a:gd name="connsiteX8" fmla="*/ 10038 w 10038"/>
                    <a:gd name="connsiteY8" fmla="*/ 4593 h 10000"/>
                    <a:gd name="connsiteX9" fmla="*/ 10038 w 10038"/>
                    <a:gd name="connsiteY9" fmla="*/ 5824 h 10000"/>
                    <a:gd name="connsiteX10" fmla="*/ 10038 w 10038"/>
                    <a:gd name="connsiteY10" fmla="*/ 5988 h 10000"/>
                    <a:gd name="connsiteX11" fmla="*/ 10038 w 10038"/>
                    <a:gd name="connsiteY11" fmla="*/ 7965 h 10000"/>
                    <a:gd name="connsiteX12" fmla="*/ 10038 w 10038"/>
                    <a:gd name="connsiteY12" fmla="*/ 8081 h 10000"/>
                    <a:gd name="connsiteX13" fmla="*/ 5927 w 10038"/>
                    <a:gd name="connsiteY13" fmla="*/ 8081 h 10000"/>
                    <a:gd name="connsiteX14" fmla="*/ 5735 w 10038"/>
                    <a:gd name="connsiteY14" fmla="*/ 8081 h 10000"/>
                    <a:gd name="connsiteX15" fmla="*/ 5723 w 10038"/>
                    <a:gd name="connsiteY15" fmla="*/ 8866 h 10000"/>
                    <a:gd name="connsiteX16" fmla="*/ 5891 w 10038"/>
                    <a:gd name="connsiteY16" fmla="*/ 9283 h 10000"/>
                    <a:gd name="connsiteX17" fmla="*/ 5014 w 10038"/>
                    <a:gd name="connsiteY17" fmla="*/ 10000 h 10000"/>
                    <a:gd name="connsiteX18" fmla="*/ 4125 w 10038"/>
                    <a:gd name="connsiteY18" fmla="*/ 9283 h 10000"/>
                    <a:gd name="connsiteX19" fmla="*/ 4269 w 10038"/>
                    <a:gd name="connsiteY19" fmla="*/ 8886 h 10000"/>
                    <a:gd name="connsiteX20" fmla="*/ 4293 w 10038"/>
                    <a:gd name="connsiteY20" fmla="*/ 8866 h 10000"/>
                    <a:gd name="connsiteX21" fmla="*/ 4281 w 10038"/>
                    <a:gd name="connsiteY21" fmla="*/ 8081 h 10000"/>
                    <a:gd name="connsiteX22" fmla="*/ 4088 w 10038"/>
                    <a:gd name="connsiteY22" fmla="*/ 8081 h 10000"/>
                    <a:gd name="connsiteX23" fmla="*/ 10 w 10038"/>
                    <a:gd name="connsiteY23" fmla="*/ 8081 h 10000"/>
                    <a:gd name="connsiteX24" fmla="*/ 38 w 10038"/>
                    <a:gd name="connsiteY24" fmla="*/ 4971 h 10000"/>
                    <a:gd name="connsiteX25" fmla="*/ 38 w 10038"/>
                    <a:gd name="connsiteY25" fmla="*/ 2616 h 10000"/>
                    <a:gd name="connsiteX26" fmla="*/ 0 w 10038"/>
                    <a:gd name="connsiteY26" fmla="*/ 0 h 10000"/>
                    <a:gd name="connsiteX27" fmla="*/ 10038 w 10038"/>
                    <a:gd name="connsiteY27" fmla="*/ 0 h 10000"/>
                    <a:gd name="connsiteX28" fmla="*/ 10038 w 10038"/>
                    <a:gd name="connsiteY28" fmla="*/ 2209 h 10000"/>
                    <a:gd name="connsiteX29" fmla="*/ 10038 w 10038"/>
                    <a:gd name="connsiteY29" fmla="*/ 2306 h 10000"/>
                    <a:gd name="connsiteX30" fmla="*/ 10038 w 10038"/>
                    <a:gd name="connsiteY30" fmla="*/ 3430 h 10000"/>
                    <a:gd name="connsiteX0" fmla="*/ 10769 w 10769"/>
                    <a:gd name="connsiteY0" fmla="*/ 3798 h 10368"/>
                    <a:gd name="connsiteX1" fmla="*/ 9783 w 10769"/>
                    <a:gd name="connsiteY1" fmla="*/ 3798 h 10368"/>
                    <a:gd name="connsiteX2" fmla="*/ 9759 w 10769"/>
                    <a:gd name="connsiteY2" fmla="*/ 3789 h 10368"/>
                    <a:gd name="connsiteX3" fmla="*/ 9267 w 10769"/>
                    <a:gd name="connsiteY3" fmla="*/ 3663 h 10368"/>
                    <a:gd name="connsiteX4" fmla="*/ 8389 w 10769"/>
                    <a:gd name="connsiteY4" fmla="*/ 4380 h 10368"/>
                    <a:gd name="connsiteX5" fmla="*/ 9267 w 10769"/>
                    <a:gd name="connsiteY5" fmla="*/ 5087 h 10368"/>
                    <a:gd name="connsiteX6" fmla="*/ 9771 w 10769"/>
                    <a:gd name="connsiteY6" fmla="*/ 4961 h 10368"/>
                    <a:gd name="connsiteX7" fmla="*/ 9783 w 10769"/>
                    <a:gd name="connsiteY7" fmla="*/ 4951 h 10368"/>
                    <a:gd name="connsiteX8" fmla="*/ 10769 w 10769"/>
                    <a:gd name="connsiteY8" fmla="*/ 4961 h 10368"/>
                    <a:gd name="connsiteX9" fmla="*/ 10769 w 10769"/>
                    <a:gd name="connsiteY9" fmla="*/ 6192 h 10368"/>
                    <a:gd name="connsiteX10" fmla="*/ 10769 w 10769"/>
                    <a:gd name="connsiteY10" fmla="*/ 6356 h 10368"/>
                    <a:gd name="connsiteX11" fmla="*/ 10769 w 10769"/>
                    <a:gd name="connsiteY11" fmla="*/ 8333 h 10368"/>
                    <a:gd name="connsiteX12" fmla="*/ 10769 w 10769"/>
                    <a:gd name="connsiteY12" fmla="*/ 8449 h 10368"/>
                    <a:gd name="connsiteX13" fmla="*/ 6658 w 10769"/>
                    <a:gd name="connsiteY13" fmla="*/ 8449 h 10368"/>
                    <a:gd name="connsiteX14" fmla="*/ 6466 w 10769"/>
                    <a:gd name="connsiteY14" fmla="*/ 8449 h 10368"/>
                    <a:gd name="connsiteX15" fmla="*/ 6454 w 10769"/>
                    <a:gd name="connsiteY15" fmla="*/ 9234 h 10368"/>
                    <a:gd name="connsiteX16" fmla="*/ 6622 w 10769"/>
                    <a:gd name="connsiteY16" fmla="*/ 9651 h 10368"/>
                    <a:gd name="connsiteX17" fmla="*/ 5745 w 10769"/>
                    <a:gd name="connsiteY17" fmla="*/ 10368 h 10368"/>
                    <a:gd name="connsiteX18" fmla="*/ 4856 w 10769"/>
                    <a:gd name="connsiteY18" fmla="*/ 9651 h 10368"/>
                    <a:gd name="connsiteX19" fmla="*/ 5000 w 10769"/>
                    <a:gd name="connsiteY19" fmla="*/ 9254 h 10368"/>
                    <a:gd name="connsiteX20" fmla="*/ 5024 w 10769"/>
                    <a:gd name="connsiteY20" fmla="*/ 9234 h 10368"/>
                    <a:gd name="connsiteX21" fmla="*/ 5012 w 10769"/>
                    <a:gd name="connsiteY21" fmla="*/ 8449 h 10368"/>
                    <a:gd name="connsiteX22" fmla="*/ 4819 w 10769"/>
                    <a:gd name="connsiteY22" fmla="*/ 8449 h 10368"/>
                    <a:gd name="connsiteX23" fmla="*/ 741 w 10769"/>
                    <a:gd name="connsiteY23" fmla="*/ 8449 h 10368"/>
                    <a:gd name="connsiteX24" fmla="*/ 769 w 10769"/>
                    <a:gd name="connsiteY24" fmla="*/ 5339 h 10368"/>
                    <a:gd name="connsiteX25" fmla="*/ 731 w 10769"/>
                    <a:gd name="connsiteY25" fmla="*/ 368 h 10368"/>
                    <a:gd name="connsiteX26" fmla="*/ 10769 w 10769"/>
                    <a:gd name="connsiteY26" fmla="*/ 368 h 10368"/>
                    <a:gd name="connsiteX27" fmla="*/ 10769 w 10769"/>
                    <a:gd name="connsiteY27" fmla="*/ 2577 h 10368"/>
                    <a:gd name="connsiteX28" fmla="*/ 10769 w 10769"/>
                    <a:gd name="connsiteY28" fmla="*/ 2674 h 10368"/>
                    <a:gd name="connsiteX29" fmla="*/ 10769 w 10769"/>
                    <a:gd name="connsiteY29" fmla="*/ 3798 h 10368"/>
                    <a:gd name="connsiteX0" fmla="*/ 10952 w 10952"/>
                    <a:gd name="connsiteY0" fmla="*/ 4028 h 10598"/>
                    <a:gd name="connsiteX1" fmla="*/ 9966 w 10952"/>
                    <a:gd name="connsiteY1" fmla="*/ 4028 h 10598"/>
                    <a:gd name="connsiteX2" fmla="*/ 9942 w 10952"/>
                    <a:gd name="connsiteY2" fmla="*/ 4019 h 10598"/>
                    <a:gd name="connsiteX3" fmla="*/ 9450 w 10952"/>
                    <a:gd name="connsiteY3" fmla="*/ 3893 h 10598"/>
                    <a:gd name="connsiteX4" fmla="*/ 8572 w 10952"/>
                    <a:gd name="connsiteY4" fmla="*/ 4610 h 10598"/>
                    <a:gd name="connsiteX5" fmla="*/ 9450 w 10952"/>
                    <a:gd name="connsiteY5" fmla="*/ 5317 h 10598"/>
                    <a:gd name="connsiteX6" fmla="*/ 9954 w 10952"/>
                    <a:gd name="connsiteY6" fmla="*/ 5191 h 10598"/>
                    <a:gd name="connsiteX7" fmla="*/ 9966 w 10952"/>
                    <a:gd name="connsiteY7" fmla="*/ 5181 h 10598"/>
                    <a:gd name="connsiteX8" fmla="*/ 10952 w 10952"/>
                    <a:gd name="connsiteY8" fmla="*/ 5191 h 10598"/>
                    <a:gd name="connsiteX9" fmla="*/ 10952 w 10952"/>
                    <a:gd name="connsiteY9" fmla="*/ 6422 h 10598"/>
                    <a:gd name="connsiteX10" fmla="*/ 10952 w 10952"/>
                    <a:gd name="connsiteY10" fmla="*/ 6586 h 10598"/>
                    <a:gd name="connsiteX11" fmla="*/ 10952 w 10952"/>
                    <a:gd name="connsiteY11" fmla="*/ 8563 h 10598"/>
                    <a:gd name="connsiteX12" fmla="*/ 10952 w 10952"/>
                    <a:gd name="connsiteY12" fmla="*/ 8679 h 10598"/>
                    <a:gd name="connsiteX13" fmla="*/ 6841 w 10952"/>
                    <a:gd name="connsiteY13" fmla="*/ 8679 h 10598"/>
                    <a:gd name="connsiteX14" fmla="*/ 6649 w 10952"/>
                    <a:gd name="connsiteY14" fmla="*/ 8679 h 10598"/>
                    <a:gd name="connsiteX15" fmla="*/ 6637 w 10952"/>
                    <a:gd name="connsiteY15" fmla="*/ 9464 h 10598"/>
                    <a:gd name="connsiteX16" fmla="*/ 6805 w 10952"/>
                    <a:gd name="connsiteY16" fmla="*/ 9881 h 10598"/>
                    <a:gd name="connsiteX17" fmla="*/ 5928 w 10952"/>
                    <a:gd name="connsiteY17" fmla="*/ 10598 h 10598"/>
                    <a:gd name="connsiteX18" fmla="*/ 5039 w 10952"/>
                    <a:gd name="connsiteY18" fmla="*/ 9881 h 10598"/>
                    <a:gd name="connsiteX19" fmla="*/ 5183 w 10952"/>
                    <a:gd name="connsiteY19" fmla="*/ 9484 h 10598"/>
                    <a:gd name="connsiteX20" fmla="*/ 5207 w 10952"/>
                    <a:gd name="connsiteY20" fmla="*/ 9464 h 10598"/>
                    <a:gd name="connsiteX21" fmla="*/ 5195 w 10952"/>
                    <a:gd name="connsiteY21" fmla="*/ 8679 h 10598"/>
                    <a:gd name="connsiteX22" fmla="*/ 5002 w 10952"/>
                    <a:gd name="connsiteY22" fmla="*/ 8679 h 10598"/>
                    <a:gd name="connsiteX23" fmla="*/ 924 w 10952"/>
                    <a:gd name="connsiteY23" fmla="*/ 8679 h 10598"/>
                    <a:gd name="connsiteX24" fmla="*/ 914 w 10952"/>
                    <a:gd name="connsiteY24" fmla="*/ 598 h 10598"/>
                    <a:gd name="connsiteX25" fmla="*/ 10952 w 10952"/>
                    <a:gd name="connsiteY25" fmla="*/ 598 h 10598"/>
                    <a:gd name="connsiteX26" fmla="*/ 10952 w 10952"/>
                    <a:gd name="connsiteY26" fmla="*/ 2807 h 10598"/>
                    <a:gd name="connsiteX27" fmla="*/ 10952 w 10952"/>
                    <a:gd name="connsiteY27" fmla="*/ 2904 h 10598"/>
                    <a:gd name="connsiteX28" fmla="*/ 10952 w 10952"/>
                    <a:gd name="connsiteY28" fmla="*/ 4028 h 10598"/>
                    <a:gd name="connsiteX0" fmla="*/ 10038 w 10038"/>
                    <a:gd name="connsiteY0" fmla="*/ 4028 h 10598"/>
                    <a:gd name="connsiteX1" fmla="*/ 9052 w 10038"/>
                    <a:gd name="connsiteY1" fmla="*/ 4028 h 10598"/>
                    <a:gd name="connsiteX2" fmla="*/ 9028 w 10038"/>
                    <a:gd name="connsiteY2" fmla="*/ 4019 h 10598"/>
                    <a:gd name="connsiteX3" fmla="*/ 8536 w 10038"/>
                    <a:gd name="connsiteY3" fmla="*/ 3893 h 10598"/>
                    <a:gd name="connsiteX4" fmla="*/ 7658 w 10038"/>
                    <a:gd name="connsiteY4" fmla="*/ 4610 h 10598"/>
                    <a:gd name="connsiteX5" fmla="*/ 8536 w 10038"/>
                    <a:gd name="connsiteY5" fmla="*/ 5317 h 10598"/>
                    <a:gd name="connsiteX6" fmla="*/ 9040 w 10038"/>
                    <a:gd name="connsiteY6" fmla="*/ 5191 h 10598"/>
                    <a:gd name="connsiteX7" fmla="*/ 9052 w 10038"/>
                    <a:gd name="connsiteY7" fmla="*/ 5181 h 10598"/>
                    <a:gd name="connsiteX8" fmla="*/ 10038 w 10038"/>
                    <a:gd name="connsiteY8" fmla="*/ 5191 h 10598"/>
                    <a:gd name="connsiteX9" fmla="*/ 10038 w 10038"/>
                    <a:gd name="connsiteY9" fmla="*/ 6422 h 10598"/>
                    <a:gd name="connsiteX10" fmla="*/ 10038 w 10038"/>
                    <a:gd name="connsiteY10" fmla="*/ 6586 h 10598"/>
                    <a:gd name="connsiteX11" fmla="*/ 10038 w 10038"/>
                    <a:gd name="connsiteY11" fmla="*/ 8563 h 10598"/>
                    <a:gd name="connsiteX12" fmla="*/ 10038 w 10038"/>
                    <a:gd name="connsiteY12" fmla="*/ 8679 h 10598"/>
                    <a:gd name="connsiteX13" fmla="*/ 5927 w 10038"/>
                    <a:gd name="connsiteY13" fmla="*/ 8679 h 10598"/>
                    <a:gd name="connsiteX14" fmla="*/ 5735 w 10038"/>
                    <a:gd name="connsiteY14" fmla="*/ 8679 h 10598"/>
                    <a:gd name="connsiteX15" fmla="*/ 5723 w 10038"/>
                    <a:gd name="connsiteY15" fmla="*/ 9464 h 10598"/>
                    <a:gd name="connsiteX16" fmla="*/ 5891 w 10038"/>
                    <a:gd name="connsiteY16" fmla="*/ 9881 h 10598"/>
                    <a:gd name="connsiteX17" fmla="*/ 5014 w 10038"/>
                    <a:gd name="connsiteY17" fmla="*/ 10598 h 10598"/>
                    <a:gd name="connsiteX18" fmla="*/ 4125 w 10038"/>
                    <a:gd name="connsiteY18" fmla="*/ 9881 h 10598"/>
                    <a:gd name="connsiteX19" fmla="*/ 4269 w 10038"/>
                    <a:gd name="connsiteY19" fmla="*/ 9484 h 10598"/>
                    <a:gd name="connsiteX20" fmla="*/ 4293 w 10038"/>
                    <a:gd name="connsiteY20" fmla="*/ 9464 h 10598"/>
                    <a:gd name="connsiteX21" fmla="*/ 4281 w 10038"/>
                    <a:gd name="connsiteY21" fmla="*/ 8679 h 10598"/>
                    <a:gd name="connsiteX22" fmla="*/ 4088 w 10038"/>
                    <a:gd name="connsiteY22" fmla="*/ 8679 h 10598"/>
                    <a:gd name="connsiteX23" fmla="*/ 10 w 10038"/>
                    <a:gd name="connsiteY23" fmla="*/ 8679 h 10598"/>
                    <a:gd name="connsiteX24" fmla="*/ 0 w 10038"/>
                    <a:gd name="connsiteY24" fmla="*/ 598 h 10598"/>
                    <a:gd name="connsiteX25" fmla="*/ 10038 w 10038"/>
                    <a:gd name="connsiteY25" fmla="*/ 598 h 10598"/>
                    <a:gd name="connsiteX26" fmla="*/ 10038 w 10038"/>
                    <a:gd name="connsiteY26" fmla="*/ 2807 h 10598"/>
                    <a:gd name="connsiteX27" fmla="*/ 10038 w 10038"/>
                    <a:gd name="connsiteY27" fmla="*/ 2904 h 10598"/>
                    <a:gd name="connsiteX28" fmla="*/ 10038 w 10038"/>
                    <a:gd name="connsiteY28" fmla="*/ 4028 h 10598"/>
                    <a:gd name="connsiteX0" fmla="*/ 10038 w 10038"/>
                    <a:gd name="connsiteY0" fmla="*/ 4028 h 10598"/>
                    <a:gd name="connsiteX1" fmla="*/ 9052 w 10038"/>
                    <a:gd name="connsiteY1" fmla="*/ 4028 h 10598"/>
                    <a:gd name="connsiteX2" fmla="*/ 9028 w 10038"/>
                    <a:gd name="connsiteY2" fmla="*/ 4019 h 10598"/>
                    <a:gd name="connsiteX3" fmla="*/ 8536 w 10038"/>
                    <a:gd name="connsiteY3" fmla="*/ 3893 h 10598"/>
                    <a:gd name="connsiteX4" fmla="*/ 7658 w 10038"/>
                    <a:gd name="connsiteY4" fmla="*/ 4610 h 10598"/>
                    <a:gd name="connsiteX5" fmla="*/ 8536 w 10038"/>
                    <a:gd name="connsiteY5" fmla="*/ 5317 h 10598"/>
                    <a:gd name="connsiteX6" fmla="*/ 9040 w 10038"/>
                    <a:gd name="connsiteY6" fmla="*/ 5191 h 10598"/>
                    <a:gd name="connsiteX7" fmla="*/ 9052 w 10038"/>
                    <a:gd name="connsiteY7" fmla="*/ 5181 h 10598"/>
                    <a:gd name="connsiteX8" fmla="*/ 10038 w 10038"/>
                    <a:gd name="connsiteY8" fmla="*/ 5191 h 10598"/>
                    <a:gd name="connsiteX9" fmla="*/ 10038 w 10038"/>
                    <a:gd name="connsiteY9" fmla="*/ 6422 h 10598"/>
                    <a:gd name="connsiteX10" fmla="*/ 10038 w 10038"/>
                    <a:gd name="connsiteY10" fmla="*/ 6586 h 10598"/>
                    <a:gd name="connsiteX11" fmla="*/ 10038 w 10038"/>
                    <a:gd name="connsiteY11" fmla="*/ 8563 h 10598"/>
                    <a:gd name="connsiteX12" fmla="*/ 10038 w 10038"/>
                    <a:gd name="connsiteY12" fmla="*/ 8679 h 10598"/>
                    <a:gd name="connsiteX13" fmla="*/ 5927 w 10038"/>
                    <a:gd name="connsiteY13" fmla="*/ 8679 h 10598"/>
                    <a:gd name="connsiteX14" fmla="*/ 5735 w 10038"/>
                    <a:gd name="connsiteY14" fmla="*/ 8679 h 10598"/>
                    <a:gd name="connsiteX15" fmla="*/ 5723 w 10038"/>
                    <a:gd name="connsiteY15" fmla="*/ 9464 h 10598"/>
                    <a:gd name="connsiteX16" fmla="*/ 5891 w 10038"/>
                    <a:gd name="connsiteY16" fmla="*/ 9881 h 10598"/>
                    <a:gd name="connsiteX17" fmla="*/ 5014 w 10038"/>
                    <a:gd name="connsiteY17" fmla="*/ 10598 h 10598"/>
                    <a:gd name="connsiteX18" fmla="*/ 4125 w 10038"/>
                    <a:gd name="connsiteY18" fmla="*/ 9881 h 10598"/>
                    <a:gd name="connsiteX19" fmla="*/ 4269 w 10038"/>
                    <a:gd name="connsiteY19" fmla="*/ 9484 h 10598"/>
                    <a:gd name="connsiteX20" fmla="*/ 4293 w 10038"/>
                    <a:gd name="connsiteY20" fmla="*/ 9464 h 10598"/>
                    <a:gd name="connsiteX21" fmla="*/ 4281 w 10038"/>
                    <a:gd name="connsiteY21" fmla="*/ 8679 h 10598"/>
                    <a:gd name="connsiteX22" fmla="*/ 4088 w 10038"/>
                    <a:gd name="connsiteY22" fmla="*/ 8679 h 10598"/>
                    <a:gd name="connsiteX23" fmla="*/ 10 w 10038"/>
                    <a:gd name="connsiteY23" fmla="*/ 8679 h 10598"/>
                    <a:gd name="connsiteX24" fmla="*/ 0 w 10038"/>
                    <a:gd name="connsiteY24" fmla="*/ 598 h 10598"/>
                    <a:gd name="connsiteX25" fmla="*/ 10038 w 10038"/>
                    <a:gd name="connsiteY25" fmla="*/ 598 h 10598"/>
                    <a:gd name="connsiteX26" fmla="*/ 10038 w 10038"/>
                    <a:gd name="connsiteY26" fmla="*/ 2807 h 10598"/>
                    <a:gd name="connsiteX27" fmla="*/ 10038 w 10038"/>
                    <a:gd name="connsiteY27" fmla="*/ 2904 h 10598"/>
                    <a:gd name="connsiteX28" fmla="*/ 10038 w 10038"/>
                    <a:gd name="connsiteY28" fmla="*/ 4028 h 10598"/>
                    <a:gd name="connsiteX0" fmla="*/ 10038 w 10038"/>
                    <a:gd name="connsiteY0" fmla="*/ 3430 h 10000"/>
                    <a:gd name="connsiteX1" fmla="*/ 9052 w 10038"/>
                    <a:gd name="connsiteY1" fmla="*/ 3430 h 10000"/>
                    <a:gd name="connsiteX2" fmla="*/ 9028 w 10038"/>
                    <a:gd name="connsiteY2" fmla="*/ 3421 h 10000"/>
                    <a:gd name="connsiteX3" fmla="*/ 8536 w 10038"/>
                    <a:gd name="connsiteY3" fmla="*/ 3295 h 10000"/>
                    <a:gd name="connsiteX4" fmla="*/ 7658 w 10038"/>
                    <a:gd name="connsiteY4" fmla="*/ 4012 h 10000"/>
                    <a:gd name="connsiteX5" fmla="*/ 8536 w 10038"/>
                    <a:gd name="connsiteY5" fmla="*/ 4719 h 10000"/>
                    <a:gd name="connsiteX6" fmla="*/ 9040 w 10038"/>
                    <a:gd name="connsiteY6" fmla="*/ 4593 h 10000"/>
                    <a:gd name="connsiteX7" fmla="*/ 9052 w 10038"/>
                    <a:gd name="connsiteY7" fmla="*/ 4583 h 10000"/>
                    <a:gd name="connsiteX8" fmla="*/ 10038 w 10038"/>
                    <a:gd name="connsiteY8" fmla="*/ 4593 h 10000"/>
                    <a:gd name="connsiteX9" fmla="*/ 10038 w 10038"/>
                    <a:gd name="connsiteY9" fmla="*/ 5824 h 10000"/>
                    <a:gd name="connsiteX10" fmla="*/ 10038 w 10038"/>
                    <a:gd name="connsiteY10" fmla="*/ 5988 h 10000"/>
                    <a:gd name="connsiteX11" fmla="*/ 10038 w 10038"/>
                    <a:gd name="connsiteY11" fmla="*/ 7965 h 10000"/>
                    <a:gd name="connsiteX12" fmla="*/ 10038 w 10038"/>
                    <a:gd name="connsiteY12" fmla="*/ 8081 h 10000"/>
                    <a:gd name="connsiteX13" fmla="*/ 5927 w 10038"/>
                    <a:gd name="connsiteY13" fmla="*/ 8081 h 10000"/>
                    <a:gd name="connsiteX14" fmla="*/ 5735 w 10038"/>
                    <a:gd name="connsiteY14" fmla="*/ 8081 h 10000"/>
                    <a:gd name="connsiteX15" fmla="*/ 5723 w 10038"/>
                    <a:gd name="connsiteY15" fmla="*/ 8866 h 10000"/>
                    <a:gd name="connsiteX16" fmla="*/ 5891 w 10038"/>
                    <a:gd name="connsiteY16" fmla="*/ 9283 h 10000"/>
                    <a:gd name="connsiteX17" fmla="*/ 5014 w 10038"/>
                    <a:gd name="connsiteY17" fmla="*/ 10000 h 10000"/>
                    <a:gd name="connsiteX18" fmla="*/ 4125 w 10038"/>
                    <a:gd name="connsiteY18" fmla="*/ 9283 h 10000"/>
                    <a:gd name="connsiteX19" fmla="*/ 4269 w 10038"/>
                    <a:gd name="connsiteY19" fmla="*/ 8886 h 10000"/>
                    <a:gd name="connsiteX20" fmla="*/ 4293 w 10038"/>
                    <a:gd name="connsiteY20" fmla="*/ 8866 h 10000"/>
                    <a:gd name="connsiteX21" fmla="*/ 4281 w 10038"/>
                    <a:gd name="connsiteY21" fmla="*/ 8081 h 10000"/>
                    <a:gd name="connsiteX22" fmla="*/ 4088 w 10038"/>
                    <a:gd name="connsiteY22" fmla="*/ 8081 h 10000"/>
                    <a:gd name="connsiteX23" fmla="*/ 10 w 10038"/>
                    <a:gd name="connsiteY23" fmla="*/ 8081 h 10000"/>
                    <a:gd name="connsiteX24" fmla="*/ 0 w 10038"/>
                    <a:gd name="connsiteY24" fmla="*/ 0 h 10000"/>
                    <a:gd name="connsiteX25" fmla="*/ 10038 w 10038"/>
                    <a:gd name="connsiteY25" fmla="*/ 0 h 10000"/>
                    <a:gd name="connsiteX26" fmla="*/ 10038 w 10038"/>
                    <a:gd name="connsiteY26" fmla="*/ 2209 h 10000"/>
                    <a:gd name="connsiteX27" fmla="*/ 10038 w 10038"/>
                    <a:gd name="connsiteY27" fmla="*/ 2306 h 10000"/>
                    <a:gd name="connsiteX28" fmla="*/ 10038 w 10038"/>
                    <a:gd name="connsiteY28" fmla="*/ 3430 h 10000"/>
                    <a:gd name="connsiteX0" fmla="*/ 10038 w 10038"/>
                    <a:gd name="connsiteY0" fmla="*/ 3430 h 10000"/>
                    <a:gd name="connsiteX1" fmla="*/ 9052 w 10038"/>
                    <a:gd name="connsiteY1" fmla="*/ 3430 h 10000"/>
                    <a:gd name="connsiteX2" fmla="*/ 9028 w 10038"/>
                    <a:gd name="connsiteY2" fmla="*/ 3421 h 10000"/>
                    <a:gd name="connsiteX3" fmla="*/ 8536 w 10038"/>
                    <a:gd name="connsiteY3" fmla="*/ 3295 h 10000"/>
                    <a:gd name="connsiteX4" fmla="*/ 7658 w 10038"/>
                    <a:gd name="connsiteY4" fmla="*/ 4012 h 10000"/>
                    <a:gd name="connsiteX5" fmla="*/ 8536 w 10038"/>
                    <a:gd name="connsiteY5" fmla="*/ 4719 h 10000"/>
                    <a:gd name="connsiteX6" fmla="*/ 9040 w 10038"/>
                    <a:gd name="connsiteY6" fmla="*/ 4593 h 10000"/>
                    <a:gd name="connsiteX7" fmla="*/ 9052 w 10038"/>
                    <a:gd name="connsiteY7" fmla="*/ 4583 h 10000"/>
                    <a:gd name="connsiteX8" fmla="*/ 10038 w 10038"/>
                    <a:gd name="connsiteY8" fmla="*/ 4593 h 10000"/>
                    <a:gd name="connsiteX9" fmla="*/ 10038 w 10038"/>
                    <a:gd name="connsiteY9" fmla="*/ 5824 h 10000"/>
                    <a:gd name="connsiteX10" fmla="*/ 10038 w 10038"/>
                    <a:gd name="connsiteY10" fmla="*/ 5988 h 10000"/>
                    <a:gd name="connsiteX11" fmla="*/ 10038 w 10038"/>
                    <a:gd name="connsiteY11" fmla="*/ 7965 h 10000"/>
                    <a:gd name="connsiteX12" fmla="*/ 10038 w 10038"/>
                    <a:gd name="connsiteY12" fmla="*/ 8081 h 10000"/>
                    <a:gd name="connsiteX13" fmla="*/ 5927 w 10038"/>
                    <a:gd name="connsiteY13" fmla="*/ 8081 h 10000"/>
                    <a:gd name="connsiteX14" fmla="*/ 5735 w 10038"/>
                    <a:gd name="connsiteY14" fmla="*/ 8081 h 10000"/>
                    <a:gd name="connsiteX15" fmla="*/ 5723 w 10038"/>
                    <a:gd name="connsiteY15" fmla="*/ 8866 h 10000"/>
                    <a:gd name="connsiteX16" fmla="*/ 5891 w 10038"/>
                    <a:gd name="connsiteY16" fmla="*/ 9283 h 10000"/>
                    <a:gd name="connsiteX17" fmla="*/ 5014 w 10038"/>
                    <a:gd name="connsiteY17" fmla="*/ 10000 h 10000"/>
                    <a:gd name="connsiteX18" fmla="*/ 4097 w 10038"/>
                    <a:gd name="connsiteY18" fmla="*/ 9283 h 10000"/>
                    <a:gd name="connsiteX19" fmla="*/ 4269 w 10038"/>
                    <a:gd name="connsiteY19" fmla="*/ 8886 h 10000"/>
                    <a:gd name="connsiteX20" fmla="*/ 4293 w 10038"/>
                    <a:gd name="connsiteY20" fmla="*/ 8866 h 10000"/>
                    <a:gd name="connsiteX21" fmla="*/ 4281 w 10038"/>
                    <a:gd name="connsiteY21" fmla="*/ 8081 h 10000"/>
                    <a:gd name="connsiteX22" fmla="*/ 4088 w 10038"/>
                    <a:gd name="connsiteY22" fmla="*/ 8081 h 10000"/>
                    <a:gd name="connsiteX23" fmla="*/ 10 w 10038"/>
                    <a:gd name="connsiteY23" fmla="*/ 8081 h 10000"/>
                    <a:gd name="connsiteX24" fmla="*/ 0 w 10038"/>
                    <a:gd name="connsiteY24" fmla="*/ 0 h 10000"/>
                    <a:gd name="connsiteX25" fmla="*/ 10038 w 10038"/>
                    <a:gd name="connsiteY25" fmla="*/ 0 h 10000"/>
                    <a:gd name="connsiteX26" fmla="*/ 10038 w 10038"/>
                    <a:gd name="connsiteY26" fmla="*/ 2209 h 10000"/>
                    <a:gd name="connsiteX27" fmla="*/ 10038 w 10038"/>
                    <a:gd name="connsiteY27" fmla="*/ 2306 h 10000"/>
                    <a:gd name="connsiteX28" fmla="*/ 10038 w 10038"/>
                    <a:gd name="connsiteY28" fmla="*/ 3430 h 10000"/>
                    <a:gd name="connsiteX0" fmla="*/ 10038 w 10038"/>
                    <a:gd name="connsiteY0" fmla="*/ 3430 h 10000"/>
                    <a:gd name="connsiteX1" fmla="*/ 9052 w 10038"/>
                    <a:gd name="connsiteY1" fmla="*/ 3430 h 10000"/>
                    <a:gd name="connsiteX2" fmla="*/ 9028 w 10038"/>
                    <a:gd name="connsiteY2" fmla="*/ 3421 h 10000"/>
                    <a:gd name="connsiteX3" fmla="*/ 8536 w 10038"/>
                    <a:gd name="connsiteY3" fmla="*/ 3295 h 10000"/>
                    <a:gd name="connsiteX4" fmla="*/ 7658 w 10038"/>
                    <a:gd name="connsiteY4" fmla="*/ 4012 h 10000"/>
                    <a:gd name="connsiteX5" fmla="*/ 8536 w 10038"/>
                    <a:gd name="connsiteY5" fmla="*/ 4719 h 10000"/>
                    <a:gd name="connsiteX6" fmla="*/ 9040 w 10038"/>
                    <a:gd name="connsiteY6" fmla="*/ 4593 h 10000"/>
                    <a:gd name="connsiteX7" fmla="*/ 9052 w 10038"/>
                    <a:gd name="connsiteY7" fmla="*/ 4583 h 10000"/>
                    <a:gd name="connsiteX8" fmla="*/ 10038 w 10038"/>
                    <a:gd name="connsiteY8" fmla="*/ 4593 h 10000"/>
                    <a:gd name="connsiteX9" fmla="*/ 10038 w 10038"/>
                    <a:gd name="connsiteY9" fmla="*/ 5824 h 10000"/>
                    <a:gd name="connsiteX10" fmla="*/ 10038 w 10038"/>
                    <a:gd name="connsiteY10" fmla="*/ 5988 h 10000"/>
                    <a:gd name="connsiteX11" fmla="*/ 10038 w 10038"/>
                    <a:gd name="connsiteY11" fmla="*/ 7965 h 10000"/>
                    <a:gd name="connsiteX12" fmla="*/ 10038 w 10038"/>
                    <a:gd name="connsiteY12" fmla="*/ 8081 h 10000"/>
                    <a:gd name="connsiteX13" fmla="*/ 5927 w 10038"/>
                    <a:gd name="connsiteY13" fmla="*/ 8081 h 10000"/>
                    <a:gd name="connsiteX14" fmla="*/ 5735 w 10038"/>
                    <a:gd name="connsiteY14" fmla="*/ 8081 h 10000"/>
                    <a:gd name="connsiteX15" fmla="*/ 5723 w 10038"/>
                    <a:gd name="connsiteY15" fmla="*/ 8866 h 10000"/>
                    <a:gd name="connsiteX16" fmla="*/ 5891 w 10038"/>
                    <a:gd name="connsiteY16" fmla="*/ 9283 h 10000"/>
                    <a:gd name="connsiteX17" fmla="*/ 5014 w 10038"/>
                    <a:gd name="connsiteY17" fmla="*/ 10000 h 10000"/>
                    <a:gd name="connsiteX18" fmla="*/ 4097 w 10038"/>
                    <a:gd name="connsiteY18" fmla="*/ 9283 h 10000"/>
                    <a:gd name="connsiteX19" fmla="*/ 4269 w 10038"/>
                    <a:gd name="connsiteY19" fmla="*/ 8886 h 10000"/>
                    <a:gd name="connsiteX20" fmla="*/ 4293 w 10038"/>
                    <a:gd name="connsiteY20" fmla="*/ 8866 h 10000"/>
                    <a:gd name="connsiteX21" fmla="*/ 4281 w 10038"/>
                    <a:gd name="connsiteY21" fmla="*/ 8081 h 10000"/>
                    <a:gd name="connsiteX22" fmla="*/ 4088 w 10038"/>
                    <a:gd name="connsiteY22" fmla="*/ 8081 h 10000"/>
                    <a:gd name="connsiteX23" fmla="*/ 10 w 10038"/>
                    <a:gd name="connsiteY23" fmla="*/ 8081 h 10000"/>
                    <a:gd name="connsiteX24" fmla="*/ 0 w 10038"/>
                    <a:gd name="connsiteY24" fmla="*/ 0 h 10000"/>
                    <a:gd name="connsiteX25" fmla="*/ 10038 w 10038"/>
                    <a:gd name="connsiteY25" fmla="*/ 0 h 10000"/>
                    <a:gd name="connsiteX26" fmla="*/ 10038 w 10038"/>
                    <a:gd name="connsiteY26" fmla="*/ 2209 h 10000"/>
                    <a:gd name="connsiteX27" fmla="*/ 10038 w 10038"/>
                    <a:gd name="connsiteY27" fmla="*/ 2306 h 10000"/>
                    <a:gd name="connsiteX28" fmla="*/ 10038 w 10038"/>
                    <a:gd name="connsiteY28" fmla="*/ 3430 h 10000"/>
                    <a:gd name="connsiteX0" fmla="*/ 10038 w 10038"/>
                    <a:gd name="connsiteY0" fmla="*/ 3430 h 10000"/>
                    <a:gd name="connsiteX1" fmla="*/ 9052 w 10038"/>
                    <a:gd name="connsiteY1" fmla="*/ 3430 h 10000"/>
                    <a:gd name="connsiteX2" fmla="*/ 9028 w 10038"/>
                    <a:gd name="connsiteY2" fmla="*/ 3421 h 10000"/>
                    <a:gd name="connsiteX3" fmla="*/ 8536 w 10038"/>
                    <a:gd name="connsiteY3" fmla="*/ 3295 h 10000"/>
                    <a:gd name="connsiteX4" fmla="*/ 7658 w 10038"/>
                    <a:gd name="connsiteY4" fmla="*/ 4012 h 10000"/>
                    <a:gd name="connsiteX5" fmla="*/ 8536 w 10038"/>
                    <a:gd name="connsiteY5" fmla="*/ 4719 h 10000"/>
                    <a:gd name="connsiteX6" fmla="*/ 9040 w 10038"/>
                    <a:gd name="connsiteY6" fmla="*/ 4593 h 10000"/>
                    <a:gd name="connsiteX7" fmla="*/ 9052 w 10038"/>
                    <a:gd name="connsiteY7" fmla="*/ 4583 h 10000"/>
                    <a:gd name="connsiteX8" fmla="*/ 10038 w 10038"/>
                    <a:gd name="connsiteY8" fmla="*/ 4593 h 10000"/>
                    <a:gd name="connsiteX9" fmla="*/ 10038 w 10038"/>
                    <a:gd name="connsiteY9" fmla="*/ 5824 h 10000"/>
                    <a:gd name="connsiteX10" fmla="*/ 10038 w 10038"/>
                    <a:gd name="connsiteY10" fmla="*/ 5988 h 10000"/>
                    <a:gd name="connsiteX11" fmla="*/ 10038 w 10038"/>
                    <a:gd name="connsiteY11" fmla="*/ 7965 h 10000"/>
                    <a:gd name="connsiteX12" fmla="*/ 10038 w 10038"/>
                    <a:gd name="connsiteY12" fmla="*/ 8081 h 10000"/>
                    <a:gd name="connsiteX13" fmla="*/ 5927 w 10038"/>
                    <a:gd name="connsiteY13" fmla="*/ 8081 h 10000"/>
                    <a:gd name="connsiteX14" fmla="*/ 5735 w 10038"/>
                    <a:gd name="connsiteY14" fmla="*/ 8081 h 10000"/>
                    <a:gd name="connsiteX15" fmla="*/ 5723 w 10038"/>
                    <a:gd name="connsiteY15" fmla="*/ 8866 h 10000"/>
                    <a:gd name="connsiteX16" fmla="*/ 5891 w 10038"/>
                    <a:gd name="connsiteY16" fmla="*/ 9283 h 10000"/>
                    <a:gd name="connsiteX17" fmla="*/ 5014 w 10038"/>
                    <a:gd name="connsiteY17" fmla="*/ 10000 h 10000"/>
                    <a:gd name="connsiteX18" fmla="*/ 4097 w 10038"/>
                    <a:gd name="connsiteY18" fmla="*/ 9283 h 10000"/>
                    <a:gd name="connsiteX19" fmla="*/ 4269 w 10038"/>
                    <a:gd name="connsiteY19" fmla="*/ 8886 h 10000"/>
                    <a:gd name="connsiteX20" fmla="*/ 4293 w 10038"/>
                    <a:gd name="connsiteY20" fmla="*/ 8866 h 10000"/>
                    <a:gd name="connsiteX21" fmla="*/ 4281 w 10038"/>
                    <a:gd name="connsiteY21" fmla="*/ 8081 h 10000"/>
                    <a:gd name="connsiteX22" fmla="*/ 4088 w 10038"/>
                    <a:gd name="connsiteY22" fmla="*/ 8081 h 10000"/>
                    <a:gd name="connsiteX23" fmla="*/ 10 w 10038"/>
                    <a:gd name="connsiteY23" fmla="*/ 8081 h 10000"/>
                    <a:gd name="connsiteX24" fmla="*/ 0 w 10038"/>
                    <a:gd name="connsiteY24" fmla="*/ 0 h 10000"/>
                    <a:gd name="connsiteX25" fmla="*/ 10038 w 10038"/>
                    <a:gd name="connsiteY25" fmla="*/ 0 h 10000"/>
                    <a:gd name="connsiteX26" fmla="*/ 10038 w 10038"/>
                    <a:gd name="connsiteY26" fmla="*/ 2209 h 10000"/>
                    <a:gd name="connsiteX27" fmla="*/ 10038 w 10038"/>
                    <a:gd name="connsiteY27" fmla="*/ 2306 h 10000"/>
                    <a:gd name="connsiteX28" fmla="*/ 10038 w 10038"/>
                    <a:gd name="connsiteY28" fmla="*/ 3430 h 10000"/>
                    <a:gd name="connsiteX0" fmla="*/ 10785 w 10785"/>
                    <a:gd name="connsiteY0" fmla="*/ 4027 h 10597"/>
                    <a:gd name="connsiteX1" fmla="*/ 9799 w 10785"/>
                    <a:gd name="connsiteY1" fmla="*/ 4027 h 10597"/>
                    <a:gd name="connsiteX2" fmla="*/ 9775 w 10785"/>
                    <a:gd name="connsiteY2" fmla="*/ 4018 h 10597"/>
                    <a:gd name="connsiteX3" fmla="*/ 9283 w 10785"/>
                    <a:gd name="connsiteY3" fmla="*/ 3892 h 10597"/>
                    <a:gd name="connsiteX4" fmla="*/ 8405 w 10785"/>
                    <a:gd name="connsiteY4" fmla="*/ 4609 h 10597"/>
                    <a:gd name="connsiteX5" fmla="*/ 9283 w 10785"/>
                    <a:gd name="connsiteY5" fmla="*/ 5316 h 10597"/>
                    <a:gd name="connsiteX6" fmla="*/ 9787 w 10785"/>
                    <a:gd name="connsiteY6" fmla="*/ 5190 h 10597"/>
                    <a:gd name="connsiteX7" fmla="*/ 9799 w 10785"/>
                    <a:gd name="connsiteY7" fmla="*/ 5180 h 10597"/>
                    <a:gd name="connsiteX8" fmla="*/ 10785 w 10785"/>
                    <a:gd name="connsiteY8" fmla="*/ 5190 h 10597"/>
                    <a:gd name="connsiteX9" fmla="*/ 10785 w 10785"/>
                    <a:gd name="connsiteY9" fmla="*/ 6421 h 10597"/>
                    <a:gd name="connsiteX10" fmla="*/ 10785 w 10785"/>
                    <a:gd name="connsiteY10" fmla="*/ 6585 h 10597"/>
                    <a:gd name="connsiteX11" fmla="*/ 10785 w 10785"/>
                    <a:gd name="connsiteY11" fmla="*/ 8562 h 10597"/>
                    <a:gd name="connsiteX12" fmla="*/ 10785 w 10785"/>
                    <a:gd name="connsiteY12" fmla="*/ 8678 h 10597"/>
                    <a:gd name="connsiteX13" fmla="*/ 6674 w 10785"/>
                    <a:gd name="connsiteY13" fmla="*/ 8678 h 10597"/>
                    <a:gd name="connsiteX14" fmla="*/ 6482 w 10785"/>
                    <a:gd name="connsiteY14" fmla="*/ 8678 h 10597"/>
                    <a:gd name="connsiteX15" fmla="*/ 6470 w 10785"/>
                    <a:gd name="connsiteY15" fmla="*/ 9463 h 10597"/>
                    <a:gd name="connsiteX16" fmla="*/ 6638 w 10785"/>
                    <a:gd name="connsiteY16" fmla="*/ 9880 h 10597"/>
                    <a:gd name="connsiteX17" fmla="*/ 5761 w 10785"/>
                    <a:gd name="connsiteY17" fmla="*/ 10597 h 10597"/>
                    <a:gd name="connsiteX18" fmla="*/ 4844 w 10785"/>
                    <a:gd name="connsiteY18" fmla="*/ 9880 h 10597"/>
                    <a:gd name="connsiteX19" fmla="*/ 5016 w 10785"/>
                    <a:gd name="connsiteY19" fmla="*/ 9483 h 10597"/>
                    <a:gd name="connsiteX20" fmla="*/ 5040 w 10785"/>
                    <a:gd name="connsiteY20" fmla="*/ 9463 h 10597"/>
                    <a:gd name="connsiteX21" fmla="*/ 5028 w 10785"/>
                    <a:gd name="connsiteY21" fmla="*/ 8678 h 10597"/>
                    <a:gd name="connsiteX22" fmla="*/ 4835 w 10785"/>
                    <a:gd name="connsiteY22" fmla="*/ 8678 h 10597"/>
                    <a:gd name="connsiteX23" fmla="*/ 738 w 10785"/>
                    <a:gd name="connsiteY23" fmla="*/ 8670 h 10597"/>
                    <a:gd name="connsiteX24" fmla="*/ 747 w 10785"/>
                    <a:gd name="connsiteY24" fmla="*/ 597 h 10597"/>
                    <a:gd name="connsiteX25" fmla="*/ 10785 w 10785"/>
                    <a:gd name="connsiteY25" fmla="*/ 597 h 10597"/>
                    <a:gd name="connsiteX26" fmla="*/ 10785 w 10785"/>
                    <a:gd name="connsiteY26" fmla="*/ 2806 h 10597"/>
                    <a:gd name="connsiteX27" fmla="*/ 10785 w 10785"/>
                    <a:gd name="connsiteY27" fmla="*/ 2903 h 10597"/>
                    <a:gd name="connsiteX28" fmla="*/ 10785 w 10785"/>
                    <a:gd name="connsiteY28" fmla="*/ 4027 h 10597"/>
                    <a:gd name="connsiteX0" fmla="*/ 10047 w 10047"/>
                    <a:gd name="connsiteY0" fmla="*/ 4027 h 10597"/>
                    <a:gd name="connsiteX1" fmla="*/ 9061 w 10047"/>
                    <a:gd name="connsiteY1" fmla="*/ 4027 h 10597"/>
                    <a:gd name="connsiteX2" fmla="*/ 9037 w 10047"/>
                    <a:gd name="connsiteY2" fmla="*/ 4018 h 10597"/>
                    <a:gd name="connsiteX3" fmla="*/ 8545 w 10047"/>
                    <a:gd name="connsiteY3" fmla="*/ 3892 h 10597"/>
                    <a:gd name="connsiteX4" fmla="*/ 7667 w 10047"/>
                    <a:gd name="connsiteY4" fmla="*/ 4609 h 10597"/>
                    <a:gd name="connsiteX5" fmla="*/ 8545 w 10047"/>
                    <a:gd name="connsiteY5" fmla="*/ 5316 h 10597"/>
                    <a:gd name="connsiteX6" fmla="*/ 9049 w 10047"/>
                    <a:gd name="connsiteY6" fmla="*/ 5190 h 10597"/>
                    <a:gd name="connsiteX7" fmla="*/ 9061 w 10047"/>
                    <a:gd name="connsiteY7" fmla="*/ 5180 h 10597"/>
                    <a:gd name="connsiteX8" fmla="*/ 10047 w 10047"/>
                    <a:gd name="connsiteY8" fmla="*/ 5190 h 10597"/>
                    <a:gd name="connsiteX9" fmla="*/ 10047 w 10047"/>
                    <a:gd name="connsiteY9" fmla="*/ 6421 h 10597"/>
                    <a:gd name="connsiteX10" fmla="*/ 10047 w 10047"/>
                    <a:gd name="connsiteY10" fmla="*/ 6585 h 10597"/>
                    <a:gd name="connsiteX11" fmla="*/ 10047 w 10047"/>
                    <a:gd name="connsiteY11" fmla="*/ 8562 h 10597"/>
                    <a:gd name="connsiteX12" fmla="*/ 10047 w 10047"/>
                    <a:gd name="connsiteY12" fmla="*/ 8678 h 10597"/>
                    <a:gd name="connsiteX13" fmla="*/ 5936 w 10047"/>
                    <a:gd name="connsiteY13" fmla="*/ 8678 h 10597"/>
                    <a:gd name="connsiteX14" fmla="*/ 5744 w 10047"/>
                    <a:gd name="connsiteY14" fmla="*/ 8678 h 10597"/>
                    <a:gd name="connsiteX15" fmla="*/ 5732 w 10047"/>
                    <a:gd name="connsiteY15" fmla="*/ 9463 h 10597"/>
                    <a:gd name="connsiteX16" fmla="*/ 5900 w 10047"/>
                    <a:gd name="connsiteY16" fmla="*/ 9880 h 10597"/>
                    <a:gd name="connsiteX17" fmla="*/ 5023 w 10047"/>
                    <a:gd name="connsiteY17" fmla="*/ 10597 h 10597"/>
                    <a:gd name="connsiteX18" fmla="*/ 4106 w 10047"/>
                    <a:gd name="connsiteY18" fmla="*/ 9880 h 10597"/>
                    <a:gd name="connsiteX19" fmla="*/ 4278 w 10047"/>
                    <a:gd name="connsiteY19" fmla="*/ 9483 h 10597"/>
                    <a:gd name="connsiteX20" fmla="*/ 4302 w 10047"/>
                    <a:gd name="connsiteY20" fmla="*/ 9463 h 10597"/>
                    <a:gd name="connsiteX21" fmla="*/ 4290 w 10047"/>
                    <a:gd name="connsiteY21" fmla="*/ 8678 h 10597"/>
                    <a:gd name="connsiteX22" fmla="*/ 4097 w 10047"/>
                    <a:gd name="connsiteY22" fmla="*/ 8678 h 10597"/>
                    <a:gd name="connsiteX23" fmla="*/ 0 w 10047"/>
                    <a:gd name="connsiteY23" fmla="*/ 8670 h 10597"/>
                    <a:gd name="connsiteX24" fmla="*/ 9 w 10047"/>
                    <a:gd name="connsiteY24" fmla="*/ 597 h 10597"/>
                    <a:gd name="connsiteX25" fmla="*/ 10047 w 10047"/>
                    <a:gd name="connsiteY25" fmla="*/ 597 h 10597"/>
                    <a:gd name="connsiteX26" fmla="*/ 10047 w 10047"/>
                    <a:gd name="connsiteY26" fmla="*/ 2806 h 10597"/>
                    <a:gd name="connsiteX27" fmla="*/ 10047 w 10047"/>
                    <a:gd name="connsiteY27" fmla="*/ 2903 h 10597"/>
                    <a:gd name="connsiteX28" fmla="*/ 10047 w 10047"/>
                    <a:gd name="connsiteY28" fmla="*/ 4027 h 10597"/>
                    <a:gd name="connsiteX0" fmla="*/ 10047 w 10047"/>
                    <a:gd name="connsiteY0" fmla="*/ 3430 h 10000"/>
                    <a:gd name="connsiteX1" fmla="*/ 9061 w 10047"/>
                    <a:gd name="connsiteY1" fmla="*/ 3430 h 10000"/>
                    <a:gd name="connsiteX2" fmla="*/ 9037 w 10047"/>
                    <a:gd name="connsiteY2" fmla="*/ 3421 h 10000"/>
                    <a:gd name="connsiteX3" fmla="*/ 8545 w 10047"/>
                    <a:gd name="connsiteY3" fmla="*/ 3295 h 10000"/>
                    <a:gd name="connsiteX4" fmla="*/ 7667 w 10047"/>
                    <a:gd name="connsiteY4" fmla="*/ 4012 h 10000"/>
                    <a:gd name="connsiteX5" fmla="*/ 8545 w 10047"/>
                    <a:gd name="connsiteY5" fmla="*/ 4719 h 10000"/>
                    <a:gd name="connsiteX6" fmla="*/ 9049 w 10047"/>
                    <a:gd name="connsiteY6" fmla="*/ 4593 h 10000"/>
                    <a:gd name="connsiteX7" fmla="*/ 9061 w 10047"/>
                    <a:gd name="connsiteY7" fmla="*/ 4583 h 10000"/>
                    <a:gd name="connsiteX8" fmla="*/ 10047 w 10047"/>
                    <a:gd name="connsiteY8" fmla="*/ 4593 h 10000"/>
                    <a:gd name="connsiteX9" fmla="*/ 10047 w 10047"/>
                    <a:gd name="connsiteY9" fmla="*/ 5824 h 10000"/>
                    <a:gd name="connsiteX10" fmla="*/ 10047 w 10047"/>
                    <a:gd name="connsiteY10" fmla="*/ 5988 h 10000"/>
                    <a:gd name="connsiteX11" fmla="*/ 10047 w 10047"/>
                    <a:gd name="connsiteY11" fmla="*/ 7965 h 10000"/>
                    <a:gd name="connsiteX12" fmla="*/ 10047 w 10047"/>
                    <a:gd name="connsiteY12" fmla="*/ 8081 h 10000"/>
                    <a:gd name="connsiteX13" fmla="*/ 5936 w 10047"/>
                    <a:gd name="connsiteY13" fmla="*/ 8081 h 10000"/>
                    <a:gd name="connsiteX14" fmla="*/ 5744 w 10047"/>
                    <a:gd name="connsiteY14" fmla="*/ 8081 h 10000"/>
                    <a:gd name="connsiteX15" fmla="*/ 5732 w 10047"/>
                    <a:gd name="connsiteY15" fmla="*/ 8866 h 10000"/>
                    <a:gd name="connsiteX16" fmla="*/ 5900 w 10047"/>
                    <a:gd name="connsiteY16" fmla="*/ 9283 h 10000"/>
                    <a:gd name="connsiteX17" fmla="*/ 5023 w 10047"/>
                    <a:gd name="connsiteY17" fmla="*/ 10000 h 10000"/>
                    <a:gd name="connsiteX18" fmla="*/ 4106 w 10047"/>
                    <a:gd name="connsiteY18" fmla="*/ 9283 h 10000"/>
                    <a:gd name="connsiteX19" fmla="*/ 4278 w 10047"/>
                    <a:gd name="connsiteY19" fmla="*/ 8886 h 10000"/>
                    <a:gd name="connsiteX20" fmla="*/ 4302 w 10047"/>
                    <a:gd name="connsiteY20" fmla="*/ 8866 h 10000"/>
                    <a:gd name="connsiteX21" fmla="*/ 4290 w 10047"/>
                    <a:gd name="connsiteY21" fmla="*/ 8081 h 10000"/>
                    <a:gd name="connsiteX22" fmla="*/ 4097 w 10047"/>
                    <a:gd name="connsiteY22" fmla="*/ 8081 h 10000"/>
                    <a:gd name="connsiteX23" fmla="*/ 0 w 10047"/>
                    <a:gd name="connsiteY23" fmla="*/ 8073 h 10000"/>
                    <a:gd name="connsiteX24" fmla="*/ 9 w 10047"/>
                    <a:gd name="connsiteY24" fmla="*/ 0 h 10000"/>
                    <a:gd name="connsiteX25" fmla="*/ 10047 w 10047"/>
                    <a:gd name="connsiteY25" fmla="*/ 0 h 10000"/>
                    <a:gd name="connsiteX26" fmla="*/ 10047 w 10047"/>
                    <a:gd name="connsiteY26" fmla="*/ 2209 h 10000"/>
                    <a:gd name="connsiteX27" fmla="*/ 10047 w 10047"/>
                    <a:gd name="connsiteY27" fmla="*/ 2306 h 10000"/>
                    <a:gd name="connsiteX28" fmla="*/ 10047 w 10047"/>
                    <a:gd name="connsiteY28" fmla="*/ 343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47" h="10000">
                      <a:moveTo>
                        <a:pt x="10047" y="3430"/>
                      </a:moveTo>
                      <a:cubicBezTo>
                        <a:pt x="10047" y="3430"/>
                        <a:pt x="9999" y="4215"/>
                        <a:pt x="9061" y="3430"/>
                      </a:cubicBezTo>
                      <a:lnTo>
                        <a:pt x="9037" y="3421"/>
                      </a:lnTo>
                      <a:cubicBezTo>
                        <a:pt x="8905" y="3343"/>
                        <a:pt x="8725" y="3295"/>
                        <a:pt x="8545" y="3295"/>
                      </a:cubicBezTo>
                      <a:cubicBezTo>
                        <a:pt x="8064" y="3295"/>
                        <a:pt x="7667" y="3614"/>
                        <a:pt x="7667" y="4012"/>
                      </a:cubicBezTo>
                      <a:cubicBezTo>
                        <a:pt x="7667" y="4399"/>
                        <a:pt x="8064" y="4719"/>
                        <a:pt x="8545" y="4719"/>
                      </a:cubicBezTo>
                      <a:cubicBezTo>
                        <a:pt x="8737" y="4719"/>
                        <a:pt x="8905" y="4680"/>
                        <a:pt x="9049" y="4593"/>
                      </a:cubicBezTo>
                      <a:cubicBezTo>
                        <a:pt x="9053" y="4590"/>
                        <a:pt x="9057" y="4586"/>
                        <a:pt x="9061" y="4583"/>
                      </a:cubicBezTo>
                      <a:cubicBezTo>
                        <a:pt x="9999" y="3798"/>
                        <a:pt x="10047" y="4593"/>
                        <a:pt x="10047" y="4593"/>
                      </a:cubicBezTo>
                      <a:lnTo>
                        <a:pt x="10047" y="5824"/>
                      </a:lnTo>
                      <a:lnTo>
                        <a:pt x="10047" y="5988"/>
                      </a:lnTo>
                      <a:lnTo>
                        <a:pt x="10047" y="7965"/>
                      </a:lnTo>
                      <a:lnTo>
                        <a:pt x="10047" y="8081"/>
                      </a:lnTo>
                      <a:lnTo>
                        <a:pt x="5936" y="8081"/>
                      </a:lnTo>
                      <a:lnTo>
                        <a:pt x="5744" y="8081"/>
                      </a:lnTo>
                      <a:cubicBezTo>
                        <a:pt x="5744" y="8081"/>
                        <a:pt x="4759" y="8110"/>
                        <a:pt x="5732" y="8866"/>
                      </a:cubicBezTo>
                      <a:cubicBezTo>
                        <a:pt x="5817" y="8952"/>
                        <a:pt x="5910" y="9045"/>
                        <a:pt x="5900" y="9283"/>
                      </a:cubicBezTo>
                      <a:cubicBezTo>
                        <a:pt x="5883" y="9680"/>
                        <a:pt x="5492" y="10000"/>
                        <a:pt x="5023" y="10000"/>
                      </a:cubicBezTo>
                      <a:cubicBezTo>
                        <a:pt x="4554" y="10000"/>
                        <a:pt x="4106" y="9680"/>
                        <a:pt x="4106" y="9283"/>
                      </a:cubicBezTo>
                      <a:cubicBezTo>
                        <a:pt x="4106" y="9138"/>
                        <a:pt x="4182" y="9002"/>
                        <a:pt x="4278" y="8886"/>
                      </a:cubicBezTo>
                      <a:cubicBezTo>
                        <a:pt x="4286" y="8879"/>
                        <a:pt x="4294" y="8873"/>
                        <a:pt x="4302" y="8866"/>
                      </a:cubicBezTo>
                      <a:cubicBezTo>
                        <a:pt x="5209" y="8110"/>
                        <a:pt x="4290" y="8081"/>
                        <a:pt x="4290" y="8081"/>
                      </a:cubicBezTo>
                      <a:lnTo>
                        <a:pt x="4097" y="8081"/>
                      </a:lnTo>
                      <a:lnTo>
                        <a:pt x="0" y="8073"/>
                      </a:lnTo>
                      <a:lnTo>
                        <a:pt x="9" y="0"/>
                      </a:lnTo>
                      <a:lnTo>
                        <a:pt x="10047" y="0"/>
                      </a:lnTo>
                      <a:lnTo>
                        <a:pt x="10047" y="2209"/>
                      </a:lnTo>
                      <a:lnTo>
                        <a:pt x="10047" y="2306"/>
                      </a:lnTo>
                      <a:lnTo>
                        <a:pt x="10047" y="3430"/>
                      </a:lnTo>
                      <a:close/>
                    </a:path>
                  </a:pathLst>
                </a:custGeom>
                <a:solidFill>
                  <a:srgbClr val="9DC3E6"/>
                </a:solidFill>
                <a:ln w="9525">
                  <a:noFill/>
                  <a:miter lim="800000"/>
                  <a:headEnd/>
                  <a:tailEnd/>
                </a:ln>
                <a:effectLst>
                  <a:outerShdw blurRad="50800" dist="38100" dir="2700000" algn="tl" rotWithShape="0">
                    <a:prstClr val="black">
                      <a:alpha val="40000"/>
                    </a:prstClr>
                  </a:outerShdw>
                </a:effectLst>
              </p:spPr>
              <p:txBody>
                <a:bodyPr/>
                <a:lstStyle/>
                <a:p>
                  <a:pPr algn="just"/>
                  <a:endParaRPr lang="en-US" sz="1837" b="1"/>
                </a:p>
              </p:txBody>
            </p:sp>
          </p:grpSp>
          <p:sp>
            <p:nvSpPr>
              <p:cNvPr id="80" name="Rectangle 14">
                <a:extLst>
                  <a:ext uri="{FF2B5EF4-FFF2-40B4-BE49-F238E27FC236}">
                    <a16:creationId xmlns:a16="http://schemas.microsoft.com/office/drawing/2014/main" id="{800CF06A-E966-4BEF-9A90-571A6A91B312}"/>
                  </a:ext>
                </a:extLst>
              </p:cNvPr>
              <p:cNvSpPr txBox="1"/>
              <p:nvPr>
                <p:custDataLst>
                  <p:tags r:id="rId8"/>
                </p:custDataLst>
              </p:nvPr>
            </p:nvSpPr>
            <p:spPr>
              <a:xfrm>
                <a:off x="4130934" y="5300099"/>
                <a:ext cx="1809218" cy="521208"/>
              </a:xfrm>
              <a:prstGeom prst="rect">
                <a:avLst/>
              </a:prstGeom>
              <a:solidFill>
                <a:srgbClr val="2E75B6"/>
              </a:solidFill>
              <a:ln w="9525">
                <a:noFill/>
                <a:miter lim="800000"/>
                <a:headEnd/>
                <a:tailEnd/>
              </a:ln>
              <a:effectLst>
                <a:outerShdw blurRad="50800" dist="38100" dir="2700000" algn="tl" rotWithShape="0">
                  <a:prstClr val="black">
                    <a:alpha val="40000"/>
                  </a:prstClr>
                </a:outerShdw>
              </a:effectLst>
            </p:spPr>
            <p:txBody>
              <a:bodyPr vert="horz" wrap="square" lIns="76200" tIns="76200" rIns="76200" bIns="76200" numCol="1" anchor="ctr" anchorCtr="0" compatLnSpc="1">
                <a:prstTxWarp prst="textNoShape">
                  <a:avLst/>
                </a:prstTxWarp>
                <a:noAutofit/>
              </a:bodyPr>
              <a:lstStyle>
                <a:lvl1pPr lvl="0" indent="0" defTabSz="913526" fontAlgn="base">
                  <a:spcBef>
                    <a:spcPct val="0"/>
                  </a:spcBef>
                  <a:spcAft>
                    <a:spcPct val="0"/>
                  </a:spcAft>
                  <a:buClr>
                    <a:schemeClr val="tx2"/>
                  </a:buClr>
                  <a:defRPr sz="1600"/>
                </a:lvl1pPr>
                <a:lvl2pPr marL="197607" lvl="1" indent="-195987" defTabSz="913526" fontAlgn="base">
                  <a:spcBef>
                    <a:spcPct val="0"/>
                  </a:spcBef>
                  <a:spcAft>
                    <a:spcPct val="0"/>
                  </a:spcAft>
                  <a:buClr>
                    <a:schemeClr val="tx2"/>
                  </a:buClr>
                  <a:buSzPct val="125000"/>
                  <a:buFont typeface="Arial" charset="0"/>
                  <a:buChar char="▪"/>
                  <a:defRPr sz="1600"/>
                </a:lvl2pPr>
                <a:lvl3pPr marL="466481" lvl="2" indent="-267255" defTabSz="913526" fontAlgn="base">
                  <a:spcBef>
                    <a:spcPct val="0"/>
                  </a:spcBef>
                  <a:spcAft>
                    <a:spcPct val="0"/>
                  </a:spcAft>
                  <a:buClr>
                    <a:schemeClr val="tx2"/>
                  </a:buClr>
                  <a:buSzPct val="120000"/>
                  <a:buFont typeface="Arial" charset="0"/>
                  <a:buChar char="–"/>
                  <a:defRPr sz="1600"/>
                </a:lvl3pPr>
                <a:lvl4pPr marL="626835" lvl="3" indent="-158733" defTabSz="913526" fontAlgn="base">
                  <a:spcBef>
                    <a:spcPct val="0"/>
                  </a:spcBef>
                  <a:spcAft>
                    <a:spcPct val="0"/>
                  </a:spcAft>
                  <a:buClr>
                    <a:schemeClr val="tx2"/>
                  </a:buClr>
                  <a:buSzPct val="120000"/>
                  <a:buFont typeface="Arial" charset="0"/>
                  <a:buChar char="▫"/>
                  <a:defRPr sz="1600"/>
                </a:lvl4pPr>
                <a:lvl5pPr marL="765029" lvl="4" indent="-132818" defTabSz="913526" fontAlgn="base">
                  <a:spcBef>
                    <a:spcPct val="0"/>
                  </a:spcBef>
                  <a:spcAft>
                    <a:spcPct val="0"/>
                  </a:spcAft>
                  <a:buClr>
                    <a:schemeClr val="tx2"/>
                  </a:buClr>
                  <a:buSzPct val="89000"/>
                  <a:buFont typeface="Arial" charset="0"/>
                  <a:buChar char="-"/>
                  <a:defRPr sz="1600"/>
                </a:lvl5pPr>
                <a:lvl6pPr marL="765029" indent="-132818" defTabSz="913526" fontAlgn="base">
                  <a:spcBef>
                    <a:spcPct val="0"/>
                  </a:spcBef>
                  <a:spcAft>
                    <a:spcPct val="0"/>
                  </a:spcAft>
                  <a:buClr>
                    <a:schemeClr val="tx2"/>
                  </a:buClr>
                  <a:buSzPct val="89000"/>
                  <a:buFont typeface="Arial" charset="0"/>
                  <a:buChar char="-"/>
                  <a:defRPr sz="1600"/>
                </a:lvl6pPr>
                <a:lvl7pPr marL="765029" indent="-132818" defTabSz="913526" fontAlgn="base">
                  <a:spcBef>
                    <a:spcPct val="0"/>
                  </a:spcBef>
                  <a:spcAft>
                    <a:spcPct val="0"/>
                  </a:spcAft>
                  <a:buClr>
                    <a:schemeClr val="tx2"/>
                  </a:buClr>
                  <a:buSzPct val="89000"/>
                  <a:buFont typeface="Arial" charset="0"/>
                  <a:buChar char="-"/>
                  <a:defRPr sz="1600"/>
                </a:lvl7pPr>
                <a:lvl8pPr marL="765029" indent="-132818" defTabSz="913526" fontAlgn="base">
                  <a:spcBef>
                    <a:spcPct val="0"/>
                  </a:spcBef>
                  <a:spcAft>
                    <a:spcPct val="0"/>
                  </a:spcAft>
                  <a:buClr>
                    <a:schemeClr val="tx2"/>
                  </a:buClr>
                  <a:buSzPct val="89000"/>
                  <a:buFont typeface="Arial" charset="0"/>
                  <a:buChar char="-"/>
                  <a:defRPr sz="1600"/>
                </a:lvl8pPr>
                <a:lvl9pPr marL="765029" indent="-132818" defTabSz="913526" fontAlgn="base">
                  <a:spcBef>
                    <a:spcPct val="0"/>
                  </a:spcBef>
                  <a:spcAft>
                    <a:spcPct val="0"/>
                  </a:spcAft>
                  <a:buClr>
                    <a:schemeClr val="tx2"/>
                  </a:buClr>
                  <a:buSzPct val="89000"/>
                  <a:buFont typeface="Arial" charset="0"/>
                  <a:buChar char="-"/>
                  <a:defRPr sz="1600"/>
                </a:lvl9pPr>
              </a:lstStyle>
              <a:p>
                <a:pPr algn="ctr"/>
                <a:r>
                  <a:rPr lang="nl-NL" sz="1200" b="1">
                    <a:solidFill>
                      <a:schemeClr val="bg1"/>
                    </a:solidFill>
                  </a:rPr>
                  <a:t>Systemen en processen inrichten</a:t>
                </a:r>
              </a:p>
            </p:txBody>
          </p:sp>
          <p:sp>
            <p:nvSpPr>
              <p:cNvPr id="82" name="Rectangle 14">
                <a:extLst>
                  <a:ext uri="{FF2B5EF4-FFF2-40B4-BE49-F238E27FC236}">
                    <a16:creationId xmlns:a16="http://schemas.microsoft.com/office/drawing/2014/main" id="{9E8C65C0-D7B2-4475-8444-9754F740E755}"/>
                  </a:ext>
                </a:extLst>
              </p:cNvPr>
              <p:cNvSpPr txBox="1"/>
              <p:nvPr>
                <p:custDataLst>
                  <p:tags r:id="rId9"/>
                </p:custDataLst>
              </p:nvPr>
            </p:nvSpPr>
            <p:spPr>
              <a:xfrm>
                <a:off x="2195736" y="5300099"/>
                <a:ext cx="1800200" cy="521208"/>
              </a:xfrm>
              <a:prstGeom prst="rect">
                <a:avLst/>
              </a:prstGeom>
              <a:solidFill>
                <a:srgbClr val="2E75B6"/>
              </a:solidFill>
              <a:ln w="9525">
                <a:noFill/>
                <a:miter lim="800000"/>
                <a:headEnd/>
                <a:tailEnd/>
              </a:ln>
              <a:effectLst>
                <a:outerShdw blurRad="50800" dist="38100" dir="2700000" algn="tl" rotWithShape="0">
                  <a:prstClr val="black">
                    <a:alpha val="40000"/>
                  </a:prstClr>
                </a:outerShdw>
              </a:effectLst>
            </p:spPr>
            <p:txBody>
              <a:bodyPr vert="horz" wrap="square" lIns="76200" tIns="76200" rIns="76200" bIns="76200" numCol="1" anchor="ctr" anchorCtr="0" compatLnSpc="1">
                <a:prstTxWarp prst="textNoShape">
                  <a:avLst/>
                </a:prstTxWarp>
                <a:noAutofit/>
              </a:bodyPr>
              <a:lstStyle>
                <a:lvl1pPr lvl="0" indent="0" defTabSz="913526" fontAlgn="base">
                  <a:spcBef>
                    <a:spcPct val="0"/>
                  </a:spcBef>
                  <a:spcAft>
                    <a:spcPct val="0"/>
                  </a:spcAft>
                  <a:buClr>
                    <a:schemeClr val="tx2"/>
                  </a:buClr>
                  <a:defRPr sz="1600"/>
                </a:lvl1pPr>
                <a:lvl2pPr marL="197607" lvl="1" indent="-195987" defTabSz="913526" fontAlgn="base">
                  <a:spcBef>
                    <a:spcPct val="0"/>
                  </a:spcBef>
                  <a:spcAft>
                    <a:spcPct val="0"/>
                  </a:spcAft>
                  <a:buClr>
                    <a:schemeClr val="tx2"/>
                  </a:buClr>
                  <a:buSzPct val="125000"/>
                  <a:buFont typeface="Arial" charset="0"/>
                  <a:buChar char="▪"/>
                  <a:defRPr sz="1600"/>
                </a:lvl2pPr>
                <a:lvl3pPr marL="466481" lvl="2" indent="-267255" defTabSz="913526" fontAlgn="base">
                  <a:spcBef>
                    <a:spcPct val="0"/>
                  </a:spcBef>
                  <a:spcAft>
                    <a:spcPct val="0"/>
                  </a:spcAft>
                  <a:buClr>
                    <a:schemeClr val="tx2"/>
                  </a:buClr>
                  <a:buSzPct val="120000"/>
                  <a:buFont typeface="Arial" charset="0"/>
                  <a:buChar char="–"/>
                  <a:defRPr sz="1600"/>
                </a:lvl3pPr>
                <a:lvl4pPr marL="626835" lvl="3" indent="-158733" defTabSz="913526" fontAlgn="base">
                  <a:spcBef>
                    <a:spcPct val="0"/>
                  </a:spcBef>
                  <a:spcAft>
                    <a:spcPct val="0"/>
                  </a:spcAft>
                  <a:buClr>
                    <a:schemeClr val="tx2"/>
                  </a:buClr>
                  <a:buSzPct val="120000"/>
                  <a:buFont typeface="Arial" charset="0"/>
                  <a:buChar char="▫"/>
                  <a:defRPr sz="1600"/>
                </a:lvl4pPr>
                <a:lvl5pPr marL="765029" lvl="4" indent="-132818" defTabSz="913526" fontAlgn="base">
                  <a:spcBef>
                    <a:spcPct val="0"/>
                  </a:spcBef>
                  <a:spcAft>
                    <a:spcPct val="0"/>
                  </a:spcAft>
                  <a:buClr>
                    <a:schemeClr val="tx2"/>
                  </a:buClr>
                  <a:buSzPct val="89000"/>
                  <a:buFont typeface="Arial" charset="0"/>
                  <a:buChar char="-"/>
                  <a:defRPr sz="1600"/>
                </a:lvl5pPr>
                <a:lvl6pPr marL="765029" indent="-132818" defTabSz="913526" fontAlgn="base">
                  <a:spcBef>
                    <a:spcPct val="0"/>
                  </a:spcBef>
                  <a:spcAft>
                    <a:spcPct val="0"/>
                  </a:spcAft>
                  <a:buClr>
                    <a:schemeClr val="tx2"/>
                  </a:buClr>
                  <a:buSzPct val="89000"/>
                  <a:buFont typeface="Arial" charset="0"/>
                  <a:buChar char="-"/>
                  <a:defRPr sz="1600"/>
                </a:lvl6pPr>
                <a:lvl7pPr marL="765029" indent="-132818" defTabSz="913526" fontAlgn="base">
                  <a:spcBef>
                    <a:spcPct val="0"/>
                  </a:spcBef>
                  <a:spcAft>
                    <a:spcPct val="0"/>
                  </a:spcAft>
                  <a:buClr>
                    <a:schemeClr val="tx2"/>
                  </a:buClr>
                  <a:buSzPct val="89000"/>
                  <a:buFont typeface="Arial" charset="0"/>
                  <a:buChar char="-"/>
                  <a:defRPr sz="1600"/>
                </a:lvl7pPr>
                <a:lvl8pPr marL="765029" indent="-132818" defTabSz="913526" fontAlgn="base">
                  <a:spcBef>
                    <a:spcPct val="0"/>
                  </a:spcBef>
                  <a:spcAft>
                    <a:spcPct val="0"/>
                  </a:spcAft>
                  <a:buClr>
                    <a:schemeClr val="tx2"/>
                  </a:buClr>
                  <a:buSzPct val="89000"/>
                  <a:buFont typeface="Arial" charset="0"/>
                  <a:buChar char="-"/>
                  <a:defRPr sz="1600"/>
                </a:lvl8pPr>
                <a:lvl9pPr marL="765029" indent="-132818" defTabSz="913526" fontAlgn="base">
                  <a:spcBef>
                    <a:spcPct val="0"/>
                  </a:spcBef>
                  <a:spcAft>
                    <a:spcPct val="0"/>
                  </a:spcAft>
                  <a:buClr>
                    <a:schemeClr val="tx2"/>
                  </a:buClr>
                  <a:buSzPct val="89000"/>
                  <a:buFont typeface="Arial" charset="0"/>
                  <a:buChar char="-"/>
                  <a:defRPr sz="1600"/>
                </a:lvl9pPr>
              </a:lstStyle>
              <a:p>
                <a:pPr algn="ctr"/>
                <a:r>
                  <a:rPr lang="nl-NL" sz="1200" b="1">
                    <a:solidFill>
                      <a:schemeClr val="bg1"/>
                    </a:solidFill>
                  </a:rPr>
                  <a:t>Vaardigheden verzorgen</a:t>
                </a:r>
              </a:p>
            </p:txBody>
          </p:sp>
        </p:grpSp>
        <p:sp>
          <p:nvSpPr>
            <p:cNvPr id="68" name="Rectangle 13">
              <a:extLst>
                <a:ext uri="{FF2B5EF4-FFF2-40B4-BE49-F238E27FC236}">
                  <a16:creationId xmlns:a16="http://schemas.microsoft.com/office/drawing/2014/main" id="{D366350A-D5FF-41AD-811E-4A307441AA95}"/>
                </a:ext>
              </a:extLst>
            </p:cNvPr>
            <p:cNvSpPr>
              <a:spLocks noChangeArrowheads="1"/>
            </p:cNvSpPr>
            <p:nvPr/>
          </p:nvSpPr>
          <p:spPr bwMode="gray">
            <a:xfrm>
              <a:off x="1955379" y="1822348"/>
              <a:ext cx="1814965" cy="923330"/>
            </a:xfrm>
            <a:prstGeom prst="rect">
              <a:avLst/>
            </a:prstGeom>
            <a:noFill/>
            <a:ln w="9525">
              <a:noFill/>
              <a:miter lim="800000"/>
              <a:headEnd/>
              <a:tailEnd/>
            </a:ln>
          </p:spPr>
          <p:txBody>
            <a:bodyPr wrap="square" lIns="0" tIns="0" rIns="0" bIns="0">
              <a:spAutoFit/>
            </a:bodyPr>
            <a:lstStyle/>
            <a:p>
              <a:pPr>
                <a:buSzPct val="120000"/>
              </a:pPr>
              <a:r>
                <a:rPr lang="nl-NL" sz="1200">
                  <a:solidFill>
                    <a:srgbClr val="000000"/>
                  </a:solidFill>
                </a:rPr>
                <a:t>‘… ik ervan overtuigd ben dat een verbetercultuur bijdraagt aan het behalen van onze onderwijsdoelstellingen’ </a:t>
              </a:r>
            </a:p>
          </p:txBody>
        </p:sp>
        <p:sp>
          <p:nvSpPr>
            <p:cNvPr id="69" name="Rectangle 15">
              <a:extLst>
                <a:ext uri="{FF2B5EF4-FFF2-40B4-BE49-F238E27FC236}">
                  <a16:creationId xmlns:a16="http://schemas.microsoft.com/office/drawing/2014/main" id="{01E32295-D3D0-4548-B2FA-87C52D15E1B1}"/>
                </a:ext>
              </a:extLst>
            </p:cNvPr>
            <p:cNvSpPr>
              <a:spLocks noChangeArrowheads="1"/>
            </p:cNvSpPr>
            <p:nvPr/>
          </p:nvSpPr>
          <p:spPr bwMode="gray">
            <a:xfrm>
              <a:off x="4216630" y="1822348"/>
              <a:ext cx="1871638" cy="1292662"/>
            </a:xfrm>
            <a:prstGeom prst="rect">
              <a:avLst/>
            </a:prstGeom>
            <a:noFill/>
            <a:ln w="9525">
              <a:noFill/>
              <a:miter lim="800000"/>
              <a:headEnd/>
              <a:tailEnd/>
            </a:ln>
          </p:spPr>
          <p:txBody>
            <a:bodyPr wrap="square" lIns="0" tIns="0" rIns="0" bIns="0">
              <a:spAutoFit/>
            </a:bodyPr>
            <a:lstStyle/>
            <a:p>
              <a:pPr marL="456763">
                <a:buSzPct val="120000"/>
              </a:pPr>
              <a:r>
                <a:rPr lang="nl-NL" sz="1200">
                  <a:solidFill>
                    <a:srgbClr val="000000"/>
                  </a:solidFill>
                </a:rPr>
                <a:t>‘… ik zie dat onze schoolleiding, en mijn collega’s de nieuwe manier van werken toepassen, op een manier die bij hun past’</a:t>
              </a:r>
            </a:p>
          </p:txBody>
        </p:sp>
        <p:sp>
          <p:nvSpPr>
            <p:cNvPr id="70" name="Rectangle 17">
              <a:extLst>
                <a:ext uri="{FF2B5EF4-FFF2-40B4-BE49-F238E27FC236}">
                  <a16:creationId xmlns:a16="http://schemas.microsoft.com/office/drawing/2014/main" id="{6649E182-5C5B-4020-B8BF-E93138325E89}"/>
                </a:ext>
              </a:extLst>
            </p:cNvPr>
            <p:cNvSpPr>
              <a:spLocks noChangeArrowheads="1"/>
            </p:cNvSpPr>
            <p:nvPr/>
          </p:nvSpPr>
          <p:spPr bwMode="gray">
            <a:xfrm>
              <a:off x="4370676" y="4003937"/>
              <a:ext cx="1717592" cy="1107996"/>
            </a:xfrm>
            <a:prstGeom prst="rect">
              <a:avLst/>
            </a:prstGeom>
            <a:noFill/>
            <a:ln w="9525">
              <a:noFill/>
              <a:miter lim="800000"/>
              <a:headEnd/>
              <a:tailEnd/>
            </a:ln>
          </p:spPr>
          <p:txBody>
            <a:bodyPr wrap="square" lIns="0" tIns="0" rIns="0" bIns="0" anchor="b">
              <a:spAutoFit/>
            </a:bodyPr>
            <a:lstStyle/>
            <a:p>
              <a:pPr>
                <a:buSzPct val="120000"/>
              </a:pPr>
              <a:r>
                <a:rPr lang="nl-NL" sz="1200">
                  <a:solidFill>
                    <a:srgbClr val="000000"/>
                  </a:solidFill>
                </a:rPr>
                <a:t>‘… er tijd is vrijgemaakt om samen te verbeteren en er een schoolcoach geregeld is die ons ondersteunt bij de gewenste veranderingen’</a:t>
              </a:r>
            </a:p>
          </p:txBody>
        </p:sp>
        <p:sp>
          <p:nvSpPr>
            <p:cNvPr id="71" name="Rectangle 19">
              <a:extLst>
                <a:ext uri="{FF2B5EF4-FFF2-40B4-BE49-F238E27FC236}">
                  <a16:creationId xmlns:a16="http://schemas.microsoft.com/office/drawing/2014/main" id="{314B1DC4-71B4-4539-86EF-FF477CA7A65B}"/>
                </a:ext>
              </a:extLst>
            </p:cNvPr>
            <p:cNvSpPr>
              <a:spLocks noChangeArrowheads="1"/>
            </p:cNvSpPr>
            <p:nvPr/>
          </p:nvSpPr>
          <p:spPr bwMode="gray">
            <a:xfrm>
              <a:off x="1972526" y="4003937"/>
              <a:ext cx="1320477" cy="1107996"/>
            </a:xfrm>
            <a:prstGeom prst="rect">
              <a:avLst/>
            </a:prstGeom>
            <a:noFill/>
            <a:ln w="9525">
              <a:noFill/>
              <a:miter lim="800000"/>
              <a:headEnd/>
              <a:tailEnd/>
            </a:ln>
          </p:spPr>
          <p:txBody>
            <a:bodyPr wrap="square" lIns="0" tIns="0" rIns="0" bIns="0" anchor="b">
              <a:spAutoFit/>
            </a:bodyPr>
            <a:lstStyle/>
            <a:p>
              <a:pPr>
                <a:buSzPct val="120000"/>
              </a:pPr>
              <a:r>
                <a:rPr lang="nl-NL" sz="1200">
                  <a:solidFill>
                    <a:srgbClr val="000000"/>
                  </a:solidFill>
                </a:rPr>
                <a:t>‘… ik kennis en vaardigheden krijg aangereikt die mij helpen om op de nieuwe manier te werken’</a:t>
              </a:r>
            </a:p>
          </p:txBody>
        </p:sp>
        <p:sp>
          <p:nvSpPr>
            <p:cNvPr id="72" name="Oval 40">
              <a:extLst>
                <a:ext uri="{FF2B5EF4-FFF2-40B4-BE49-F238E27FC236}">
                  <a16:creationId xmlns:a16="http://schemas.microsoft.com/office/drawing/2014/main" id="{9C209511-15BB-44BA-9099-28781A3D99F3}"/>
                </a:ext>
              </a:extLst>
            </p:cNvPr>
            <p:cNvSpPr txBox="1"/>
            <p:nvPr>
              <p:custDataLst>
                <p:tags r:id="rId5"/>
              </p:custDataLst>
            </p:nvPr>
          </p:nvSpPr>
          <p:spPr>
            <a:xfrm>
              <a:off x="3136510" y="3097584"/>
              <a:ext cx="1655826" cy="754934"/>
            </a:xfrm>
            <a:prstGeom prst="roundRect">
              <a:avLst/>
            </a:prstGeom>
            <a:solidFill>
              <a:srgbClr val="008080"/>
            </a:solidFill>
            <a:ln w="9525">
              <a:noFill/>
              <a:miter lim="800000"/>
              <a:headEnd/>
              <a:tailEnd/>
            </a:ln>
            <a:effectLst>
              <a:outerShdw blurRad="50800" dist="38100" dir="2700000" algn="tl" rotWithShape="0">
                <a:prstClr val="black">
                  <a:alpha val="40000"/>
                </a:prstClr>
              </a:outerShdw>
            </a:effectLst>
          </p:spPr>
          <p:txBody>
            <a:bodyPr vert="horz" wrap="square" lIns="3810" tIns="0" rIns="3810" bIns="0" numCol="1" anchor="ctr" anchorCtr="1" compatLnSpc="1">
              <a:prstTxWarp prst="textNoShape">
                <a:avLst/>
              </a:prstTxWarp>
              <a:noAutofit/>
            </a:bodyPr>
            <a:lstStyle>
              <a:lvl1pPr lvl="0" indent="0" defTabSz="913526" fontAlgn="base">
                <a:spcBef>
                  <a:spcPct val="0"/>
                </a:spcBef>
                <a:spcAft>
                  <a:spcPct val="0"/>
                </a:spcAft>
                <a:buClr>
                  <a:schemeClr val="tx2"/>
                </a:buClr>
                <a:defRPr sz="1600"/>
              </a:lvl1pPr>
              <a:lvl2pPr marL="197607" lvl="1" indent="-195987" defTabSz="913526" fontAlgn="base">
                <a:spcBef>
                  <a:spcPct val="0"/>
                </a:spcBef>
                <a:spcAft>
                  <a:spcPct val="0"/>
                </a:spcAft>
                <a:buClr>
                  <a:schemeClr val="tx2"/>
                </a:buClr>
                <a:buSzPct val="125000"/>
                <a:buFont typeface="Arial" charset="0"/>
                <a:buChar char="▪"/>
                <a:defRPr sz="1600"/>
              </a:lvl2pPr>
              <a:lvl3pPr marL="466481" lvl="2" indent="-267255" defTabSz="913526" fontAlgn="base">
                <a:spcBef>
                  <a:spcPct val="0"/>
                </a:spcBef>
                <a:spcAft>
                  <a:spcPct val="0"/>
                </a:spcAft>
                <a:buClr>
                  <a:schemeClr val="tx2"/>
                </a:buClr>
                <a:buSzPct val="120000"/>
                <a:buFont typeface="Arial" charset="0"/>
                <a:buChar char="–"/>
                <a:defRPr sz="1600"/>
              </a:lvl3pPr>
              <a:lvl4pPr marL="626835" lvl="3" indent="-158733" defTabSz="913526" fontAlgn="base">
                <a:spcBef>
                  <a:spcPct val="0"/>
                </a:spcBef>
                <a:spcAft>
                  <a:spcPct val="0"/>
                </a:spcAft>
                <a:buClr>
                  <a:schemeClr val="tx2"/>
                </a:buClr>
                <a:buSzPct val="120000"/>
                <a:buFont typeface="Arial" charset="0"/>
                <a:buChar char="▫"/>
                <a:defRPr sz="1600"/>
              </a:lvl4pPr>
              <a:lvl5pPr marL="765029" lvl="4" indent="-132818" defTabSz="913526" fontAlgn="base">
                <a:spcBef>
                  <a:spcPct val="0"/>
                </a:spcBef>
                <a:spcAft>
                  <a:spcPct val="0"/>
                </a:spcAft>
                <a:buClr>
                  <a:schemeClr val="tx2"/>
                </a:buClr>
                <a:buSzPct val="89000"/>
                <a:buFont typeface="Arial" charset="0"/>
                <a:buChar char="-"/>
                <a:defRPr sz="1600"/>
              </a:lvl5pPr>
              <a:lvl6pPr marL="765029" indent="-132818" defTabSz="913526" fontAlgn="base">
                <a:spcBef>
                  <a:spcPct val="0"/>
                </a:spcBef>
                <a:spcAft>
                  <a:spcPct val="0"/>
                </a:spcAft>
                <a:buClr>
                  <a:schemeClr val="tx2"/>
                </a:buClr>
                <a:buSzPct val="89000"/>
                <a:buFont typeface="Arial" charset="0"/>
                <a:buChar char="-"/>
                <a:defRPr sz="1600"/>
              </a:lvl6pPr>
              <a:lvl7pPr marL="765029" indent="-132818" defTabSz="913526" fontAlgn="base">
                <a:spcBef>
                  <a:spcPct val="0"/>
                </a:spcBef>
                <a:spcAft>
                  <a:spcPct val="0"/>
                </a:spcAft>
                <a:buClr>
                  <a:schemeClr val="tx2"/>
                </a:buClr>
                <a:buSzPct val="89000"/>
                <a:buFont typeface="Arial" charset="0"/>
                <a:buChar char="-"/>
                <a:defRPr sz="1600"/>
              </a:lvl7pPr>
              <a:lvl8pPr marL="765029" indent="-132818" defTabSz="913526" fontAlgn="base">
                <a:spcBef>
                  <a:spcPct val="0"/>
                </a:spcBef>
                <a:spcAft>
                  <a:spcPct val="0"/>
                </a:spcAft>
                <a:buClr>
                  <a:schemeClr val="tx2"/>
                </a:buClr>
                <a:buSzPct val="89000"/>
                <a:buFont typeface="Arial" charset="0"/>
                <a:buChar char="-"/>
                <a:defRPr sz="1600"/>
              </a:lvl8pPr>
              <a:lvl9pPr marL="765029" indent="-132818" defTabSz="913526" fontAlgn="base">
                <a:spcBef>
                  <a:spcPct val="0"/>
                </a:spcBef>
                <a:spcAft>
                  <a:spcPct val="0"/>
                </a:spcAft>
                <a:buClr>
                  <a:schemeClr val="tx2"/>
                </a:buClr>
                <a:buSzPct val="89000"/>
                <a:buFont typeface="Arial" charset="0"/>
                <a:buChar char="-"/>
                <a:defRPr sz="1600"/>
              </a:lvl9pPr>
            </a:lstStyle>
            <a:p>
              <a:pPr algn="ctr"/>
              <a:r>
                <a:rPr lang="nl-NL" sz="1100">
                  <a:solidFill>
                    <a:srgbClr val="FFFFFF"/>
                  </a:solidFill>
                </a:rPr>
                <a:t>‘Ik verander mijn houding en gedrag als…’</a:t>
              </a:r>
            </a:p>
          </p:txBody>
        </p:sp>
      </p:grpSp>
      <p:sp>
        <p:nvSpPr>
          <p:cNvPr id="88" name="Rectangle 30">
            <a:extLst>
              <a:ext uri="{FF2B5EF4-FFF2-40B4-BE49-F238E27FC236}">
                <a16:creationId xmlns:a16="http://schemas.microsoft.com/office/drawing/2014/main" id="{BDE976B5-D13B-4962-A7D0-A697AA3F4389}"/>
              </a:ext>
            </a:extLst>
          </p:cNvPr>
          <p:cNvSpPr>
            <a:spLocks/>
          </p:cNvSpPr>
          <p:nvPr/>
        </p:nvSpPr>
        <p:spPr>
          <a:xfrm>
            <a:off x="683253" y="1660249"/>
            <a:ext cx="2004475" cy="1486380"/>
          </a:xfrm>
          <a:prstGeom prst="rect">
            <a:avLst/>
          </a:prstGeom>
          <a:solidFill>
            <a:schemeClr val="bg2"/>
          </a:solidFill>
          <a:ln w="6350" cap="sq">
            <a:solidFill>
              <a:srgbClr val="7F7F7F"/>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89" name="TextBox 2">
            <a:extLst>
              <a:ext uri="{FF2B5EF4-FFF2-40B4-BE49-F238E27FC236}">
                <a16:creationId xmlns:a16="http://schemas.microsoft.com/office/drawing/2014/main" id="{FC0FB8E1-233C-4E80-A3EE-76F4F3F71818}"/>
              </a:ext>
            </a:extLst>
          </p:cNvPr>
          <p:cNvSpPr txBox="1">
            <a:spLocks/>
          </p:cNvSpPr>
          <p:nvPr/>
        </p:nvSpPr>
        <p:spPr>
          <a:xfrm>
            <a:off x="775860" y="1696823"/>
            <a:ext cx="1819263" cy="155427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err="1">
                <a:cs typeface="Times New Roman" panose="02020603050405020304" pitchFamily="18" charset="0"/>
              </a:rPr>
              <a:t>Overtuiging</a:t>
            </a:r>
            <a:endParaRPr lang="en-US" b="1">
              <a:cs typeface="Times New Roman" panose="02020603050405020304" pitchFamily="18" charset="0"/>
            </a:endParaRPr>
          </a:p>
          <a:p>
            <a:pPr marL="180975" indent="-180975" defTabSz="457189">
              <a:buFont typeface="Arial" panose="020B0604020202020204" pitchFamily="34" charset="0"/>
              <a:buChar char="•"/>
              <a:defRPr/>
            </a:pPr>
            <a:r>
              <a:rPr lang="nl-NL" sz="1400">
                <a:solidFill>
                  <a:srgbClr val="000000"/>
                </a:solidFill>
                <a:latin typeface="Arial"/>
                <a:cs typeface="Arial"/>
              </a:rPr>
              <a:t>Draagvlak in het team</a:t>
            </a:r>
          </a:p>
          <a:p>
            <a:pPr marL="180975" indent="-180975" defTabSz="457189">
              <a:buFont typeface="Arial" panose="020B0604020202020204" pitchFamily="34" charset="0"/>
              <a:buChar char="•"/>
              <a:defRPr/>
            </a:pPr>
            <a:r>
              <a:rPr lang="nl-NL" sz="1400">
                <a:solidFill>
                  <a:srgbClr val="000000"/>
                </a:solidFill>
                <a:latin typeface="Arial"/>
                <a:cs typeface="Arial"/>
              </a:rPr>
              <a:t>Ambitie van het team</a:t>
            </a:r>
          </a:p>
          <a:p>
            <a:pPr marL="180975" indent="-180975" defTabSz="457189">
              <a:buFont typeface="Arial" panose="020B0604020202020204" pitchFamily="34" charset="0"/>
              <a:buChar char="•"/>
              <a:defRPr/>
            </a:pPr>
            <a:endParaRPr lang="nl-NL" sz="1400">
              <a:solidFill>
                <a:srgbClr val="000000"/>
              </a:solidFill>
              <a:latin typeface="Arial"/>
              <a:cs typeface="Arial"/>
            </a:endParaRPr>
          </a:p>
        </p:txBody>
      </p:sp>
      <p:cxnSp>
        <p:nvCxnSpPr>
          <p:cNvPr id="90" name="Straight Connector 19">
            <a:extLst>
              <a:ext uri="{FF2B5EF4-FFF2-40B4-BE49-F238E27FC236}">
                <a16:creationId xmlns:a16="http://schemas.microsoft.com/office/drawing/2014/main" id="{41CA521F-B785-4F29-81C2-4D2A0F00CF99}"/>
              </a:ext>
            </a:extLst>
          </p:cNvPr>
          <p:cNvCxnSpPr>
            <a:cxnSpLocks/>
          </p:cNvCxnSpPr>
          <p:nvPr/>
        </p:nvCxnSpPr>
        <p:spPr>
          <a:xfrm flipH="1">
            <a:off x="2687728" y="2390319"/>
            <a:ext cx="813796"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1" name="Rectangle 30">
            <a:extLst>
              <a:ext uri="{FF2B5EF4-FFF2-40B4-BE49-F238E27FC236}">
                <a16:creationId xmlns:a16="http://schemas.microsoft.com/office/drawing/2014/main" id="{401D9079-C70A-4A0B-9830-4995A15846B5}"/>
              </a:ext>
            </a:extLst>
          </p:cNvPr>
          <p:cNvSpPr>
            <a:spLocks/>
          </p:cNvSpPr>
          <p:nvPr/>
        </p:nvSpPr>
        <p:spPr>
          <a:xfrm>
            <a:off x="683253" y="3992888"/>
            <a:ext cx="2004475" cy="1741161"/>
          </a:xfrm>
          <a:prstGeom prst="rect">
            <a:avLst/>
          </a:prstGeom>
          <a:solidFill>
            <a:schemeClr val="bg2"/>
          </a:solidFill>
          <a:ln w="6350" cap="sq">
            <a:solidFill>
              <a:srgbClr val="7F7F7F"/>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92" name="TextBox 2">
            <a:extLst>
              <a:ext uri="{FF2B5EF4-FFF2-40B4-BE49-F238E27FC236}">
                <a16:creationId xmlns:a16="http://schemas.microsoft.com/office/drawing/2014/main" id="{489B552B-53DA-4656-8F8F-5D29F47903FF}"/>
              </a:ext>
            </a:extLst>
          </p:cNvPr>
          <p:cNvSpPr txBox="1">
            <a:spLocks/>
          </p:cNvSpPr>
          <p:nvPr/>
        </p:nvSpPr>
        <p:spPr>
          <a:xfrm>
            <a:off x="775860" y="4029463"/>
            <a:ext cx="1819263" cy="155427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err="1">
                <a:cs typeface="Times New Roman" panose="02020603050405020304" pitchFamily="18" charset="0"/>
              </a:rPr>
              <a:t>Vaardigheden</a:t>
            </a:r>
            <a:endParaRPr lang="en-US" b="1">
              <a:cs typeface="Times New Roman" panose="02020603050405020304" pitchFamily="18" charset="0"/>
            </a:endParaRPr>
          </a:p>
          <a:p>
            <a:pPr marL="180975" indent="-180975" defTabSz="457189">
              <a:buFont typeface="Arial" panose="020B0604020202020204" pitchFamily="34" charset="0"/>
              <a:buChar char="•"/>
              <a:defRPr/>
            </a:pPr>
            <a:r>
              <a:rPr lang="nl-NL" sz="1400">
                <a:solidFill>
                  <a:srgbClr val="000000"/>
                </a:solidFill>
                <a:latin typeface="Arial"/>
                <a:cs typeface="Arial"/>
              </a:rPr>
              <a:t>Coach-vaardigheden</a:t>
            </a:r>
          </a:p>
          <a:p>
            <a:pPr marL="180975" indent="-180975" defTabSz="457189">
              <a:buFont typeface="Arial" panose="020B0604020202020204" pitchFamily="34" charset="0"/>
              <a:buChar char="•"/>
              <a:defRPr/>
            </a:pPr>
            <a:r>
              <a:rPr lang="nl-NL" sz="1400" err="1">
                <a:solidFill>
                  <a:srgbClr val="000000"/>
                </a:solidFill>
                <a:latin typeface="Arial"/>
                <a:cs typeface="Arial"/>
              </a:rPr>
              <a:t>Doorzettings-vermogen</a:t>
            </a:r>
            <a:endParaRPr lang="nl-NL" sz="1400">
              <a:solidFill>
                <a:srgbClr val="000000"/>
              </a:solidFill>
              <a:latin typeface="Arial"/>
              <a:cs typeface="Arial"/>
            </a:endParaRPr>
          </a:p>
          <a:p>
            <a:pPr marL="180975" indent="-180975" defTabSz="457189">
              <a:buFont typeface="Arial" panose="020B0604020202020204" pitchFamily="34" charset="0"/>
              <a:buChar char="•"/>
              <a:defRPr/>
            </a:pPr>
            <a:r>
              <a:rPr lang="nl-NL" sz="1400">
                <a:solidFill>
                  <a:srgbClr val="000000"/>
                </a:solidFill>
                <a:latin typeface="Arial"/>
                <a:cs typeface="Arial"/>
              </a:rPr>
              <a:t>Externe begeleiding</a:t>
            </a:r>
          </a:p>
        </p:txBody>
      </p:sp>
      <p:cxnSp>
        <p:nvCxnSpPr>
          <p:cNvPr id="93" name="Straight Connector 19">
            <a:extLst>
              <a:ext uri="{FF2B5EF4-FFF2-40B4-BE49-F238E27FC236}">
                <a16:creationId xmlns:a16="http://schemas.microsoft.com/office/drawing/2014/main" id="{EC6B88DC-FE71-486F-A0A3-0D8F2C23B5C9}"/>
              </a:ext>
            </a:extLst>
          </p:cNvPr>
          <p:cNvCxnSpPr>
            <a:cxnSpLocks/>
          </p:cNvCxnSpPr>
          <p:nvPr/>
        </p:nvCxnSpPr>
        <p:spPr>
          <a:xfrm flipH="1">
            <a:off x="2687728" y="4856309"/>
            <a:ext cx="813796"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4" name="Rectangle 30">
            <a:extLst>
              <a:ext uri="{FF2B5EF4-FFF2-40B4-BE49-F238E27FC236}">
                <a16:creationId xmlns:a16="http://schemas.microsoft.com/office/drawing/2014/main" id="{4D1F9D2E-AA7F-4846-A4CB-397B5A7CFB6B}"/>
              </a:ext>
            </a:extLst>
          </p:cNvPr>
          <p:cNvSpPr>
            <a:spLocks/>
          </p:cNvSpPr>
          <p:nvPr/>
        </p:nvSpPr>
        <p:spPr>
          <a:xfrm>
            <a:off x="8749684" y="4269114"/>
            <a:ext cx="2004475" cy="1187794"/>
          </a:xfrm>
          <a:prstGeom prst="rect">
            <a:avLst/>
          </a:prstGeom>
          <a:solidFill>
            <a:schemeClr val="bg2"/>
          </a:solidFill>
          <a:ln w="6350" cap="sq">
            <a:solidFill>
              <a:srgbClr val="7F7F7F"/>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95" name="TextBox 2">
            <a:extLst>
              <a:ext uri="{FF2B5EF4-FFF2-40B4-BE49-F238E27FC236}">
                <a16:creationId xmlns:a16="http://schemas.microsoft.com/office/drawing/2014/main" id="{DA8C970E-CD11-47C7-862E-66464A835EE8}"/>
              </a:ext>
            </a:extLst>
          </p:cNvPr>
          <p:cNvSpPr txBox="1">
            <a:spLocks/>
          </p:cNvSpPr>
          <p:nvPr/>
        </p:nvSpPr>
        <p:spPr>
          <a:xfrm>
            <a:off x="8842291" y="4305688"/>
            <a:ext cx="1819263" cy="107721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err="1">
                <a:cs typeface="Times New Roman" panose="02020603050405020304" pitchFamily="18" charset="0"/>
              </a:rPr>
              <a:t>Systemen</a:t>
            </a:r>
            <a:r>
              <a:rPr lang="en-US" b="1">
                <a:cs typeface="Times New Roman" panose="02020603050405020304" pitchFamily="18" charset="0"/>
              </a:rPr>
              <a:t> en </a:t>
            </a:r>
            <a:r>
              <a:rPr lang="en-US" b="1" err="1">
                <a:cs typeface="Times New Roman" panose="02020603050405020304" pitchFamily="18" charset="0"/>
              </a:rPr>
              <a:t>processen</a:t>
            </a:r>
            <a:endParaRPr lang="en-US" b="1">
              <a:cs typeface="Times New Roman" panose="02020603050405020304" pitchFamily="18" charset="0"/>
            </a:endParaRPr>
          </a:p>
          <a:p>
            <a:pPr marL="180975" indent="-180975" defTabSz="457189">
              <a:buFont typeface="Arial" panose="020B0604020202020204" pitchFamily="34" charset="0"/>
              <a:buChar char="•"/>
              <a:defRPr/>
            </a:pPr>
            <a:r>
              <a:rPr lang="nl-NL" sz="1400">
                <a:solidFill>
                  <a:srgbClr val="000000"/>
                </a:solidFill>
                <a:latin typeface="Arial"/>
                <a:cs typeface="Arial"/>
              </a:rPr>
              <a:t>Tijd voor leraren</a:t>
            </a:r>
          </a:p>
          <a:p>
            <a:pPr marL="180975" indent="-180975" defTabSz="457189">
              <a:buFont typeface="Arial" panose="020B0604020202020204" pitchFamily="34" charset="0"/>
              <a:buChar char="•"/>
              <a:defRPr/>
            </a:pPr>
            <a:r>
              <a:rPr lang="nl-NL" sz="1400">
                <a:solidFill>
                  <a:srgbClr val="000000"/>
                </a:solidFill>
                <a:latin typeface="Arial"/>
                <a:cs typeface="Arial"/>
              </a:rPr>
              <a:t>Organisatiestructuur</a:t>
            </a:r>
          </a:p>
        </p:txBody>
      </p:sp>
      <p:cxnSp>
        <p:nvCxnSpPr>
          <p:cNvPr id="96" name="Straight Connector 19">
            <a:extLst>
              <a:ext uri="{FF2B5EF4-FFF2-40B4-BE49-F238E27FC236}">
                <a16:creationId xmlns:a16="http://schemas.microsoft.com/office/drawing/2014/main" id="{31A706F6-2058-447F-B739-EFF3DDFE77B0}"/>
              </a:ext>
            </a:extLst>
          </p:cNvPr>
          <p:cNvCxnSpPr>
            <a:cxnSpLocks/>
          </p:cNvCxnSpPr>
          <p:nvPr/>
        </p:nvCxnSpPr>
        <p:spPr>
          <a:xfrm flipH="1">
            <a:off x="7942334" y="4856309"/>
            <a:ext cx="813796"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7" name="Rectangle 30">
            <a:extLst>
              <a:ext uri="{FF2B5EF4-FFF2-40B4-BE49-F238E27FC236}">
                <a16:creationId xmlns:a16="http://schemas.microsoft.com/office/drawing/2014/main" id="{F11E4954-4922-45BE-BE40-E0FAEA998F8C}"/>
              </a:ext>
            </a:extLst>
          </p:cNvPr>
          <p:cNvSpPr>
            <a:spLocks/>
          </p:cNvSpPr>
          <p:nvPr/>
        </p:nvSpPr>
        <p:spPr>
          <a:xfrm>
            <a:off x="8749684" y="1810667"/>
            <a:ext cx="2004475" cy="961108"/>
          </a:xfrm>
          <a:prstGeom prst="rect">
            <a:avLst/>
          </a:prstGeom>
          <a:solidFill>
            <a:schemeClr val="bg2"/>
          </a:solidFill>
          <a:ln w="6350" cap="sq">
            <a:solidFill>
              <a:srgbClr val="7F7F7F"/>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98" name="TextBox 2">
            <a:extLst>
              <a:ext uri="{FF2B5EF4-FFF2-40B4-BE49-F238E27FC236}">
                <a16:creationId xmlns:a16="http://schemas.microsoft.com/office/drawing/2014/main" id="{13FF6078-106B-494C-AF14-C2F16D352F82}"/>
              </a:ext>
            </a:extLst>
          </p:cNvPr>
          <p:cNvSpPr txBox="1">
            <a:spLocks/>
          </p:cNvSpPr>
          <p:nvPr/>
        </p:nvSpPr>
        <p:spPr>
          <a:xfrm>
            <a:off x="8842291" y="1847241"/>
            <a:ext cx="1819263" cy="75405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err="1">
                <a:cs typeface="Times New Roman" panose="02020603050405020304" pitchFamily="18" charset="0"/>
              </a:rPr>
              <a:t>Voorbeeldgedrag</a:t>
            </a:r>
            <a:endParaRPr lang="en-US" b="1">
              <a:cs typeface="Times New Roman" panose="02020603050405020304" pitchFamily="18" charset="0"/>
            </a:endParaRPr>
          </a:p>
          <a:p>
            <a:pPr marL="180975" indent="-180975" defTabSz="457189">
              <a:buFont typeface="Arial" panose="020B0604020202020204" pitchFamily="34" charset="0"/>
              <a:buChar char="•"/>
              <a:defRPr/>
            </a:pPr>
            <a:r>
              <a:rPr lang="nl-NL" sz="1400">
                <a:solidFill>
                  <a:srgbClr val="000000"/>
                </a:solidFill>
                <a:latin typeface="Arial"/>
                <a:cs typeface="Arial"/>
              </a:rPr>
              <a:t>Betrokkenheid schoolleider</a:t>
            </a:r>
          </a:p>
        </p:txBody>
      </p:sp>
      <p:cxnSp>
        <p:nvCxnSpPr>
          <p:cNvPr id="99" name="Straight Connector 19">
            <a:extLst>
              <a:ext uri="{FF2B5EF4-FFF2-40B4-BE49-F238E27FC236}">
                <a16:creationId xmlns:a16="http://schemas.microsoft.com/office/drawing/2014/main" id="{9363C970-355A-44EB-ADAC-6E9C873C3FB6}"/>
              </a:ext>
            </a:extLst>
          </p:cNvPr>
          <p:cNvCxnSpPr>
            <a:cxnSpLocks/>
          </p:cNvCxnSpPr>
          <p:nvPr/>
        </p:nvCxnSpPr>
        <p:spPr>
          <a:xfrm flipH="1">
            <a:off x="7942334" y="2293087"/>
            <a:ext cx="813796"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5059620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Rectangle 72">
            <a:extLst>
              <a:ext uri="{FF2B5EF4-FFF2-40B4-BE49-F238E27FC236}">
                <a16:creationId xmlns:a16="http://schemas.microsoft.com/office/drawing/2014/main" id="{B7A7A571-DF7C-43CD-BCBC-CC94D86F5A19}"/>
              </a:ext>
            </a:extLst>
          </p:cNvPr>
          <p:cNvSpPr/>
          <p:nvPr/>
        </p:nvSpPr>
        <p:spPr>
          <a:xfrm>
            <a:off x="3949701" y="3791795"/>
            <a:ext cx="1511300" cy="856405"/>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4" name="Rectangle 73">
            <a:extLst>
              <a:ext uri="{FF2B5EF4-FFF2-40B4-BE49-F238E27FC236}">
                <a16:creationId xmlns:a16="http://schemas.microsoft.com/office/drawing/2014/main" id="{9B65512B-DEDF-4928-B5F5-8FC86D6B67B4}"/>
              </a:ext>
            </a:extLst>
          </p:cNvPr>
          <p:cNvSpPr/>
          <p:nvPr/>
        </p:nvSpPr>
        <p:spPr>
          <a:xfrm>
            <a:off x="5503246" y="3398095"/>
            <a:ext cx="1511300" cy="1244443"/>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5" name="Rectangle 74">
            <a:extLst>
              <a:ext uri="{FF2B5EF4-FFF2-40B4-BE49-F238E27FC236}">
                <a16:creationId xmlns:a16="http://schemas.microsoft.com/office/drawing/2014/main" id="{AF7D5FFA-B061-4FF0-88E5-A481B1C57187}"/>
              </a:ext>
            </a:extLst>
          </p:cNvPr>
          <p:cNvSpPr/>
          <p:nvPr/>
        </p:nvSpPr>
        <p:spPr>
          <a:xfrm>
            <a:off x="7056791" y="3017095"/>
            <a:ext cx="1511300" cy="1622135"/>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6" name="Rectangle 75">
            <a:extLst>
              <a:ext uri="{FF2B5EF4-FFF2-40B4-BE49-F238E27FC236}">
                <a16:creationId xmlns:a16="http://schemas.microsoft.com/office/drawing/2014/main" id="{4C6D3C4C-895F-44D1-8019-32D5E3ABC1D6}"/>
              </a:ext>
            </a:extLst>
          </p:cNvPr>
          <p:cNvSpPr/>
          <p:nvPr/>
        </p:nvSpPr>
        <p:spPr>
          <a:xfrm>
            <a:off x="8610337" y="2636095"/>
            <a:ext cx="1511300" cy="2003135"/>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graphicFrame>
        <p:nvGraphicFramePr>
          <p:cNvPr id="6" name="Object 2" hidden="1">
            <a:extLst>
              <a:ext uri="{FF2B5EF4-FFF2-40B4-BE49-F238E27FC236}">
                <a16:creationId xmlns:a16="http://schemas.microsoft.com/office/drawing/2014/main" id="{5B485DF3-439B-4963-BDFE-AC5558171C9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23" name="think-cell Slide" r:id="rId7" imgW="395" imgH="394" progId="TCLayout.ActiveDocument.1">
                  <p:embed/>
                </p:oleObj>
              </mc:Choice>
              <mc:Fallback>
                <p:oleObj name="think-cell Slide" r:id="rId7" imgW="395" imgH="394" progId="TCLayout.ActiveDocument.1">
                  <p:embed/>
                  <p:pic>
                    <p:nvPicPr>
                      <p:cNvPr id="6" name="Object 2" hidden="1">
                        <a:extLst>
                          <a:ext uri="{FF2B5EF4-FFF2-40B4-BE49-F238E27FC236}">
                            <a16:creationId xmlns:a16="http://schemas.microsoft.com/office/drawing/2014/main" id="{5B485DF3-439B-4963-BDFE-AC5558171C9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Rectangle 1" hidden="1">
            <a:extLst>
              <a:ext uri="{FF2B5EF4-FFF2-40B4-BE49-F238E27FC236}">
                <a16:creationId xmlns:a16="http://schemas.microsoft.com/office/drawing/2014/main" id="{1A14C10C-48E3-4FBF-89B6-5DDA2F098BB7}"/>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err="1">
              <a:solidFill>
                <a:schemeClr val="bg1"/>
              </a:solidFill>
              <a:latin typeface="Calibri" panose="020F0502020204030204" pitchFamily="34" charset="0"/>
              <a:ea typeface="+mj-ea"/>
              <a:cs typeface="+mj-cs"/>
              <a:sym typeface="Calibri" panose="020F0502020204030204" pitchFamily="34" charset="0"/>
            </a:endParaRPr>
          </a:p>
        </p:txBody>
      </p:sp>
      <p:sp>
        <p:nvSpPr>
          <p:cNvPr id="2" name="2. Slide Title">
            <a:extLst>
              <a:ext uri="{FF2B5EF4-FFF2-40B4-BE49-F238E27FC236}">
                <a16:creationId xmlns:a16="http://schemas.microsoft.com/office/drawing/2014/main" id="{779F8892-6158-4B73-B6C6-9C646BEAC748}"/>
              </a:ext>
            </a:extLst>
          </p:cNvPr>
          <p:cNvSpPr>
            <a:spLocks noGrp="1"/>
          </p:cNvSpPr>
          <p:nvPr>
            <p:ph type="title"/>
            <p:custDataLst>
              <p:tags r:id="rId4"/>
            </p:custDataLst>
          </p:nvPr>
        </p:nvSpPr>
        <p:spPr>
          <a:xfrm>
            <a:off x="554737" y="144451"/>
            <a:ext cx="11082528" cy="769441"/>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dirty="0" err="1"/>
              <a:t>Uit</a:t>
            </a:r>
            <a:r>
              <a:rPr lang="en-US" dirty="0"/>
              <a:t> </a:t>
            </a:r>
            <a:r>
              <a:rPr lang="en-US" dirty="0" err="1"/>
              <a:t>onderzoek</a:t>
            </a:r>
            <a:r>
              <a:rPr lang="en-US" dirty="0"/>
              <a:t> van de </a:t>
            </a:r>
            <a:r>
              <a:rPr lang="en-US" dirty="0" err="1"/>
              <a:t>Universiteit</a:t>
            </a:r>
            <a:r>
              <a:rPr lang="en-US" dirty="0"/>
              <a:t> Utrecht </a:t>
            </a:r>
            <a:r>
              <a:rPr lang="en-US" dirty="0" err="1"/>
              <a:t>lijkt</a:t>
            </a:r>
            <a:r>
              <a:rPr lang="en-US" dirty="0"/>
              <a:t> dat het </a:t>
            </a:r>
            <a:r>
              <a:rPr lang="en-US" dirty="0" err="1"/>
              <a:t>kan</a:t>
            </a:r>
            <a:r>
              <a:rPr lang="en-US" dirty="0"/>
              <a:t>: </a:t>
            </a:r>
            <a:br>
              <a:rPr lang="en-US" dirty="0"/>
            </a:br>
            <a:r>
              <a:rPr lang="en-US" i="1" dirty="0"/>
              <a:t>In </a:t>
            </a:r>
            <a:r>
              <a:rPr lang="en-US" i="1" dirty="0" err="1"/>
              <a:t>één</a:t>
            </a:r>
            <a:r>
              <a:rPr lang="en-US" i="1" dirty="0"/>
              <a:t> </a:t>
            </a:r>
            <a:r>
              <a:rPr lang="en-US" i="1" dirty="0" err="1"/>
              <a:t>jaar</a:t>
            </a:r>
            <a:r>
              <a:rPr lang="en-US" i="1" dirty="0"/>
              <a:t> een </a:t>
            </a:r>
            <a:r>
              <a:rPr lang="en-US" i="1" dirty="0" err="1"/>
              <a:t>lerende</a:t>
            </a:r>
            <a:r>
              <a:rPr lang="en-US" i="1" dirty="0"/>
              <a:t> </a:t>
            </a:r>
            <a:r>
              <a:rPr lang="en-US" i="1" dirty="0" err="1"/>
              <a:t>cultuur</a:t>
            </a:r>
            <a:r>
              <a:rPr lang="en-US" i="1" dirty="0"/>
              <a:t> </a:t>
            </a:r>
            <a:r>
              <a:rPr lang="en-US" i="1" dirty="0" err="1"/>
              <a:t>en</a:t>
            </a:r>
            <a:r>
              <a:rPr lang="en-US" i="1" dirty="0"/>
              <a:t> </a:t>
            </a:r>
            <a:r>
              <a:rPr lang="en-US" i="1" dirty="0" err="1"/>
              <a:t>leraren</a:t>
            </a:r>
            <a:r>
              <a:rPr lang="en-US" i="1" dirty="0"/>
              <a:t> </a:t>
            </a:r>
            <a:r>
              <a:rPr lang="en-US" i="1" dirty="0" err="1"/>
              <a:t>sterker</a:t>
            </a:r>
            <a:r>
              <a:rPr lang="en-US" i="1" dirty="0"/>
              <a:t> in </a:t>
            </a:r>
            <a:r>
              <a:rPr lang="en-US" i="1" dirty="0" err="1"/>
              <a:t>hun</a:t>
            </a:r>
            <a:r>
              <a:rPr lang="en-US" i="1" dirty="0"/>
              <a:t> </a:t>
            </a:r>
            <a:r>
              <a:rPr lang="en-US" i="1" dirty="0" err="1"/>
              <a:t>vak</a:t>
            </a:r>
            <a:endParaRPr lang="en-US" i="1" dirty="0"/>
          </a:p>
        </p:txBody>
      </p:sp>
      <p:sp>
        <p:nvSpPr>
          <p:cNvPr id="25" name="TextBox 24">
            <a:extLst>
              <a:ext uri="{FF2B5EF4-FFF2-40B4-BE49-F238E27FC236}">
                <a16:creationId xmlns:a16="http://schemas.microsoft.com/office/drawing/2014/main" id="{BAF96305-E247-46A0-992A-CB872E4C7904}"/>
              </a:ext>
            </a:extLst>
          </p:cNvPr>
          <p:cNvSpPr txBox="1">
            <a:spLocks/>
          </p:cNvSpPr>
          <p:nvPr/>
        </p:nvSpPr>
        <p:spPr>
          <a:xfrm>
            <a:off x="554738" y="1333500"/>
            <a:ext cx="1836038" cy="458587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nl-NL" sz="1800">
                <a:cs typeface="+mn-cs"/>
              </a:rPr>
              <a:t>Tussen 2018 en 2020 hebben de Universiteit Utrecht en onderzoeks-bureau Oberon onderzocht </a:t>
            </a:r>
            <a:r>
              <a:rPr lang="nl-NL" sz="1800" b="1">
                <a:cs typeface="+mn-cs"/>
              </a:rPr>
              <a:t>wat de impact van werken met een verbetercultuur is</a:t>
            </a:r>
          </a:p>
          <a:p>
            <a:endParaRPr lang="nl-NL" sz="1800">
              <a:cs typeface="+mn-cs"/>
            </a:endParaRPr>
          </a:p>
          <a:p>
            <a:r>
              <a:rPr lang="nl-NL" sz="1800">
                <a:cs typeface="+mn-cs"/>
              </a:rPr>
              <a:t>Zij hebben hiervoor 231 scholen in PO, VO en MBO onderzocht die met leerKRACHT werken</a:t>
            </a:r>
            <a:endParaRPr lang="nl-NL" sz="1800" b="1">
              <a:cs typeface="+mn-cs"/>
            </a:endParaRPr>
          </a:p>
        </p:txBody>
      </p:sp>
      <p:cxnSp>
        <p:nvCxnSpPr>
          <p:cNvPr id="4" name="Straight Connector 3">
            <a:extLst>
              <a:ext uri="{FF2B5EF4-FFF2-40B4-BE49-F238E27FC236}">
                <a16:creationId xmlns:a16="http://schemas.microsoft.com/office/drawing/2014/main" id="{CF5DAFDA-DBA8-48F7-92A9-93600D9E0852}"/>
              </a:ext>
            </a:extLst>
          </p:cNvPr>
          <p:cNvCxnSpPr>
            <a:cxnSpLocks/>
          </p:cNvCxnSpPr>
          <p:nvPr/>
        </p:nvCxnSpPr>
        <p:spPr>
          <a:xfrm>
            <a:off x="2593848" y="1333500"/>
            <a:ext cx="0" cy="5049156"/>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60DE3D63-67C5-4F79-860F-F1B7BDE159A7}"/>
              </a:ext>
            </a:extLst>
          </p:cNvPr>
          <p:cNvSpPr txBox="1">
            <a:spLocks/>
          </p:cNvSpPr>
          <p:nvPr/>
        </p:nvSpPr>
        <p:spPr>
          <a:xfrm>
            <a:off x="2796922" y="1333500"/>
            <a:ext cx="8840344" cy="30777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nl-NL" sz="2000" b="1">
                <a:cs typeface="+mn-cs"/>
              </a:rPr>
              <a:t>Methode &amp; conclusies</a:t>
            </a:r>
            <a:endParaRPr lang="en-GB" sz="2000">
              <a:cs typeface="+mn-cs"/>
            </a:endParaRPr>
          </a:p>
        </p:txBody>
      </p:sp>
      <p:sp>
        <p:nvSpPr>
          <p:cNvPr id="31" name="Rectangle 30">
            <a:extLst>
              <a:ext uri="{FF2B5EF4-FFF2-40B4-BE49-F238E27FC236}">
                <a16:creationId xmlns:a16="http://schemas.microsoft.com/office/drawing/2014/main" id="{10B791BD-8716-4160-B048-D0BC06A0BD38}"/>
              </a:ext>
            </a:extLst>
          </p:cNvPr>
          <p:cNvSpPr>
            <a:spLocks/>
          </p:cNvSpPr>
          <p:nvPr/>
        </p:nvSpPr>
        <p:spPr>
          <a:xfrm>
            <a:off x="2796922" y="4896276"/>
            <a:ext cx="2004475" cy="1486380"/>
          </a:xfrm>
          <a:prstGeom prst="rect">
            <a:avLst/>
          </a:prstGeom>
          <a:solidFill>
            <a:schemeClr val="bg2"/>
          </a:solidFill>
          <a:ln w="6350" cap="sq">
            <a:solidFill>
              <a:srgbClr val="7F7F7F"/>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 name="TextBox 2">
            <a:extLst>
              <a:ext uri="{FF2B5EF4-FFF2-40B4-BE49-F238E27FC236}">
                <a16:creationId xmlns:a16="http://schemas.microsoft.com/office/drawing/2014/main" id="{13A8AA43-DC68-4A69-95C2-B15E7F98DCFF}"/>
              </a:ext>
            </a:extLst>
          </p:cNvPr>
          <p:cNvSpPr txBox="1">
            <a:spLocks/>
          </p:cNvSpPr>
          <p:nvPr/>
        </p:nvSpPr>
        <p:spPr>
          <a:xfrm>
            <a:off x="2889529" y="4932850"/>
            <a:ext cx="1819263" cy="14003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err="1">
                <a:cs typeface="Times New Roman" panose="02020603050405020304" pitchFamily="18" charset="0"/>
              </a:rPr>
              <a:t>Uitvoering</a:t>
            </a:r>
            <a:endParaRPr lang="en-US" b="1">
              <a:cs typeface="Times New Roman" panose="02020603050405020304" pitchFamily="18" charset="0"/>
            </a:endParaRPr>
          </a:p>
          <a:p>
            <a:r>
              <a:rPr lang="nl-NL" sz="1400">
                <a:cs typeface="Times New Roman" panose="02020603050405020304" pitchFamily="18" charset="0"/>
              </a:rPr>
              <a:t>De samenwerking binnen teams op deelnemende scholen is zeer intensief en blijkt duurzaam. </a:t>
            </a:r>
            <a:endParaRPr lang="en-US" sz="1400">
              <a:cs typeface="Times New Roman" panose="02020603050405020304" pitchFamily="18" charset="0"/>
            </a:endParaRPr>
          </a:p>
        </p:txBody>
      </p:sp>
      <p:sp>
        <p:nvSpPr>
          <p:cNvPr id="34" name="Rectangle 33">
            <a:extLst>
              <a:ext uri="{FF2B5EF4-FFF2-40B4-BE49-F238E27FC236}">
                <a16:creationId xmlns:a16="http://schemas.microsoft.com/office/drawing/2014/main" id="{9B8B9303-754E-4613-A327-8B50F96E7845}"/>
              </a:ext>
            </a:extLst>
          </p:cNvPr>
          <p:cNvSpPr>
            <a:spLocks/>
          </p:cNvSpPr>
          <p:nvPr/>
        </p:nvSpPr>
        <p:spPr>
          <a:xfrm>
            <a:off x="5075545" y="4896276"/>
            <a:ext cx="2004475" cy="1486380"/>
          </a:xfrm>
          <a:prstGeom prst="rect">
            <a:avLst/>
          </a:prstGeom>
          <a:solidFill>
            <a:schemeClr val="bg2"/>
          </a:solidFill>
          <a:ln w="6350" cap="sq">
            <a:solidFill>
              <a:srgbClr val="7F7F7F"/>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9" name="TextBox 8">
            <a:extLst>
              <a:ext uri="{FF2B5EF4-FFF2-40B4-BE49-F238E27FC236}">
                <a16:creationId xmlns:a16="http://schemas.microsoft.com/office/drawing/2014/main" id="{3CC01928-7996-4EE6-8FB4-D374D1DA1F0A}"/>
              </a:ext>
            </a:extLst>
          </p:cNvPr>
          <p:cNvSpPr txBox="1">
            <a:spLocks/>
          </p:cNvSpPr>
          <p:nvPr/>
        </p:nvSpPr>
        <p:spPr>
          <a:xfrm>
            <a:off x="5168152" y="4932850"/>
            <a:ext cx="1819263" cy="129266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err="1">
                <a:cs typeface="Times New Roman" panose="02020603050405020304" pitchFamily="18" charset="0"/>
              </a:rPr>
              <a:t>Enthousiasme</a:t>
            </a:r>
            <a:r>
              <a:rPr lang="en-US">
                <a:cs typeface="Times New Roman" panose="02020603050405020304" pitchFamily="18" charset="0"/>
              </a:rPr>
              <a:t> </a:t>
            </a:r>
          </a:p>
          <a:p>
            <a:r>
              <a:rPr lang="nl-NL" sz="1400">
                <a:cs typeface="Times New Roman" panose="02020603050405020304" pitchFamily="18" charset="0"/>
              </a:rPr>
              <a:t>Deelnemers (leraren en schoolleiders) zijn positief</a:t>
            </a:r>
          </a:p>
          <a:p>
            <a:endParaRPr lang="en-US"/>
          </a:p>
        </p:txBody>
      </p:sp>
      <p:sp>
        <p:nvSpPr>
          <p:cNvPr id="35" name="Rectangle 34">
            <a:extLst>
              <a:ext uri="{FF2B5EF4-FFF2-40B4-BE49-F238E27FC236}">
                <a16:creationId xmlns:a16="http://schemas.microsoft.com/office/drawing/2014/main" id="{C006A125-855A-4B44-8A67-9C83352CF593}"/>
              </a:ext>
            </a:extLst>
          </p:cNvPr>
          <p:cNvSpPr>
            <a:spLocks/>
          </p:cNvSpPr>
          <p:nvPr/>
        </p:nvSpPr>
        <p:spPr>
          <a:xfrm>
            <a:off x="7354168" y="4896276"/>
            <a:ext cx="2004475" cy="1486380"/>
          </a:xfrm>
          <a:prstGeom prst="rect">
            <a:avLst/>
          </a:prstGeom>
          <a:solidFill>
            <a:schemeClr val="bg2"/>
          </a:solidFill>
          <a:ln w="6350" cap="sq">
            <a:solidFill>
              <a:srgbClr val="7F7F7F"/>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6" name="TextBox 25">
            <a:extLst>
              <a:ext uri="{FF2B5EF4-FFF2-40B4-BE49-F238E27FC236}">
                <a16:creationId xmlns:a16="http://schemas.microsoft.com/office/drawing/2014/main" id="{B3F90015-AFAE-4904-BA50-5BA9C5DA55A3}"/>
              </a:ext>
            </a:extLst>
          </p:cNvPr>
          <p:cNvSpPr txBox="1">
            <a:spLocks/>
          </p:cNvSpPr>
          <p:nvPr/>
        </p:nvSpPr>
        <p:spPr>
          <a:xfrm>
            <a:off x="7446775" y="4932850"/>
            <a:ext cx="1819263" cy="118494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err="1">
                <a:cs typeface="Times New Roman" panose="02020603050405020304" pitchFamily="18" charset="0"/>
              </a:rPr>
              <a:t>Cultuur</a:t>
            </a:r>
            <a:r>
              <a:rPr lang="en-US">
                <a:cs typeface="Times New Roman" panose="02020603050405020304" pitchFamily="18" charset="0"/>
              </a:rPr>
              <a:t> </a:t>
            </a:r>
          </a:p>
          <a:p>
            <a:r>
              <a:rPr lang="nl-NL" sz="1400">
                <a:cs typeface="Times New Roman" panose="02020603050405020304" pitchFamily="18" charset="0"/>
              </a:rPr>
              <a:t>De manier van werken creëert binnen één jaar een verbetercultuur op school </a:t>
            </a:r>
            <a:endParaRPr lang="en-US" sz="1400">
              <a:cs typeface="Times New Roman" panose="02020603050405020304" pitchFamily="18" charset="0"/>
            </a:endParaRPr>
          </a:p>
        </p:txBody>
      </p:sp>
      <p:sp>
        <p:nvSpPr>
          <p:cNvPr id="36" name="Rectangle 35">
            <a:extLst>
              <a:ext uri="{FF2B5EF4-FFF2-40B4-BE49-F238E27FC236}">
                <a16:creationId xmlns:a16="http://schemas.microsoft.com/office/drawing/2014/main" id="{C3AADBDB-F36D-4700-9931-8EFFF6C05C40}"/>
              </a:ext>
            </a:extLst>
          </p:cNvPr>
          <p:cNvSpPr>
            <a:spLocks/>
          </p:cNvSpPr>
          <p:nvPr/>
        </p:nvSpPr>
        <p:spPr>
          <a:xfrm>
            <a:off x="9632791" y="4896276"/>
            <a:ext cx="2004475" cy="1486380"/>
          </a:xfrm>
          <a:prstGeom prst="rect">
            <a:avLst/>
          </a:prstGeom>
          <a:solidFill>
            <a:schemeClr val="bg2"/>
          </a:solidFill>
          <a:ln w="6350" cap="sq">
            <a:solidFill>
              <a:srgbClr val="7F7F7F"/>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8" name="TextBox 27">
            <a:extLst>
              <a:ext uri="{FF2B5EF4-FFF2-40B4-BE49-F238E27FC236}">
                <a16:creationId xmlns:a16="http://schemas.microsoft.com/office/drawing/2014/main" id="{23884C57-5D10-48EF-A50B-B4A4AF79F5EA}"/>
              </a:ext>
            </a:extLst>
          </p:cNvPr>
          <p:cNvSpPr txBox="1">
            <a:spLocks/>
          </p:cNvSpPr>
          <p:nvPr/>
        </p:nvSpPr>
        <p:spPr>
          <a:xfrm>
            <a:off x="9725397" y="4932850"/>
            <a:ext cx="1819263" cy="118494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err="1">
                <a:cs typeface="Times New Roman" panose="02020603050405020304" pitchFamily="18" charset="0"/>
              </a:rPr>
              <a:t>Leraarhandelen</a:t>
            </a:r>
            <a:r>
              <a:rPr lang="en-US" b="1">
                <a:cs typeface="Times New Roman" panose="02020603050405020304" pitchFamily="18" charset="0"/>
              </a:rPr>
              <a:t> </a:t>
            </a:r>
          </a:p>
          <a:p>
            <a:r>
              <a:rPr lang="nl-NL" sz="1400">
                <a:cs typeface="Times New Roman" panose="02020603050405020304" pitchFamily="18" charset="0"/>
              </a:rPr>
              <a:t>Leraren zijn na één jaar zo werken al significant sterker in hun handelen voor de klas</a:t>
            </a:r>
            <a:endParaRPr lang="en-US" sz="1400">
              <a:cs typeface="Times New Roman" panose="02020603050405020304" pitchFamily="18" charset="0"/>
            </a:endParaRPr>
          </a:p>
        </p:txBody>
      </p:sp>
      <p:sp>
        <p:nvSpPr>
          <p:cNvPr id="29" name="Freeform: Shape 28">
            <a:extLst>
              <a:ext uri="{FF2B5EF4-FFF2-40B4-BE49-F238E27FC236}">
                <a16:creationId xmlns:a16="http://schemas.microsoft.com/office/drawing/2014/main" id="{07DD2F5D-E117-4844-8306-87A4D4163024}"/>
              </a:ext>
            </a:extLst>
          </p:cNvPr>
          <p:cNvSpPr/>
          <p:nvPr/>
        </p:nvSpPr>
        <p:spPr>
          <a:xfrm>
            <a:off x="3915769" y="3763707"/>
            <a:ext cx="1540029" cy="390728"/>
          </a:xfrm>
          <a:custGeom>
            <a:avLst/>
            <a:gdLst>
              <a:gd name="connsiteX0" fmla="*/ 0 w 2157038"/>
              <a:gd name="connsiteY0" fmla="*/ 528069 h 524392"/>
              <a:gd name="connsiteX1" fmla="*/ 0 w 2157038"/>
              <a:gd name="connsiteY1" fmla="*/ 0 h 524392"/>
              <a:gd name="connsiteX2" fmla="*/ 2161471 w 2157038"/>
              <a:gd name="connsiteY2" fmla="*/ 0 h 524392"/>
            </a:gdLst>
            <a:ahLst/>
            <a:cxnLst>
              <a:cxn ang="0">
                <a:pos x="connsiteX0" y="connsiteY0"/>
              </a:cxn>
              <a:cxn ang="0">
                <a:pos x="connsiteX1" y="connsiteY1"/>
              </a:cxn>
              <a:cxn ang="0">
                <a:pos x="connsiteX2" y="connsiteY2"/>
              </a:cxn>
            </a:cxnLst>
            <a:rect l="l" t="t" r="r" b="b"/>
            <a:pathLst>
              <a:path w="2157038" h="524392">
                <a:moveTo>
                  <a:pt x="0" y="528069"/>
                </a:moveTo>
                <a:lnTo>
                  <a:pt x="0" y="0"/>
                </a:lnTo>
                <a:lnTo>
                  <a:pt x="2161471" y="0"/>
                </a:lnTo>
              </a:path>
            </a:pathLst>
          </a:custGeom>
          <a:noFill/>
          <a:ln w="19050" cap="sq">
            <a:solidFill>
              <a:schemeClr val="tx1"/>
            </a:solidFill>
            <a:prstDash val="solid"/>
            <a:miter/>
          </a:ln>
        </p:spPr>
        <p:txBody>
          <a:bodyPr rtlCol="0" anchor="ctr"/>
          <a:lstStyle/>
          <a:p>
            <a:endParaRPr lang="en-US" sz="1600"/>
          </a:p>
        </p:txBody>
      </p:sp>
      <p:sp>
        <p:nvSpPr>
          <p:cNvPr id="30" name="Freeform: Shape 29">
            <a:extLst>
              <a:ext uri="{FF2B5EF4-FFF2-40B4-BE49-F238E27FC236}">
                <a16:creationId xmlns:a16="http://schemas.microsoft.com/office/drawing/2014/main" id="{22746A6D-445B-4EF3-BC38-1C23E710FFB8}"/>
              </a:ext>
            </a:extLst>
          </p:cNvPr>
          <p:cNvSpPr/>
          <p:nvPr/>
        </p:nvSpPr>
        <p:spPr>
          <a:xfrm>
            <a:off x="5460907" y="3369225"/>
            <a:ext cx="1540029" cy="390728"/>
          </a:xfrm>
          <a:custGeom>
            <a:avLst/>
            <a:gdLst>
              <a:gd name="connsiteX0" fmla="*/ 0 w 2157038"/>
              <a:gd name="connsiteY0" fmla="*/ 528069 h 524392"/>
              <a:gd name="connsiteX1" fmla="*/ 0 w 2157038"/>
              <a:gd name="connsiteY1" fmla="*/ 0 h 524392"/>
              <a:gd name="connsiteX2" fmla="*/ 2161472 w 2157038"/>
              <a:gd name="connsiteY2" fmla="*/ 0 h 524392"/>
            </a:gdLst>
            <a:ahLst/>
            <a:cxnLst>
              <a:cxn ang="0">
                <a:pos x="connsiteX0" y="connsiteY0"/>
              </a:cxn>
              <a:cxn ang="0">
                <a:pos x="connsiteX1" y="connsiteY1"/>
              </a:cxn>
              <a:cxn ang="0">
                <a:pos x="connsiteX2" y="connsiteY2"/>
              </a:cxn>
            </a:cxnLst>
            <a:rect l="l" t="t" r="r" b="b"/>
            <a:pathLst>
              <a:path w="2157038" h="524392">
                <a:moveTo>
                  <a:pt x="0" y="528069"/>
                </a:moveTo>
                <a:lnTo>
                  <a:pt x="0" y="0"/>
                </a:lnTo>
                <a:lnTo>
                  <a:pt x="2161472" y="0"/>
                </a:lnTo>
              </a:path>
            </a:pathLst>
          </a:custGeom>
          <a:noFill/>
          <a:ln w="19050" cap="sq">
            <a:solidFill>
              <a:schemeClr val="tx1"/>
            </a:solidFill>
            <a:prstDash val="solid"/>
            <a:miter/>
          </a:ln>
        </p:spPr>
        <p:txBody>
          <a:bodyPr rtlCol="0" anchor="ctr"/>
          <a:lstStyle/>
          <a:p>
            <a:endParaRPr lang="en-US" sz="1600"/>
          </a:p>
        </p:txBody>
      </p:sp>
      <p:sp>
        <p:nvSpPr>
          <p:cNvPr id="32" name="Freeform: Shape 31">
            <a:extLst>
              <a:ext uri="{FF2B5EF4-FFF2-40B4-BE49-F238E27FC236}">
                <a16:creationId xmlns:a16="http://schemas.microsoft.com/office/drawing/2014/main" id="{9957753B-6FD9-4892-8F45-7AF90C37C3A3}"/>
              </a:ext>
            </a:extLst>
          </p:cNvPr>
          <p:cNvSpPr/>
          <p:nvPr/>
        </p:nvSpPr>
        <p:spPr>
          <a:xfrm>
            <a:off x="7005072" y="2974744"/>
            <a:ext cx="1540029" cy="390728"/>
          </a:xfrm>
          <a:custGeom>
            <a:avLst/>
            <a:gdLst>
              <a:gd name="connsiteX0" fmla="*/ 0 w 2157038"/>
              <a:gd name="connsiteY0" fmla="*/ 528069 h 524392"/>
              <a:gd name="connsiteX1" fmla="*/ 0 w 2157038"/>
              <a:gd name="connsiteY1" fmla="*/ 0 h 524392"/>
              <a:gd name="connsiteX2" fmla="*/ 2161471 w 2157038"/>
              <a:gd name="connsiteY2" fmla="*/ 0 h 524392"/>
            </a:gdLst>
            <a:ahLst/>
            <a:cxnLst>
              <a:cxn ang="0">
                <a:pos x="connsiteX0" y="connsiteY0"/>
              </a:cxn>
              <a:cxn ang="0">
                <a:pos x="connsiteX1" y="connsiteY1"/>
              </a:cxn>
              <a:cxn ang="0">
                <a:pos x="connsiteX2" y="connsiteY2"/>
              </a:cxn>
            </a:cxnLst>
            <a:rect l="l" t="t" r="r" b="b"/>
            <a:pathLst>
              <a:path w="2157038" h="524392">
                <a:moveTo>
                  <a:pt x="0" y="528069"/>
                </a:moveTo>
                <a:lnTo>
                  <a:pt x="0" y="0"/>
                </a:lnTo>
                <a:lnTo>
                  <a:pt x="2161471" y="0"/>
                </a:lnTo>
              </a:path>
            </a:pathLst>
          </a:custGeom>
          <a:noFill/>
          <a:ln w="19050" cap="sq">
            <a:solidFill>
              <a:schemeClr val="tx1"/>
            </a:solidFill>
            <a:prstDash val="solid"/>
            <a:miter/>
          </a:ln>
        </p:spPr>
        <p:txBody>
          <a:bodyPr rtlCol="0" anchor="ctr"/>
          <a:lstStyle/>
          <a:p>
            <a:endParaRPr lang="en-US" sz="1600"/>
          </a:p>
        </p:txBody>
      </p:sp>
      <p:sp>
        <p:nvSpPr>
          <p:cNvPr id="33" name="Freeform: Shape 32">
            <a:extLst>
              <a:ext uri="{FF2B5EF4-FFF2-40B4-BE49-F238E27FC236}">
                <a16:creationId xmlns:a16="http://schemas.microsoft.com/office/drawing/2014/main" id="{1BB4E815-FCD7-44AC-A38F-336EA6B8C244}"/>
              </a:ext>
            </a:extLst>
          </p:cNvPr>
          <p:cNvSpPr/>
          <p:nvPr/>
        </p:nvSpPr>
        <p:spPr>
          <a:xfrm>
            <a:off x="8552462" y="2579610"/>
            <a:ext cx="1540029" cy="390728"/>
          </a:xfrm>
          <a:custGeom>
            <a:avLst/>
            <a:gdLst>
              <a:gd name="connsiteX0" fmla="*/ 0 w 2157038"/>
              <a:gd name="connsiteY0" fmla="*/ 528069 h 524392"/>
              <a:gd name="connsiteX1" fmla="*/ 0 w 2157038"/>
              <a:gd name="connsiteY1" fmla="*/ 0 h 524392"/>
              <a:gd name="connsiteX2" fmla="*/ 2161471 w 2157038"/>
              <a:gd name="connsiteY2" fmla="*/ 0 h 524392"/>
            </a:gdLst>
            <a:ahLst/>
            <a:cxnLst>
              <a:cxn ang="0">
                <a:pos x="connsiteX0" y="connsiteY0"/>
              </a:cxn>
              <a:cxn ang="0">
                <a:pos x="connsiteX1" y="connsiteY1"/>
              </a:cxn>
              <a:cxn ang="0">
                <a:pos x="connsiteX2" y="connsiteY2"/>
              </a:cxn>
            </a:cxnLst>
            <a:rect l="l" t="t" r="r" b="b"/>
            <a:pathLst>
              <a:path w="2157038" h="524392">
                <a:moveTo>
                  <a:pt x="0" y="528069"/>
                </a:moveTo>
                <a:lnTo>
                  <a:pt x="0" y="0"/>
                </a:lnTo>
                <a:lnTo>
                  <a:pt x="2161471" y="0"/>
                </a:lnTo>
              </a:path>
            </a:pathLst>
          </a:custGeom>
          <a:noFill/>
          <a:ln w="19050" cap="sq">
            <a:solidFill>
              <a:schemeClr val="tx1"/>
            </a:solidFill>
            <a:prstDash val="solid"/>
            <a:miter/>
          </a:ln>
        </p:spPr>
        <p:txBody>
          <a:bodyPr rtlCol="0" anchor="ctr"/>
          <a:lstStyle/>
          <a:p>
            <a:endParaRPr lang="en-US" sz="1600"/>
          </a:p>
        </p:txBody>
      </p:sp>
      <p:sp>
        <p:nvSpPr>
          <p:cNvPr id="37" name="Freeform: Shape 36">
            <a:extLst>
              <a:ext uri="{FF2B5EF4-FFF2-40B4-BE49-F238E27FC236}">
                <a16:creationId xmlns:a16="http://schemas.microsoft.com/office/drawing/2014/main" id="{50AAD390-23D6-48CB-A71D-8540D77648EE}"/>
              </a:ext>
            </a:extLst>
          </p:cNvPr>
          <p:cNvSpPr/>
          <p:nvPr/>
        </p:nvSpPr>
        <p:spPr>
          <a:xfrm>
            <a:off x="10097237" y="2183862"/>
            <a:ext cx="1540029" cy="390728"/>
          </a:xfrm>
          <a:custGeom>
            <a:avLst/>
            <a:gdLst>
              <a:gd name="connsiteX0" fmla="*/ 0 w 2157038"/>
              <a:gd name="connsiteY0" fmla="*/ 528069 h 524392"/>
              <a:gd name="connsiteX1" fmla="*/ 0 w 2157038"/>
              <a:gd name="connsiteY1" fmla="*/ 0 h 524392"/>
              <a:gd name="connsiteX2" fmla="*/ 2161471 w 2157038"/>
              <a:gd name="connsiteY2" fmla="*/ 0 h 524392"/>
            </a:gdLst>
            <a:ahLst/>
            <a:cxnLst>
              <a:cxn ang="0">
                <a:pos x="connsiteX0" y="connsiteY0"/>
              </a:cxn>
              <a:cxn ang="0">
                <a:pos x="connsiteX1" y="connsiteY1"/>
              </a:cxn>
              <a:cxn ang="0">
                <a:pos x="connsiteX2" y="connsiteY2"/>
              </a:cxn>
            </a:cxnLst>
            <a:rect l="l" t="t" r="r" b="b"/>
            <a:pathLst>
              <a:path w="2157038" h="524392">
                <a:moveTo>
                  <a:pt x="0" y="528069"/>
                </a:moveTo>
                <a:lnTo>
                  <a:pt x="0" y="0"/>
                </a:lnTo>
                <a:lnTo>
                  <a:pt x="2161471" y="0"/>
                </a:lnTo>
              </a:path>
            </a:pathLst>
          </a:custGeom>
          <a:noFill/>
          <a:ln w="19050" cap="sq">
            <a:solidFill>
              <a:schemeClr val="tx1"/>
            </a:solidFill>
            <a:prstDash val="solid"/>
            <a:miter/>
          </a:ln>
        </p:spPr>
        <p:txBody>
          <a:bodyPr rtlCol="0" anchor="ctr"/>
          <a:lstStyle/>
          <a:p>
            <a:endParaRPr lang="en-US" sz="1600"/>
          </a:p>
        </p:txBody>
      </p:sp>
      <p:sp>
        <p:nvSpPr>
          <p:cNvPr id="38" name="TextBox 37">
            <a:extLst>
              <a:ext uri="{FF2B5EF4-FFF2-40B4-BE49-F238E27FC236}">
                <a16:creationId xmlns:a16="http://schemas.microsoft.com/office/drawing/2014/main" id="{0952D4A0-1B43-43C5-9ED0-F66982BA60A3}"/>
              </a:ext>
            </a:extLst>
          </p:cNvPr>
          <p:cNvSpPr txBox="1"/>
          <p:nvPr/>
        </p:nvSpPr>
        <p:spPr>
          <a:xfrm>
            <a:off x="5535978" y="3436119"/>
            <a:ext cx="1357309" cy="55399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nl-NL" sz="1200"/>
              <a:t>Vragenlijst bij 231 scholen, interviews bij 24 scholen</a:t>
            </a:r>
            <a:endParaRPr lang="en-US" sz="1200"/>
          </a:p>
        </p:txBody>
      </p:sp>
      <p:sp>
        <p:nvSpPr>
          <p:cNvPr id="39" name="TextBox 38">
            <a:extLst>
              <a:ext uri="{FF2B5EF4-FFF2-40B4-BE49-F238E27FC236}">
                <a16:creationId xmlns:a16="http://schemas.microsoft.com/office/drawing/2014/main" id="{D6D50D96-7E2F-44FF-9B0F-420F8B9C5C8D}"/>
              </a:ext>
            </a:extLst>
          </p:cNvPr>
          <p:cNvSpPr txBox="1"/>
          <p:nvPr/>
        </p:nvSpPr>
        <p:spPr>
          <a:xfrm>
            <a:off x="7080143" y="3041637"/>
            <a:ext cx="1357309" cy="55399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nl-NL" sz="1200"/>
              <a:t>Vragenlijst bij 98 scholen, interviews bij 24 scholen</a:t>
            </a:r>
            <a:endParaRPr lang="en-US" sz="1200"/>
          </a:p>
        </p:txBody>
      </p:sp>
      <p:sp>
        <p:nvSpPr>
          <p:cNvPr id="40" name="TextBox 39">
            <a:extLst>
              <a:ext uri="{FF2B5EF4-FFF2-40B4-BE49-F238E27FC236}">
                <a16:creationId xmlns:a16="http://schemas.microsoft.com/office/drawing/2014/main" id="{52550033-95A5-4373-820C-7627132D7D92}"/>
              </a:ext>
            </a:extLst>
          </p:cNvPr>
          <p:cNvSpPr txBox="1"/>
          <p:nvPr/>
        </p:nvSpPr>
        <p:spPr>
          <a:xfrm>
            <a:off x="8627532" y="2646503"/>
            <a:ext cx="1357309" cy="55399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err="1"/>
              <a:t>Lesobservaties</a:t>
            </a:r>
            <a:r>
              <a:rPr lang="en-US" sz="1200" dirty="0"/>
              <a:t> </a:t>
            </a:r>
            <a:r>
              <a:rPr lang="en-US" sz="1200" dirty="0" err="1"/>
              <a:t>bij</a:t>
            </a:r>
            <a:r>
              <a:rPr lang="en-US" sz="1200" dirty="0"/>
              <a:t> 19 scholen, interviews </a:t>
            </a:r>
            <a:r>
              <a:rPr lang="en-US" sz="1200" dirty="0" err="1"/>
              <a:t>bij</a:t>
            </a:r>
            <a:r>
              <a:rPr lang="en-US" sz="1200" dirty="0"/>
              <a:t> 24 scholen</a:t>
            </a:r>
          </a:p>
        </p:txBody>
      </p:sp>
      <p:sp>
        <p:nvSpPr>
          <p:cNvPr id="41" name="TextBox 40">
            <a:extLst>
              <a:ext uri="{FF2B5EF4-FFF2-40B4-BE49-F238E27FC236}">
                <a16:creationId xmlns:a16="http://schemas.microsoft.com/office/drawing/2014/main" id="{F9ED92A2-3DD1-47EC-9BE2-F285EF1D1EDE}"/>
              </a:ext>
            </a:extLst>
          </p:cNvPr>
          <p:cNvSpPr txBox="1"/>
          <p:nvPr/>
        </p:nvSpPr>
        <p:spPr>
          <a:xfrm>
            <a:off x="10172308" y="2250755"/>
            <a:ext cx="1357309"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err="1"/>
              <a:t>Volgt</a:t>
            </a:r>
            <a:r>
              <a:rPr lang="en-US" sz="1200"/>
              <a:t> </a:t>
            </a:r>
            <a:r>
              <a:rPr lang="en-US" sz="1200" err="1"/>
              <a:t>volgend</a:t>
            </a:r>
            <a:r>
              <a:rPr lang="en-US" sz="1200"/>
              <a:t> </a:t>
            </a:r>
            <a:r>
              <a:rPr lang="en-US" sz="1200" err="1"/>
              <a:t>jaar</a:t>
            </a:r>
            <a:endParaRPr lang="en-US" sz="1200"/>
          </a:p>
        </p:txBody>
      </p:sp>
      <p:sp>
        <p:nvSpPr>
          <p:cNvPr id="42" name="TextBox 41">
            <a:extLst>
              <a:ext uri="{FF2B5EF4-FFF2-40B4-BE49-F238E27FC236}">
                <a16:creationId xmlns:a16="http://schemas.microsoft.com/office/drawing/2014/main" id="{E4613D06-77E9-4C5F-9659-A5E6628E047B}"/>
              </a:ext>
            </a:extLst>
          </p:cNvPr>
          <p:cNvSpPr txBox="1"/>
          <p:nvPr/>
        </p:nvSpPr>
        <p:spPr>
          <a:xfrm>
            <a:off x="5519689" y="3124405"/>
            <a:ext cx="1357309" cy="184666"/>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err="1"/>
              <a:t>Enthousiasme</a:t>
            </a:r>
            <a:endParaRPr lang="en-US" sz="1200" b="1"/>
          </a:p>
        </p:txBody>
      </p:sp>
      <p:sp>
        <p:nvSpPr>
          <p:cNvPr id="43" name="TextBox 42">
            <a:extLst>
              <a:ext uri="{FF2B5EF4-FFF2-40B4-BE49-F238E27FC236}">
                <a16:creationId xmlns:a16="http://schemas.microsoft.com/office/drawing/2014/main" id="{EE09E3CD-EC87-4A25-ABF5-4738D774B463}"/>
              </a:ext>
            </a:extLst>
          </p:cNvPr>
          <p:cNvSpPr txBox="1"/>
          <p:nvPr/>
        </p:nvSpPr>
        <p:spPr>
          <a:xfrm>
            <a:off x="7063854" y="2729924"/>
            <a:ext cx="1357309" cy="184666"/>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err="1"/>
              <a:t>Schoolcultuur</a:t>
            </a:r>
            <a:endParaRPr lang="en-US" sz="1200" b="1"/>
          </a:p>
        </p:txBody>
      </p:sp>
      <p:sp>
        <p:nvSpPr>
          <p:cNvPr id="44" name="TextBox 43">
            <a:extLst>
              <a:ext uri="{FF2B5EF4-FFF2-40B4-BE49-F238E27FC236}">
                <a16:creationId xmlns:a16="http://schemas.microsoft.com/office/drawing/2014/main" id="{6B1620B8-D9B8-435D-8CC7-482245372211}"/>
              </a:ext>
            </a:extLst>
          </p:cNvPr>
          <p:cNvSpPr txBox="1"/>
          <p:nvPr/>
        </p:nvSpPr>
        <p:spPr>
          <a:xfrm>
            <a:off x="8611243" y="2150125"/>
            <a:ext cx="1357309" cy="369332"/>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err="1"/>
              <a:t>Leraar</a:t>
            </a:r>
            <a:r>
              <a:rPr lang="en-US" sz="1200" b="1"/>
              <a:t>-</a:t>
            </a:r>
            <a:br>
              <a:rPr lang="en-US" sz="1200" b="1"/>
            </a:br>
            <a:r>
              <a:rPr lang="en-US" sz="1200" b="1" err="1"/>
              <a:t>handelen</a:t>
            </a:r>
            <a:endParaRPr lang="en-US" sz="1200" b="1"/>
          </a:p>
        </p:txBody>
      </p:sp>
      <p:sp>
        <p:nvSpPr>
          <p:cNvPr id="45" name="TextBox 44">
            <a:extLst>
              <a:ext uri="{FF2B5EF4-FFF2-40B4-BE49-F238E27FC236}">
                <a16:creationId xmlns:a16="http://schemas.microsoft.com/office/drawing/2014/main" id="{3BF3B710-47B2-4952-9013-AD234FFF4CD7}"/>
              </a:ext>
            </a:extLst>
          </p:cNvPr>
          <p:cNvSpPr txBox="1"/>
          <p:nvPr/>
        </p:nvSpPr>
        <p:spPr>
          <a:xfrm>
            <a:off x="10156021" y="1754377"/>
            <a:ext cx="1357309" cy="369332"/>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err="1"/>
              <a:t>Leerling</a:t>
            </a:r>
            <a:r>
              <a:rPr lang="en-US" sz="1200" b="1"/>
              <a:t>-</a:t>
            </a:r>
            <a:br>
              <a:rPr lang="en-US" sz="1200" b="1"/>
            </a:br>
            <a:r>
              <a:rPr lang="en-US" sz="1200" b="1" err="1"/>
              <a:t>resultaten</a:t>
            </a:r>
            <a:endParaRPr lang="en-US" sz="1200" b="1"/>
          </a:p>
        </p:txBody>
      </p:sp>
      <p:grpSp>
        <p:nvGrpSpPr>
          <p:cNvPr id="47" name="Group 46">
            <a:extLst>
              <a:ext uri="{FF2B5EF4-FFF2-40B4-BE49-F238E27FC236}">
                <a16:creationId xmlns:a16="http://schemas.microsoft.com/office/drawing/2014/main" id="{E6F70BD2-C8F8-4D80-AB35-EC4739F02856}"/>
              </a:ext>
            </a:extLst>
          </p:cNvPr>
          <p:cNvGrpSpPr/>
          <p:nvPr/>
        </p:nvGrpSpPr>
        <p:grpSpPr>
          <a:xfrm>
            <a:off x="5075334" y="3309071"/>
            <a:ext cx="282809" cy="408374"/>
            <a:chOff x="3705310" y="4555172"/>
            <a:chExt cx="412432" cy="590549"/>
          </a:xfrm>
        </p:grpSpPr>
        <p:sp>
          <p:nvSpPr>
            <p:cNvPr id="61" name="Freeform: Shape 60">
              <a:extLst>
                <a:ext uri="{FF2B5EF4-FFF2-40B4-BE49-F238E27FC236}">
                  <a16:creationId xmlns:a16="http://schemas.microsoft.com/office/drawing/2014/main" id="{792B8861-C709-40E2-B729-4047775FFD98}"/>
                </a:ext>
              </a:extLst>
            </p:cNvPr>
            <p:cNvSpPr/>
            <p:nvPr/>
          </p:nvSpPr>
          <p:spPr>
            <a:xfrm>
              <a:off x="3818658" y="4555172"/>
              <a:ext cx="121919" cy="121920"/>
            </a:xfrm>
            <a:custGeom>
              <a:avLst/>
              <a:gdLst>
                <a:gd name="connsiteX0" fmla="*/ 121920 w 121919"/>
                <a:gd name="connsiteY0" fmla="*/ 60960 h 121920"/>
                <a:gd name="connsiteX1" fmla="*/ 60960 w 121919"/>
                <a:gd name="connsiteY1" fmla="*/ 121920 h 121920"/>
                <a:gd name="connsiteX2" fmla="*/ 0 w 121919"/>
                <a:gd name="connsiteY2" fmla="*/ 60960 h 121920"/>
                <a:gd name="connsiteX3" fmla="*/ 60960 w 121919"/>
                <a:gd name="connsiteY3" fmla="*/ 0 h 121920"/>
                <a:gd name="connsiteX4" fmla="*/ 121920 w 121919"/>
                <a:gd name="connsiteY4" fmla="*/ 60960 h 12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19" h="121920">
                  <a:moveTo>
                    <a:pt x="121920" y="60960"/>
                  </a:moveTo>
                  <a:cubicBezTo>
                    <a:pt x="121920" y="94627"/>
                    <a:pt x="94627" y="121920"/>
                    <a:pt x="60960" y="121920"/>
                  </a:cubicBezTo>
                  <a:cubicBezTo>
                    <a:pt x="27293" y="121920"/>
                    <a:pt x="0" y="94627"/>
                    <a:pt x="0" y="60960"/>
                  </a:cubicBezTo>
                  <a:cubicBezTo>
                    <a:pt x="0" y="27293"/>
                    <a:pt x="27293" y="0"/>
                    <a:pt x="60960" y="0"/>
                  </a:cubicBezTo>
                  <a:cubicBezTo>
                    <a:pt x="94627" y="0"/>
                    <a:pt x="121920" y="27293"/>
                    <a:pt x="121920" y="60960"/>
                  </a:cubicBezTo>
                  <a:close/>
                </a:path>
              </a:pathLst>
            </a:custGeom>
            <a:noFill/>
            <a:ln w="12700" cap="flat">
              <a:solidFill>
                <a:schemeClr val="accent3"/>
              </a:solidFill>
              <a:prstDash val="solid"/>
              <a:miter/>
            </a:ln>
          </p:spPr>
          <p:txBody>
            <a:bodyPr rtlCol="0" anchor="ctr"/>
            <a:lstStyle/>
            <a:p>
              <a:endParaRPr lang="en-US" sz="1600"/>
            </a:p>
          </p:txBody>
        </p:sp>
        <p:sp>
          <p:nvSpPr>
            <p:cNvPr id="62" name="Freeform: Shape 61">
              <a:extLst>
                <a:ext uri="{FF2B5EF4-FFF2-40B4-BE49-F238E27FC236}">
                  <a16:creationId xmlns:a16="http://schemas.microsoft.com/office/drawing/2014/main" id="{80557FC9-A9EA-4065-BC9B-F94A3BF8ED5D}"/>
                </a:ext>
              </a:extLst>
            </p:cNvPr>
            <p:cNvSpPr/>
            <p:nvPr/>
          </p:nvSpPr>
          <p:spPr>
            <a:xfrm>
              <a:off x="3705310" y="4690426"/>
              <a:ext cx="412432" cy="367664"/>
            </a:xfrm>
            <a:custGeom>
              <a:avLst/>
              <a:gdLst>
                <a:gd name="connsiteX0" fmla="*/ 235268 w 412432"/>
                <a:gd name="connsiteY0" fmla="*/ 178118 h 367664"/>
                <a:gd name="connsiteX1" fmla="*/ 235268 w 412432"/>
                <a:gd name="connsiteY1" fmla="*/ 90488 h 367664"/>
                <a:gd name="connsiteX2" fmla="*/ 290513 w 412432"/>
                <a:gd name="connsiteY2" fmla="*/ 124777 h 367664"/>
                <a:gd name="connsiteX3" fmla="*/ 325755 w 412432"/>
                <a:gd name="connsiteY3" fmla="*/ 121920 h 367664"/>
                <a:gd name="connsiteX4" fmla="*/ 412432 w 412432"/>
                <a:gd name="connsiteY4" fmla="*/ 44768 h 367664"/>
                <a:gd name="connsiteX5" fmla="*/ 381000 w 412432"/>
                <a:gd name="connsiteY5" fmla="*/ 0 h 367664"/>
                <a:gd name="connsiteX6" fmla="*/ 302895 w 412432"/>
                <a:gd name="connsiteY6" fmla="*/ 60960 h 367664"/>
                <a:gd name="connsiteX7" fmla="*/ 264795 w 412432"/>
                <a:gd name="connsiteY7" fmla="*/ 36195 h 367664"/>
                <a:gd name="connsiteX8" fmla="*/ 199073 w 412432"/>
                <a:gd name="connsiteY8" fmla="*/ 17145 h 367664"/>
                <a:gd name="connsiteX9" fmla="*/ 154305 w 412432"/>
                <a:gd name="connsiteY9" fmla="*/ 17145 h 367664"/>
                <a:gd name="connsiteX10" fmla="*/ 79058 w 412432"/>
                <a:gd name="connsiteY10" fmla="*/ 42863 h 367664"/>
                <a:gd name="connsiteX11" fmla="*/ 10477 w 412432"/>
                <a:gd name="connsiteY11" fmla="*/ 96202 h 367664"/>
                <a:gd name="connsiteX12" fmla="*/ 0 w 412432"/>
                <a:gd name="connsiteY12" fmla="*/ 119063 h 367664"/>
                <a:gd name="connsiteX13" fmla="*/ 0 w 412432"/>
                <a:gd name="connsiteY13" fmla="*/ 233363 h 367664"/>
                <a:gd name="connsiteX14" fmla="*/ 55245 w 412432"/>
                <a:gd name="connsiteY14" fmla="*/ 233363 h 367664"/>
                <a:gd name="connsiteX15" fmla="*/ 60960 w 412432"/>
                <a:gd name="connsiteY15" fmla="*/ 132398 h 367664"/>
                <a:gd name="connsiteX16" fmla="*/ 112395 w 412432"/>
                <a:gd name="connsiteY16" fmla="*/ 98108 h 367664"/>
                <a:gd name="connsiteX17" fmla="*/ 112395 w 412432"/>
                <a:gd name="connsiteY17" fmla="*/ 200025 h 367664"/>
                <a:gd name="connsiteX18" fmla="*/ 153353 w 412432"/>
                <a:gd name="connsiteY18" fmla="*/ 240983 h 367664"/>
                <a:gd name="connsiteX19" fmla="*/ 242887 w 412432"/>
                <a:gd name="connsiteY19" fmla="*/ 240983 h 367664"/>
                <a:gd name="connsiteX20" fmla="*/ 280988 w 412432"/>
                <a:gd name="connsiteY20" fmla="*/ 367665 h 367664"/>
                <a:gd name="connsiteX21" fmla="*/ 339090 w 412432"/>
                <a:gd name="connsiteY21" fmla="*/ 349568 h 367664"/>
                <a:gd name="connsiteX22" fmla="*/ 294323 w 412432"/>
                <a:gd name="connsiteY22" fmla="*/ 203835 h 367664"/>
                <a:gd name="connsiteX23" fmla="*/ 264795 w 412432"/>
                <a:gd name="connsiteY23" fmla="*/ 180975 h 367664"/>
                <a:gd name="connsiteX24" fmla="*/ 193358 w 412432"/>
                <a:gd name="connsiteY24" fmla="*/ 180975 h 367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12432" h="367664">
                  <a:moveTo>
                    <a:pt x="235268" y="178118"/>
                  </a:moveTo>
                  <a:lnTo>
                    <a:pt x="235268" y="90488"/>
                  </a:lnTo>
                  <a:lnTo>
                    <a:pt x="290513" y="124777"/>
                  </a:lnTo>
                  <a:cubicBezTo>
                    <a:pt x="300990" y="131445"/>
                    <a:pt x="316230" y="130493"/>
                    <a:pt x="325755" y="121920"/>
                  </a:cubicBezTo>
                  <a:lnTo>
                    <a:pt x="412432" y="44768"/>
                  </a:lnTo>
                  <a:lnTo>
                    <a:pt x="381000" y="0"/>
                  </a:lnTo>
                  <a:lnTo>
                    <a:pt x="302895" y="60960"/>
                  </a:lnTo>
                  <a:lnTo>
                    <a:pt x="264795" y="36195"/>
                  </a:lnTo>
                  <a:cubicBezTo>
                    <a:pt x="244793" y="23813"/>
                    <a:pt x="222885" y="17145"/>
                    <a:pt x="199073" y="17145"/>
                  </a:cubicBezTo>
                  <a:lnTo>
                    <a:pt x="154305" y="17145"/>
                  </a:lnTo>
                  <a:cubicBezTo>
                    <a:pt x="127635" y="17145"/>
                    <a:pt x="100965" y="25717"/>
                    <a:pt x="79058" y="42863"/>
                  </a:cubicBezTo>
                  <a:lnTo>
                    <a:pt x="10477" y="96202"/>
                  </a:lnTo>
                  <a:cubicBezTo>
                    <a:pt x="3810" y="100013"/>
                    <a:pt x="0" y="108585"/>
                    <a:pt x="0" y="119063"/>
                  </a:cubicBezTo>
                  <a:lnTo>
                    <a:pt x="0" y="233363"/>
                  </a:lnTo>
                  <a:lnTo>
                    <a:pt x="55245" y="233363"/>
                  </a:lnTo>
                  <a:lnTo>
                    <a:pt x="60960" y="132398"/>
                  </a:lnTo>
                  <a:lnTo>
                    <a:pt x="112395" y="98108"/>
                  </a:lnTo>
                  <a:lnTo>
                    <a:pt x="112395" y="200025"/>
                  </a:lnTo>
                  <a:cubicBezTo>
                    <a:pt x="112395" y="222885"/>
                    <a:pt x="131445" y="240983"/>
                    <a:pt x="153353" y="240983"/>
                  </a:cubicBezTo>
                  <a:lnTo>
                    <a:pt x="242887" y="240983"/>
                  </a:lnTo>
                  <a:lnTo>
                    <a:pt x="280988" y="367665"/>
                  </a:lnTo>
                  <a:lnTo>
                    <a:pt x="339090" y="349568"/>
                  </a:lnTo>
                  <a:lnTo>
                    <a:pt x="294323" y="203835"/>
                  </a:lnTo>
                  <a:cubicBezTo>
                    <a:pt x="290513" y="191453"/>
                    <a:pt x="277178" y="180975"/>
                    <a:pt x="264795" y="180975"/>
                  </a:cubicBezTo>
                  <a:lnTo>
                    <a:pt x="193358" y="180975"/>
                  </a:lnTo>
                </a:path>
              </a:pathLst>
            </a:custGeom>
            <a:noFill/>
            <a:ln w="12700" cap="flat">
              <a:solidFill>
                <a:schemeClr val="accent3"/>
              </a:solidFill>
              <a:prstDash val="solid"/>
              <a:miter/>
            </a:ln>
          </p:spPr>
          <p:txBody>
            <a:bodyPr rtlCol="0" anchor="ctr"/>
            <a:lstStyle/>
            <a:p>
              <a:endParaRPr lang="en-US" sz="1600"/>
            </a:p>
          </p:txBody>
        </p:sp>
        <p:sp>
          <p:nvSpPr>
            <p:cNvPr id="63" name="Freeform: Shape 62">
              <a:extLst>
                <a:ext uri="{FF2B5EF4-FFF2-40B4-BE49-F238E27FC236}">
                  <a16:creationId xmlns:a16="http://schemas.microsoft.com/office/drawing/2014/main" id="{ADBF4E4F-14DA-4E2C-95EE-AB674316FE62}"/>
                </a:ext>
              </a:extLst>
            </p:cNvPr>
            <p:cNvSpPr/>
            <p:nvPr/>
          </p:nvSpPr>
          <p:spPr>
            <a:xfrm>
              <a:off x="3764365" y="4950459"/>
              <a:ext cx="126682" cy="195262"/>
            </a:xfrm>
            <a:custGeom>
              <a:avLst/>
              <a:gdLst>
                <a:gd name="connsiteX0" fmla="*/ 126682 w 126682"/>
                <a:gd name="connsiteY0" fmla="*/ 6668 h 195262"/>
                <a:gd name="connsiteX1" fmla="*/ 126682 w 126682"/>
                <a:gd name="connsiteY1" fmla="*/ 59055 h 195262"/>
                <a:gd name="connsiteX2" fmla="*/ 116205 w 126682"/>
                <a:gd name="connsiteY2" fmla="*/ 97155 h 195262"/>
                <a:gd name="connsiteX3" fmla="*/ 54293 w 126682"/>
                <a:gd name="connsiteY3" fmla="*/ 195263 h 195262"/>
                <a:gd name="connsiteX4" fmla="*/ 0 w 126682"/>
                <a:gd name="connsiteY4" fmla="*/ 164783 h 195262"/>
                <a:gd name="connsiteX5" fmla="*/ 63818 w 126682"/>
                <a:gd name="connsiteY5" fmla="*/ 53340 h 195262"/>
                <a:gd name="connsiteX6" fmla="*/ 65723 w 126682"/>
                <a:gd name="connsiteY6" fmla="*/ 0 h 195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682" h="195262">
                  <a:moveTo>
                    <a:pt x="126682" y="6668"/>
                  </a:moveTo>
                  <a:lnTo>
                    <a:pt x="126682" y="59055"/>
                  </a:lnTo>
                  <a:cubicBezTo>
                    <a:pt x="126682" y="73343"/>
                    <a:pt x="122873" y="85725"/>
                    <a:pt x="116205" y="97155"/>
                  </a:cubicBezTo>
                  <a:lnTo>
                    <a:pt x="54293" y="195263"/>
                  </a:lnTo>
                  <a:lnTo>
                    <a:pt x="0" y="164783"/>
                  </a:lnTo>
                  <a:lnTo>
                    <a:pt x="63818" y="53340"/>
                  </a:lnTo>
                  <a:lnTo>
                    <a:pt x="65723" y="0"/>
                  </a:lnTo>
                </a:path>
              </a:pathLst>
            </a:custGeom>
            <a:noFill/>
            <a:ln w="12700" cap="flat">
              <a:solidFill>
                <a:schemeClr val="accent3"/>
              </a:solidFill>
              <a:prstDash val="solid"/>
              <a:miter/>
            </a:ln>
          </p:spPr>
          <p:txBody>
            <a:bodyPr rtlCol="0" anchor="ctr"/>
            <a:lstStyle/>
            <a:p>
              <a:endParaRPr lang="en-US" sz="1600"/>
            </a:p>
          </p:txBody>
        </p:sp>
      </p:grpSp>
      <p:sp>
        <p:nvSpPr>
          <p:cNvPr id="48" name="TextBox 47">
            <a:extLst>
              <a:ext uri="{FF2B5EF4-FFF2-40B4-BE49-F238E27FC236}">
                <a16:creationId xmlns:a16="http://schemas.microsoft.com/office/drawing/2014/main" id="{79EDE39E-B809-42DD-9865-483082C80A89}"/>
              </a:ext>
            </a:extLst>
          </p:cNvPr>
          <p:cNvSpPr txBox="1"/>
          <p:nvPr/>
        </p:nvSpPr>
        <p:spPr>
          <a:xfrm>
            <a:off x="3966923" y="3791795"/>
            <a:ext cx="1357309" cy="55399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err="1"/>
              <a:t>Vragenlijst</a:t>
            </a:r>
            <a:r>
              <a:rPr lang="en-US" sz="1200" dirty="0"/>
              <a:t> </a:t>
            </a:r>
            <a:r>
              <a:rPr lang="en-US" sz="1200" dirty="0" err="1"/>
              <a:t>bij</a:t>
            </a:r>
            <a:r>
              <a:rPr lang="en-US" sz="1200" dirty="0"/>
              <a:t> 231 scholen, interviews </a:t>
            </a:r>
            <a:r>
              <a:rPr lang="en-US" sz="1200" dirty="0" err="1"/>
              <a:t>bij</a:t>
            </a:r>
            <a:r>
              <a:rPr lang="en-US" sz="1200" dirty="0"/>
              <a:t> 24 scholen</a:t>
            </a:r>
          </a:p>
        </p:txBody>
      </p:sp>
      <p:sp>
        <p:nvSpPr>
          <p:cNvPr id="51" name="TextBox 50">
            <a:extLst>
              <a:ext uri="{FF2B5EF4-FFF2-40B4-BE49-F238E27FC236}">
                <a16:creationId xmlns:a16="http://schemas.microsoft.com/office/drawing/2014/main" id="{DFBD5231-679D-457E-9915-3F4868829541}"/>
              </a:ext>
            </a:extLst>
          </p:cNvPr>
          <p:cNvSpPr txBox="1"/>
          <p:nvPr/>
        </p:nvSpPr>
        <p:spPr>
          <a:xfrm>
            <a:off x="3950634" y="3502283"/>
            <a:ext cx="1357309" cy="184666"/>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err="1"/>
              <a:t>Uitvoering</a:t>
            </a:r>
            <a:endParaRPr lang="en-US" sz="1200" b="1"/>
          </a:p>
        </p:txBody>
      </p:sp>
      <p:grpSp>
        <p:nvGrpSpPr>
          <p:cNvPr id="81" name="Group 80">
            <a:extLst>
              <a:ext uri="{FF2B5EF4-FFF2-40B4-BE49-F238E27FC236}">
                <a16:creationId xmlns:a16="http://schemas.microsoft.com/office/drawing/2014/main" id="{C9C105A9-9821-4D48-9737-0957224B6E0E}"/>
              </a:ext>
            </a:extLst>
          </p:cNvPr>
          <p:cNvGrpSpPr/>
          <p:nvPr/>
        </p:nvGrpSpPr>
        <p:grpSpPr>
          <a:xfrm>
            <a:off x="2796922" y="3089276"/>
            <a:ext cx="1015200" cy="618124"/>
            <a:chOff x="2796922" y="3089276"/>
            <a:chExt cx="1015200" cy="618124"/>
          </a:xfrm>
        </p:grpSpPr>
        <p:sp>
          <p:nvSpPr>
            <p:cNvPr id="54" name="Trapezoid 53">
              <a:extLst>
                <a:ext uri="{FF2B5EF4-FFF2-40B4-BE49-F238E27FC236}">
                  <a16:creationId xmlns:a16="http://schemas.microsoft.com/office/drawing/2014/main" id="{47CB75B0-F3C3-415D-9402-0575114A7D58}"/>
                </a:ext>
              </a:extLst>
            </p:cNvPr>
            <p:cNvSpPr/>
            <p:nvPr/>
          </p:nvSpPr>
          <p:spPr>
            <a:xfrm>
              <a:off x="2848689" y="3089276"/>
              <a:ext cx="644259" cy="178958"/>
            </a:xfrm>
            <a:prstGeom prst="trapezoid">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sp>
          <p:nvSpPr>
            <p:cNvPr id="55" name="Freeform: Shape 54">
              <a:extLst>
                <a:ext uri="{FF2B5EF4-FFF2-40B4-BE49-F238E27FC236}">
                  <a16:creationId xmlns:a16="http://schemas.microsoft.com/office/drawing/2014/main" id="{AA7C6F3A-5E44-4213-9E20-3A62707814F7}"/>
                </a:ext>
              </a:extLst>
            </p:cNvPr>
            <p:cNvSpPr/>
            <p:nvPr/>
          </p:nvSpPr>
          <p:spPr>
            <a:xfrm>
              <a:off x="2892741" y="3250452"/>
              <a:ext cx="552300" cy="456948"/>
            </a:xfrm>
            <a:custGeom>
              <a:avLst/>
              <a:gdLst>
                <a:gd name="connsiteX0" fmla="*/ 711493 w 955357"/>
                <a:gd name="connsiteY0" fmla="*/ 427543 h 679761"/>
                <a:gd name="connsiteX1" fmla="*/ 711493 w 955357"/>
                <a:gd name="connsiteY1" fmla="*/ 556053 h 679761"/>
                <a:gd name="connsiteX2" fmla="*/ 819250 w 955357"/>
                <a:gd name="connsiteY2" fmla="*/ 556053 h 679761"/>
                <a:gd name="connsiteX3" fmla="*/ 819250 w 955357"/>
                <a:gd name="connsiteY3" fmla="*/ 427543 h 679761"/>
                <a:gd name="connsiteX4" fmla="*/ 127444 w 955357"/>
                <a:gd name="connsiteY4" fmla="*/ 427543 h 679761"/>
                <a:gd name="connsiteX5" fmla="*/ 127444 w 955357"/>
                <a:gd name="connsiteY5" fmla="*/ 556053 h 679761"/>
                <a:gd name="connsiteX6" fmla="*/ 235201 w 955357"/>
                <a:gd name="connsiteY6" fmla="*/ 556053 h 679761"/>
                <a:gd name="connsiteX7" fmla="*/ 235201 w 955357"/>
                <a:gd name="connsiteY7" fmla="*/ 427543 h 679761"/>
                <a:gd name="connsiteX8" fmla="*/ 341122 w 955357"/>
                <a:gd name="connsiteY8" fmla="*/ 425395 h 679761"/>
                <a:gd name="connsiteX9" fmla="*/ 341122 w 955357"/>
                <a:gd name="connsiteY9" fmla="*/ 655322 h 679761"/>
                <a:gd name="connsiteX10" fmla="*/ 614234 w 955357"/>
                <a:gd name="connsiteY10" fmla="*/ 655322 h 679761"/>
                <a:gd name="connsiteX11" fmla="*/ 614234 w 955357"/>
                <a:gd name="connsiteY11" fmla="*/ 425395 h 679761"/>
                <a:gd name="connsiteX12" fmla="*/ 778102 w 955357"/>
                <a:gd name="connsiteY12" fmla="*/ 280937 h 679761"/>
                <a:gd name="connsiteX13" fmla="*/ 778102 w 955357"/>
                <a:gd name="connsiteY13" fmla="*/ 388887 h 679761"/>
                <a:gd name="connsiteX14" fmla="*/ 905554 w 955357"/>
                <a:gd name="connsiteY14" fmla="*/ 388887 h 679761"/>
                <a:gd name="connsiteX15" fmla="*/ 905554 w 955357"/>
                <a:gd name="connsiteY15" fmla="*/ 280937 h 679761"/>
                <a:gd name="connsiteX16" fmla="*/ 632442 w 955357"/>
                <a:gd name="connsiteY16" fmla="*/ 280937 h 679761"/>
                <a:gd name="connsiteX17" fmla="*/ 632442 w 955357"/>
                <a:gd name="connsiteY17" fmla="*/ 388887 h 679761"/>
                <a:gd name="connsiteX18" fmla="*/ 759894 w 955357"/>
                <a:gd name="connsiteY18" fmla="*/ 388887 h 679761"/>
                <a:gd name="connsiteX19" fmla="*/ 759894 w 955357"/>
                <a:gd name="connsiteY19" fmla="*/ 280937 h 679761"/>
                <a:gd name="connsiteX20" fmla="*/ 486782 w 955357"/>
                <a:gd name="connsiteY20" fmla="*/ 280937 h 679761"/>
                <a:gd name="connsiteX21" fmla="*/ 486782 w 955357"/>
                <a:gd name="connsiteY21" fmla="*/ 388887 h 679761"/>
                <a:gd name="connsiteX22" fmla="*/ 614234 w 955357"/>
                <a:gd name="connsiteY22" fmla="*/ 388887 h 679761"/>
                <a:gd name="connsiteX23" fmla="*/ 614234 w 955357"/>
                <a:gd name="connsiteY23" fmla="*/ 280937 h 679761"/>
                <a:gd name="connsiteX24" fmla="*/ 341121 w 955357"/>
                <a:gd name="connsiteY24" fmla="*/ 280937 h 679761"/>
                <a:gd name="connsiteX25" fmla="*/ 341121 w 955357"/>
                <a:gd name="connsiteY25" fmla="*/ 388887 h 679761"/>
                <a:gd name="connsiteX26" fmla="*/ 468573 w 955357"/>
                <a:gd name="connsiteY26" fmla="*/ 388887 h 679761"/>
                <a:gd name="connsiteX27" fmla="*/ 468573 w 955357"/>
                <a:gd name="connsiteY27" fmla="*/ 280937 h 679761"/>
                <a:gd name="connsiteX28" fmla="*/ 195462 w 955357"/>
                <a:gd name="connsiteY28" fmla="*/ 280937 h 679761"/>
                <a:gd name="connsiteX29" fmla="*/ 195462 w 955357"/>
                <a:gd name="connsiteY29" fmla="*/ 388887 h 679761"/>
                <a:gd name="connsiteX30" fmla="*/ 322914 w 955357"/>
                <a:gd name="connsiteY30" fmla="*/ 388887 h 679761"/>
                <a:gd name="connsiteX31" fmla="*/ 322914 w 955357"/>
                <a:gd name="connsiteY31" fmla="*/ 280937 h 679761"/>
                <a:gd name="connsiteX32" fmla="*/ 49802 w 955357"/>
                <a:gd name="connsiteY32" fmla="*/ 280937 h 679761"/>
                <a:gd name="connsiteX33" fmla="*/ 49802 w 955357"/>
                <a:gd name="connsiteY33" fmla="*/ 388887 h 679761"/>
                <a:gd name="connsiteX34" fmla="*/ 177254 w 955357"/>
                <a:gd name="connsiteY34" fmla="*/ 388887 h 679761"/>
                <a:gd name="connsiteX35" fmla="*/ 177254 w 955357"/>
                <a:gd name="connsiteY35" fmla="*/ 280937 h 679761"/>
                <a:gd name="connsiteX36" fmla="*/ 778102 w 955357"/>
                <a:gd name="connsiteY36" fmla="*/ 159537 h 679761"/>
                <a:gd name="connsiteX37" fmla="*/ 778102 w 955357"/>
                <a:gd name="connsiteY37" fmla="*/ 267487 h 679761"/>
                <a:gd name="connsiteX38" fmla="*/ 905554 w 955357"/>
                <a:gd name="connsiteY38" fmla="*/ 267487 h 679761"/>
                <a:gd name="connsiteX39" fmla="*/ 905554 w 955357"/>
                <a:gd name="connsiteY39" fmla="*/ 159537 h 679761"/>
                <a:gd name="connsiteX40" fmla="*/ 632442 w 955357"/>
                <a:gd name="connsiteY40" fmla="*/ 159537 h 679761"/>
                <a:gd name="connsiteX41" fmla="*/ 632442 w 955357"/>
                <a:gd name="connsiteY41" fmla="*/ 267487 h 679761"/>
                <a:gd name="connsiteX42" fmla="*/ 759894 w 955357"/>
                <a:gd name="connsiteY42" fmla="*/ 267487 h 679761"/>
                <a:gd name="connsiteX43" fmla="*/ 759894 w 955357"/>
                <a:gd name="connsiteY43" fmla="*/ 159537 h 679761"/>
                <a:gd name="connsiteX44" fmla="*/ 486782 w 955357"/>
                <a:gd name="connsiteY44" fmla="*/ 159537 h 679761"/>
                <a:gd name="connsiteX45" fmla="*/ 486782 w 955357"/>
                <a:gd name="connsiteY45" fmla="*/ 267487 h 679761"/>
                <a:gd name="connsiteX46" fmla="*/ 614234 w 955357"/>
                <a:gd name="connsiteY46" fmla="*/ 267487 h 679761"/>
                <a:gd name="connsiteX47" fmla="*/ 614234 w 955357"/>
                <a:gd name="connsiteY47" fmla="*/ 159537 h 679761"/>
                <a:gd name="connsiteX48" fmla="*/ 341121 w 955357"/>
                <a:gd name="connsiteY48" fmla="*/ 159537 h 679761"/>
                <a:gd name="connsiteX49" fmla="*/ 341121 w 955357"/>
                <a:gd name="connsiteY49" fmla="*/ 267487 h 679761"/>
                <a:gd name="connsiteX50" fmla="*/ 468573 w 955357"/>
                <a:gd name="connsiteY50" fmla="*/ 267487 h 679761"/>
                <a:gd name="connsiteX51" fmla="*/ 468573 w 955357"/>
                <a:gd name="connsiteY51" fmla="*/ 159537 h 679761"/>
                <a:gd name="connsiteX52" fmla="*/ 195462 w 955357"/>
                <a:gd name="connsiteY52" fmla="*/ 159537 h 679761"/>
                <a:gd name="connsiteX53" fmla="*/ 195462 w 955357"/>
                <a:gd name="connsiteY53" fmla="*/ 267487 h 679761"/>
                <a:gd name="connsiteX54" fmla="*/ 322914 w 955357"/>
                <a:gd name="connsiteY54" fmla="*/ 267487 h 679761"/>
                <a:gd name="connsiteX55" fmla="*/ 322914 w 955357"/>
                <a:gd name="connsiteY55" fmla="*/ 159537 h 679761"/>
                <a:gd name="connsiteX56" fmla="*/ 49802 w 955357"/>
                <a:gd name="connsiteY56" fmla="*/ 159537 h 679761"/>
                <a:gd name="connsiteX57" fmla="*/ 49802 w 955357"/>
                <a:gd name="connsiteY57" fmla="*/ 267487 h 679761"/>
                <a:gd name="connsiteX58" fmla="*/ 177254 w 955357"/>
                <a:gd name="connsiteY58" fmla="*/ 267487 h 679761"/>
                <a:gd name="connsiteX59" fmla="*/ 177254 w 955357"/>
                <a:gd name="connsiteY59" fmla="*/ 159537 h 679761"/>
                <a:gd name="connsiteX60" fmla="*/ 778102 w 955357"/>
                <a:gd name="connsiteY60" fmla="*/ 38137 h 679761"/>
                <a:gd name="connsiteX61" fmla="*/ 778102 w 955357"/>
                <a:gd name="connsiteY61" fmla="*/ 146087 h 679761"/>
                <a:gd name="connsiteX62" fmla="*/ 905554 w 955357"/>
                <a:gd name="connsiteY62" fmla="*/ 146087 h 679761"/>
                <a:gd name="connsiteX63" fmla="*/ 905554 w 955357"/>
                <a:gd name="connsiteY63" fmla="*/ 38137 h 679761"/>
                <a:gd name="connsiteX64" fmla="*/ 632442 w 955357"/>
                <a:gd name="connsiteY64" fmla="*/ 38137 h 679761"/>
                <a:gd name="connsiteX65" fmla="*/ 632442 w 955357"/>
                <a:gd name="connsiteY65" fmla="*/ 146087 h 679761"/>
                <a:gd name="connsiteX66" fmla="*/ 759894 w 955357"/>
                <a:gd name="connsiteY66" fmla="*/ 146087 h 679761"/>
                <a:gd name="connsiteX67" fmla="*/ 759894 w 955357"/>
                <a:gd name="connsiteY67" fmla="*/ 38137 h 679761"/>
                <a:gd name="connsiteX68" fmla="*/ 486782 w 955357"/>
                <a:gd name="connsiteY68" fmla="*/ 38137 h 679761"/>
                <a:gd name="connsiteX69" fmla="*/ 486782 w 955357"/>
                <a:gd name="connsiteY69" fmla="*/ 146087 h 679761"/>
                <a:gd name="connsiteX70" fmla="*/ 614234 w 955357"/>
                <a:gd name="connsiteY70" fmla="*/ 146087 h 679761"/>
                <a:gd name="connsiteX71" fmla="*/ 614234 w 955357"/>
                <a:gd name="connsiteY71" fmla="*/ 38137 h 679761"/>
                <a:gd name="connsiteX72" fmla="*/ 341121 w 955357"/>
                <a:gd name="connsiteY72" fmla="*/ 38137 h 679761"/>
                <a:gd name="connsiteX73" fmla="*/ 341121 w 955357"/>
                <a:gd name="connsiteY73" fmla="*/ 146087 h 679761"/>
                <a:gd name="connsiteX74" fmla="*/ 468573 w 955357"/>
                <a:gd name="connsiteY74" fmla="*/ 146087 h 679761"/>
                <a:gd name="connsiteX75" fmla="*/ 468573 w 955357"/>
                <a:gd name="connsiteY75" fmla="*/ 38137 h 679761"/>
                <a:gd name="connsiteX76" fmla="*/ 195462 w 955357"/>
                <a:gd name="connsiteY76" fmla="*/ 38137 h 679761"/>
                <a:gd name="connsiteX77" fmla="*/ 195462 w 955357"/>
                <a:gd name="connsiteY77" fmla="*/ 146087 h 679761"/>
                <a:gd name="connsiteX78" fmla="*/ 322914 w 955357"/>
                <a:gd name="connsiteY78" fmla="*/ 146087 h 679761"/>
                <a:gd name="connsiteX79" fmla="*/ 322914 w 955357"/>
                <a:gd name="connsiteY79" fmla="*/ 38137 h 679761"/>
                <a:gd name="connsiteX80" fmla="*/ 49802 w 955357"/>
                <a:gd name="connsiteY80" fmla="*/ 38137 h 679761"/>
                <a:gd name="connsiteX81" fmla="*/ 49802 w 955357"/>
                <a:gd name="connsiteY81" fmla="*/ 146087 h 679761"/>
                <a:gd name="connsiteX82" fmla="*/ 177254 w 955357"/>
                <a:gd name="connsiteY82" fmla="*/ 146087 h 679761"/>
                <a:gd name="connsiteX83" fmla="*/ 177254 w 955357"/>
                <a:gd name="connsiteY83" fmla="*/ 38137 h 679761"/>
                <a:gd name="connsiteX84" fmla="*/ 0 w 955357"/>
                <a:gd name="connsiteY84" fmla="*/ 0 h 679761"/>
                <a:gd name="connsiteX85" fmla="*/ 955357 w 955357"/>
                <a:gd name="connsiteY85" fmla="*/ 0 h 679761"/>
                <a:gd name="connsiteX86" fmla="*/ 955357 w 955357"/>
                <a:gd name="connsiteY86" fmla="*/ 679761 h 679761"/>
                <a:gd name="connsiteX87" fmla="*/ 0 w 955357"/>
                <a:gd name="connsiteY87" fmla="*/ 679761 h 679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955357" h="679761">
                  <a:moveTo>
                    <a:pt x="711493" y="427543"/>
                  </a:moveTo>
                  <a:lnTo>
                    <a:pt x="711493" y="556053"/>
                  </a:lnTo>
                  <a:lnTo>
                    <a:pt x="819250" y="556053"/>
                  </a:lnTo>
                  <a:lnTo>
                    <a:pt x="819250" y="427543"/>
                  </a:lnTo>
                  <a:close/>
                  <a:moveTo>
                    <a:pt x="127444" y="427543"/>
                  </a:moveTo>
                  <a:lnTo>
                    <a:pt x="127444" y="556053"/>
                  </a:lnTo>
                  <a:lnTo>
                    <a:pt x="235201" y="556053"/>
                  </a:lnTo>
                  <a:lnTo>
                    <a:pt x="235201" y="427543"/>
                  </a:lnTo>
                  <a:close/>
                  <a:moveTo>
                    <a:pt x="341122" y="425395"/>
                  </a:moveTo>
                  <a:lnTo>
                    <a:pt x="341122" y="655322"/>
                  </a:lnTo>
                  <a:lnTo>
                    <a:pt x="614234" y="655322"/>
                  </a:lnTo>
                  <a:lnTo>
                    <a:pt x="614234" y="425395"/>
                  </a:lnTo>
                  <a:close/>
                  <a:moveTo>
                    <a:pt x="778102" y="280937"/>
                  </a:moveTo>
                  <a:lnTo>
                    <a:pt x="778102" y="388887"/>
                  </a:lnTo>
                  <a:lnTo>
                    <a:pt x="905554" y="388887"/>
                  </a:lnTo>
                  <a:lnTo>
                    <a:pt x="905554" y="280937"/>
                  </a:lnTo>
                  <a:close/>
                  <a:moveTo>
                    <a:pt x="632442" y="280937"/>
                  </a:moveTo>
                  <a:lnTo>
                    <a:pt x="632442" y="388887"/>
                  </a:lnTo>
                  <a:lnTo>
                    <a:pt x="759894" y="388887"/>
                  </a:lnTo>
                  <a:lnTo>
                    <a:pt x="759894" y="280937"/>
                  </a:lnTo>
                  <a:close/>
                  <a:moveTo>
                    <a:pt x="486782" y="280937"/>
                  </a:moveTo>
                  <a:lnTo>
                    <a:pt x="486782" y="388887"/>
                  </a:lnTo>
                  <a:lnTo>
                    <a:pt x="614234" y="388887"/>
                  </a:lnTo>
                  <a:lnTo>
                    <a:pt x="614234" y="280937"/>
                  </a:lnTo>
                  <a:close/>
                  <a:moveTo>
                    <a:pt x="341121" y="280937"/>
                  </a:moveTo>
                  <a:lnTo>
                    <a:pt x="341121" y="388887"/>
                  </a:lnTo>
                  <a:lnTo>
                    <a:pt x="468573" y="388887"/>
                  </a:lnTo>
                  <a:lnTo>
                    <a:pt x="468573" y="280937"/>
                  </a:lnTo>
                  <a:close/>
                  <a:moveTo>
                    <a:pt x="195462" y="280937"/>
                  </a:moveTo>
                  <a:lnTo>
                    <a:pt x="195462" y="388887"/>
                  </a:lnTo>
                  <a:lnTo>
                    <a:pt x="322914" y="388887"/>
                  </a:lnTo>
                  <a:lnTo>
                    <a:pt x="322914" y="280937"/>
                  </a:lnTo>
                  <a:close/>
                  <a:moveTo>
                    <a:pt x="49802" y="280937"/>
                  </a:moveTo>
                  <a:lnTo>
                    <a:pt x="49802" y="388887"/>
                  </a:lnTo>
                  <a:lnTo>
                    <a:pt x="177254" y="388887"/>
                  </a:lnTo>
                  <a:lnTo>
                    <a:pt x="177254" y="280937"/>
                  </a:lnTo>
                  <a:close/>
                  <a:moveTo>
                    <a:pt x="778102" y="159537"/>
                  </a:moveTo>
                  <a:lnTo>
                    <a:pt x="778102" y="267487"/>
                  </a:lnTo>
                  <a:lnTo>
                    <a:pt x="905554" y="267487"/>
                  </a:lnTo>
                  <a:lnTo>
                    <a:pt x="905554" y="159537"/>
                  </a:lnTo>
                  <a:close/>
                  <a:moveTo>
                    <a:pt x="632442" y="159537"/>
                  </a:moveTo>
                  <a:lnTo>
                    <a:pt x="632442" y="267487"/>
                  </a:lnTo>
                  <a:lnTo>
                    <a:pt x="759894" y="267487"/>
                  </a:lnTo>
                  <a:lnTo>
                    <a:pt x="759894" y="159537"/>
                  </a:lnTo>
                  <a:close/>
                  <a:moveTo>
                    <a:pt x="486782" y="159537"/>
                  </a:moveTo>
                  <a:lnTo>
                    <a:pt x="486782" y="267487"/>
                  </a:lnTo>
                  <a:lnTo>
                    <a:pt x="614234" y="267487"/>
                  </a:lnTo>
                  <a:lnTo>
                    <a:pt x="614234" y="159537"/>
                  </a:lnTo>
                  <a:close/>
                  <a:moveTo>
                    <a:pt x="341121" y="159537"/>
                  </a:moveTo>
                  <a:lnTo>
                    <a:pt x="341121" y="267487"/>
                  </a:lnTo>
                  <a:lnTo>
                    <a:pt x="468573" y="267487"/>
                  </a:lnTo>
                  <a:lnTo>
                    <a:pt x="468573" y="159537"/>
                  </a:lnTo>
                  <a:close/>
                  <a:moveTo>
                    <a:pt x="195462" y="159537"/>
                  </a:moveTo>
                  <a:lnTo>
                    <a:pt x="195462" y="267487"/>
                  </a:lnTo>
                  <a:lnTo>
                    <a:pt x="322914" y="267487"/>
                  </a:lnTo>
                  <a:lnTo>
                    <a:pt x="322914" y="159537"/>
                  </a:lnTo>
                  <a:close/>
                  <a:moveTo>
                    <a:pt x="49802" y="159537"/>
                  </a:moveTo>
                  <a:lnTo>
                    <a:pt x="49802" y="267487"/>
                  </a:lnTo>
                  <a:lnTo>
                    <a:pt x="177254" y="267487"/>
                  </a:lnTo>
                  <a:lnTo>
                    <a:pt x="177254" y="159537"/>
                  </a:lnTo>
                  <a:close/>
                  <a:moveTo>
                    <a:pt x="778102" y="38137"/>
                  </a:moveTo>
                  <a:lnTo>
                    <a:pt x="778102" y="146087"/>
                  </a:lnTo>
                  <a:lnTo>
                    <a:pt x="905554" y="146087"/>
                  </a:lnTo>
                  <a:lnTo>
                    <a:pt x="905554" y="38137"/>
                  </a:lnTo>
                  <a:close/>
                  <a:moveTo>
                    <a:pt x="632442" y="38137"/>
                  </a:moveTo>
                  <a:lnTo>
                    <a:pt x="632442" y="146087"/>
                  </a:lnTo>
                  <a:lnTo>
                    <a:pt x="759894" y="146087"/>
                  </a:lnTo>
                  <a:lnTo>
                    <a:pt x="759894" y="38137"/>
                  </a:lnTo>
                  <a:close/>
                  <a:moveTo>
                    <a:pt x="486782" y="38137"/>
                  </a:moveTo>
                  <a:lnTo>
                    <a:pt x="486782" y="146087"/>
                  </a:lnTo>
                  <a:lnTo>
                    <a:pt x="614234" y="146087"/>
                  </a:lnTo>
                  <a:lnTo>
                    <a:pt x="614234" y="38137"/>
                  </a:lnTo>
                  <a:close/>
                  <a:moveTo>
                    <a:pt x="341121" y="38137"/>
                  </a:moveTo>
                  <a:lnTo>
                    <a:pt x="341121" y="146087"/>
                  </a:lnTo>
                  <a:lnTo>
                    <a:pt x="468573" y="146087"/>
                  </a:lnTo>
                  <a:lnTo>
                    <a:pt x="468573" y="38137"/>
                  </a:lnTo>
                  <a:close/>
                  <a:moveTo>
                    <a:pt x="195462" y="38137"/>
                  </a:moveTo>
                  <a:lnTo>
                    <a:pt x="195462" y="146087"/>
                  </a:lnTo>
                  <a:lnTo>
                    <a:pt x="322914" y="146087"/>
                  </a:lnTo>
                  <a:lnTo>
                    <a:pt x="322914" y="38137"/>
                  </a:lnTo>
                  <a:close/>
                  <a:moveTo>
                    <a:pt x="49802" y="38137"/>
                  </a:moveTo>
                  <a:lnTo>
                    <a:pt x="49802" y="146087"/>
                  </a:lnTo>
                  <a:lnTo>
                    <a:pt x="177254" y="146087"/>
                  </a:lnTo>
                  <a:lnTo>
                    <a:pt x="177254" y="38137"/>
                  </a:lnTo>
                  <a:close/>
                  <a:moveTo>
                    <a:pt x="0" y="0"/>
                  </a:moveTo>
                  <a:lnTo>
                    <a:pt x="955357" y="0"/>
                  </a:lnTo>
                  <a:lnTo>
                    <a:pt x="955357" y="679761"/>
                  </a:lnTo>
                  <a:lnTo>
                    <a:pt x="0" y="679761"/>
                  </a:lnTo>
                  <a:close/>
                </a:path>
              </a:pathLst>
            </a:cu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sp>
          <p:nvSpPr>
            <p:cNvPr id="56" name="Rectangle 55">
              <a:extLst>
                <a:ext uri="{FF2B5EF4-FFF2-40B4-BE49-F238E27FC236}">
                  <a16:creationId xmlns:a16="http://schemas.microsoft.com/office/drawing/2014/main" id="{1BA17D2D-91FB-4E68-9AC3-B81B507D0FBD}"/>
                </a:ext>
              </a:extLst>
            </p:cNvPr>
            <p:cNvSpPr/>
            <p:nvPr/>
          </p:nvSpPr>
          <p:spPr>
            <a:xfrm>
              <a:off x="3492948" y="3516187"/>
              <a:ext cx="267406" cy="70222"/>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cxnSp>
          <p:nvCxnSpPr>
            <p:cNvPr id="57" name="Straight Connector 56">
              <a:extLst>
                <a:ext uri="{FF2B5EF4-FFF2-40B4-BE49-F238E27FC236}">
                  <a16:creationId xmlns:a16="http://schemas.microsoft.com/office/drawing/2014/main" id="{E84BBA96-2D44-41FF-84F9-9C71870F5E6F}"/>
                </a:ext>
              </a:extLst>
            </p:cNvPr>
            <p:cNvCxnSpPr/>
            <p:nvPr/>
          </p:nvCxnSpPr>
          <p:spPr>
            <a:xfrm>
              <a:off x="3555939" y="3546391"/>
              <a:ext cx="0" cy="149819"/>
            </a:xfrm>
            <a:prstGeom prst="line">
              <a:avLst/>
            </a:prstGeom>
            <a:ln w="12700" cap="flat">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F09A932F-AA19-4E36-9ED2-46DCFAEB27A3}"/>
                </a:ext>
              </a:extLst>
            </p:cNvPr>
            <p:cNvCxnSpPr/>
            <p:nvPr/>
          </p:nvCxnSpPr>
          <p:spPr>
            <a:xfrm>
              <a:off x="3688281" y="3546391"/>
              <a:ext cx="0" cy="149819"/>
            </a:xfrm>
            <a:prstGeom prst="line">
              <a:avLst/>
            </a:prstGeom>
            <a:ln w="12700" cap="flat">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2614A131-8ADE-4B3E-B57B-ACDBC42DC95D}"/>
                </a:ext>
              </a:extLst>
            </p:cNvPr>
            <p:cNvCxnSpPr/>
            <p:nvPr/>
          </p:nvCxnSpPr>
          <p:spPr>
            <a:xfrm>
              <a:off x="2796922" y="3704878"/>
              <a:ext cx="1015200" cy="0"/>
            </a:xfrm>
            <a:prstGeom prst="line">
              <a:avLst/>
            </a:prstGeom>
            <a:ln w="12700" cap="flat">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7BB765E1-EA59-4D1F-8CC4-40E4EC064B1D}"/>
                </a:ext>
              </a:extLst>
            </p:cNvPr>
            <p:cNvSpPr txBox="1"/>
            <p:nvPr/>
          </p:nvSpPr>
          <p:spPr>
            <a:xfrm>
              <a:off x="3036789" y="3101785"/>
              <a:ext cx="268058" cy="132987"/>
            </a:xfrm>
            <a:prstGeom prst="rect">
              <a:avLst/>
            </a:prstGeom>
          </p:spPr>
          <p:txBody>
            <a:bodyPr vert="horz" wrap="non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Clr>
                  <a:srgbClr val="FFFFFF"/>
                </a:buClr>
              </a:pPr>
              <a:r>
                <a:rPr lang="en-US" sz="800">
                  <a:solidFill>
                    <a:srgbClr val="FFFFFF"/>
                  </a:solidFill>
                </a:rPr>
                <a:t>School</a:t>
              </a:r>
            </a:p>
          </p:txBody>
        </p:sp>
      </p:grpSp>
      <p:cxnSp>
        <p:nvCxnSpPr>
          <p:cNvPr id="20" name="Straight Connector 19">
            <a:extLst>
              <a:ext uri="{FF2B5EF4-FFF2-40B4-BE49-F238E27FC236}">
                <a16:creationId xmlns:a16="http://schemas.microsoft.com/office/drawing/2014/main" id="{8F9A46AF-23AD-47AF-B104-50EAA4F638D3}"/>
              </a:ext>
            </a:extLst>
          </p:cNvPr>
          <p:cNvCxnSpPr/>
          <p:nvPr/>
        </p:nvCxnSpPr>
        <p:spPr>
          <a:xfrm>
            <a:off x="4343400" y="4652916"/>
            <a:ext cx="0" cy="24336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B3C2A652-802D-40E5-B89B-EC2D7FC56D0A}"/>
              </a:ext>
            </a:extLst>
          </p:cNvPr>
          <p:cNvCxnSpPr>
            <a:cxnSpLocks/>
          </p:cNvCxnSpPr>
          <p:nvPr/>
        </p:nvCxnSpPr>
        <p:spPr>
          <a:xfrm>
            <a:off x="5905500" y="4326791"/>
            <a:ext cx="0" cy="569485"/>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BF7D893-42EE-4E0F-BDE2-0E8CF2637358}"/>
              </a:ext>
            </a:extLst>
          </p:cNvPr>
          <p:cNvCxnSpPr>
            <a:cxnSpLocks/>
          </p:cNvCxnSpPr>
          <p:nvPr/>
        </p:nvCxnSpPr>
        <p:spPr>
          <a:xfrm>
            <a:off x="7559040" y="3932309"/>
            <a:ext cx="0" cy="963967"/>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8D844DE8-19BE-4FD9-8D98-98C0F29C865A}"/>
              </a:ext>
            </a:extLst>
          </p:cNvPr>
          <p:cNvCxnSpPr>
            <a:cxnSpLocks/>
          </p:cNvCxnSpPr>
          <p:nvPr/>
        </p:nvCxnSpPr>
        <p:spPr>
          <a:xfrm>
            <a:off x="9816837" y="3274141"/>
            <a:ext cx="0" cy="1622135"/>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2" name="5. Source">
            <a:extLst>
              <a:ext uri="{FF2B5EF4-FFF2-40B4-BE49-F238E27FC236}">
                <a16:creationId xmlns:a16="http://schemas.microsoft.com/office/drawing/2014/main" id="{4C6E5781-C5C5-4318-BEC7-9E394EE27391}"/>
              </a:ext>
            </a:extLst>
          </p:cNvPr>
          <p:cNvSpPr txBox="1"/>
          <p:nvPr>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Bron: </a:t>
            </a:r>
            <a:r>
              <a:rPr lang="en-US" sz="800" dirty="0" err="1"/>
              <a:t>Universiteit</a:t>
            </a:r>
            <a:r>
              <a:rPr lang="en-US" sz="800" dirty="0"/>
              <a:t> Utrecht </a:t>
            </a:r>
            <a:r>
              <a:rPr lang="en-US" sz="800" dirty="0" err="1"/>
              <a:t>en</a:t>
            </a:r>
            <a:r>
              <a:rPr lang="en-US" sz="800" dirty="0"/>
              <a:t> Oberon</a:t>
            </a:r>
          </a:p>
        </p:txBody>
      </p:sp>
    </p:spTree>
    <p:extLst>
      <p:ext uri="{BB962C8B-B14F-4D97-AF65-F5344CB8AC3E}">
        <p14:creationId xmlns:p14="http://schemas.microsoft.com/office/powerpoint/2010/main" val="100972601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 hidden="1">
            <a:extLst>
              <a:ext uri="{FF2B5EF4-FFF2-40B4-BE49-F238E27FC236}">
                <a16:creationId xmlns:a16="http://schemas.microsoft.com/office/drawing/2014/main" id="{A6738442-FCD1-4C0B-B7D9-356F4D5B448F}"/>
              </a:ext>
            </a:extLst>
          </p:cNvPr>
          <p:cNvGraphicFramePr>
            <a:graphicFrameLocks noChangeAspect="1"/>
          </p:cNvGraphicFramePr>
          <p:nvPr>
            <p:custDataLst>
              <p:tags r:id="rId2"/>
            </p:custDataLst>
            <p:extLst>
              <p:ext uri="{D42A27DB-BD31-4B8C-83A1-F6EECF244321}">
                <p14:modId xmlns:p14="http://schemas.microsoft.com/office/powerpoint/2010/main" val="13214611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47" name="think-cell Slide" r:id="rId7" imgW="395" imgH="394" progId="TCLayout.ActiveDocument.1">
                  <p:embed/>
                </p:oleObj>
              </mc:Choice>
              <mc:Fallback>
                <p:oleObj name="think-cell Slide" r:id="rId7" imgW="395" imgH="394" progId="TCLayout.ActiveDocument.1">
                  <p:embed/>
                  <p:pic>
                    <p:nvPicPr>
                      <p:cNvPr id="23" name="Object 22" hidden="1">
                        <a:extLst>
                          <a:ext uri="{FF2B5EF4-FFF2-40B4-BE49-F238E27FC236}">
                            <a16:creationId xmlns:a16="http://schemas.microsoft.com/office/drawing/2014/main" id="{A6738442-FCD1-4C0B-B7D9-356F4D5B448F}"/>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3" name="Rectangle 3" hidden="1">
            <a:extLst>
              <a:ext uri="{FF2B5EF4-FFF2-40B4-BE49-F238E27FC236}">
                <a16:creationId xmlns:a16="http://schemas.microsoft.com/office/drawing/2014/main" id="{2866FBF9-6F12-4275-937C-BAF2CB35C4B1}"/>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err="1">
              <a:solidFill>
                <a:schemeClr val="bg1"/>
              </a:solidFill>
              <a:latin typeface="Calibri" panose="020F0502020204030204" pitchFamily="34" charset="0"/>
              <a:ea typeface="+mj-ea"/>
              <a:cs typeface="+mj-cs"/>
              <a:sym typeface="Calibri" panose="020F0502020204030204" pitchFamily="34" charset="0"/>
            </a:endParaRPr>
          </a:p>
        </p:txBody>
      </p:sp>
      <p:sp>
        <p:nvSpPr>
          <p:cNvPr id="2" name="2. Slide Title">
            <a:extLst>
              <a:ext uri="{FF2B5EF4-FFF2-40B4-BE49-F238E27FC236}">
                <a16:creationId xmlns:a16="http://schemas.microsoft.com/office/drawing/2014/main" id="{B0E19006-A5F2-4FEE-97B5-BAA46AE4F412}"/>
              </a:ext>
            </a:extLst>
          </p:cNvPr>
          <p:cNvSpPr>
            <a:spLocks noGrp="1"/>
          </p:cNvSpPr>
          <p:nvPr>
            <p:ph type="title"/>
            <p:custDataLst>
              <p:tags r:id="rId4"/>
            </p:custDataLst>
          </p:nvPr>
        </p:nvSpPr>
        <p:spPr>
          <a:xfrm>
            <a:off x="554735" y="134291"/>
            <a:ext cx="5337017" cy="769441"/>
          </a:xfrm>
          <a:noFill/>
          <a:ln/>
          <a:extLst>
            <a:ext uri="{909E8E84-426E-40DD-AFC4-6F175D3DCCD1}">
              <a14:hiddenFill xmlns:a14="http://schemas.microsoft.com/office/drawing/2010/main">
                <a:solidFill>
                  <a:srgbClr val="FFFFFF"/>
                </a:solidFill>
              </a14:hiddenFill>
            </a:ext>
          </a:extLst>
        </p:spPr>
        <p:txBody>
          <a:bodyPr wrap="square" anchor="b" anchorCtr="0">
            <a:noAutofit/>
          </a:bodyPr>
          <a:lstStyle/>
          <a:p>
            <a:r>
              <a:rPr lang="en-US" dirty="0" err="1"/>
              <a:t>Werkdruk</a:t>
            </a:r>
            <a:r>
              <a:rPr lang="en-US" dirty="0"/>
              <a:t> </a:t>
            </a:r>
            <a:r>
              <a:rPr lang="en-US" dirty="0" err="1"/>
              <a:t>komt</a:t>
            </a:r>
            <a:r>
              <a:rPr lang="en-US" dirty="0"/>
              <a:t> </a:t>
            </a:r>
            <a:r>
              <a:rPr lang="en-US" dirty="0" err="1"/>
              <a:t>veel</a:t>
            </a:r>
            <a:r>
              <a:rPr lang="en-US" dirty="0"/>
              <a:t> harder </a:t>
            </a:r>
            <a:r>
              <a:rPr lang="en-US" dirty="0" err="1"/>
              <a:t>aan</a:t>
            </a:r>
            <a:r>
              <a:rPr lang="en-US" dirty="0"/>
              <a:t> als </a:t>
            </a:r>
            <a:r>
              <a:rPr lang="en-US" dirty="0" err="1"/>
              <a:t>je</a:t>
            </a:r>
            <a:r>
              <a:rPr lang="en-US" dirty="0"/>
              <a:t> als </a:t>
            </a:r>
            <a:r>
              <a:rPr lang="en-US" dirty="0" err="1"/>
              <a:t>leraar</a:t>
            </a:r>
            <a:r>
              <a:rPr lang="en-US" dirty="0"/>
              <a:t> </a:t>
            </a:r>
            <a:r>
              <a:rPr lang="en-US" dirty="0" err="1"/>
              <a:t>er</a:t>
            </a:r>
            <a:r>
              <a:rPr lang="en-US" dirty="0"/>
              <a:t> alleen </a:t>
            </a:r>
            <a:r>
              <a:rPr lang="en-US" dirty="0" err="1"/>
              <a:t>voor</a:t>
            </a:r>
            <a:r>
              <a:rPr lang="en-US" dirty="0"/>
              <a:t> </a:t>
            </a:r>
            <a:r>
              <a:rPr lang="en-US" dirty="0" err="1"/>
              <a:t>staat</a:t>
            </a:r>
            <a:r>
              <a:rPr lang="en-US" dirty="0"/>
              <a:t> in de </a:t>
            </a:r>
            <a:r>
              <a:rPr lang="en-US" dirty="0" err="1"/>
              <a:t>klas</a:t>
            </a:r>
            <a:endParaRPr lang="en-US" dirty="0"/>
          </a:p>
        </p:txBody>
      </p:sp>
      <p:sp>
        <p:nvSpPr>
          <p:cNvPr id="27" name="5. Source">
            <a:extLst>
              <a:ext uri="{FF2B5EF4-FFF2-40B4-BE49-F238E27FC236}">
                <a16:creationId xmlns:a16="http://schemas.microsoft.com/office/drawing/2014/main" id="{72E1F8DC-9E49-47CC-A472-5945D49C963C}"/>
              </a:ext>
            </a:extLst>
          </p:cNvPr>
          <p:cNvSpPr txBox="1"/>
          <p:nvPr>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Bron: Ryan </a:t>
            </a:r>
            <a:r>
              <a:rPr lang="en-US" sz="800" dirty="0" err="1"/>
              <a:t>en</a:t>
            </a:r>
            <a:r>
              <a:rPr lang="en-US" sz="800" dirty="0"/>
              <a:t> Deci</a:t>
            </a:r>
          </a:p>
        </p:txBody>
      </p:sp>
      <p:sp>
        <p:nvSpPr>
          <p:cNvPr id="3" name="TextBox 2">
            <a:extLst>
              <a:ext uri="{FF2B5EF4-FFF2-40B4-BE49-F238E27FC236}">
                <a16:creationId xmlns:a16="http://schemas.microsoft.com/office/drawing/2014/main" id="{6D614423-A9C9-4B12-A22C-17CB3FEE6E99}"/>
              </a:ext>
            </a:extLst>
          </p:cNvPr>
          <p:cNvSpPr txBox="1">
            <a:spLocks/>
          </p:cNvSpPr>
          <p:nvPr/>
        </p:nvSpPr>
        <p:spPr>
          <a:xfrm>
            <a:off x="6534294" y="1417891"/>
            <a:ext cx="5268038" cy="461664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nl-NL" sz="2000">
                <a:cs typeface="+mn-cs"/>
              </a:rPr>
              <a:t>Leerkrachten ervaren veel werkdruk. Dit komt niet alleen door teveel werk. </a:t>
            </a:r>
            <a:r>
              <a:rPr lang="nl-NL" sz="2000" b="1">
                <a:cs typeface="+mn-cs"/>
              </a:rPr>
              <a:t>Het wordt verergerd doordat leraren er in de klas vaak alleen voor staan. </a:t>
            </a:r>
          </a:p>
          <a:p>
            <a:r>
              <a:rPr lang="nl-NL" sz="2000">
                <a:cs typeface="+mn-cs"/>
              </a:rPr>
              <a:t>Kijk maar naar het onderzoek van Ryan en Deci:</a:t>
            </a:r>
          </a:p>
          <a:p>
            <a:r>
              <a:rPr lang="nl-NL" sz="2000" b="1">
                <a:cs typeface="+mn-cs"/>
              </a:rPr>
              <a:t>1. Invloed. </a:t>
            </a:r>
            <a:r>
              <a:rPr lang="nl-NL" sz="2000">
                <a:cs typeface="+mn-cs"/>
              </a:rPr>
              <a:t>Leraren kunnen niet gezamenlijk een vuist maken tegen externe druk. Ze hebben zo weinig invloed op wat er buiten de klas gebeurt</a:t>
            </a:r>
          </a:p>
          <a:p>
            <a:r>
              <a:rPr lang="nl-NL" sz="2000" b="1">
                <a:cs typeface="+mn-cs"/>
              </a:rPr>
              <a:t>2. Relatie. </a:t>
            </a:r>
            <a:r>
              <a:rPr lang="nl-NL" sz="2000">
                <a:cs typeface="+mn-cs"/>
              </a:rPr>
              <a:t>Het vak leraar is ingewikkeld. 75% van de leraren komt zelden of nooit bij een collega in de klas. Hoe leer je dan van collega’s?</a:t>
            </a:r>
          </a:p>
          <a:p>
            <a:r>
              <a:rPr lang="nl-NL" sz="2000" b="1">
                <a:cs typeface="+mn-cs"/>
              </a:rPr>
              <a:t>3. Competentie. </a:t>
            </a:r>
            <a:r>
              <a:rPr lang="nl-NL" sz="2000">
                <a:cs typeface="+mn-cs"/>
              </a:rPr>
              <a:t>Het vak is uitdagend. Als je dan beperkt leert van en met collega’s, mis je vaardigheden om nieuwe situaties aan te kunnen.</a:t>
            </a:r>
            <a:endParaRPr lang="nl-NL" sz="2000" b="1">
              <a:cs typeface="+mn-cs"/>
            </a:endParaRPr>
          </a:p>
        </p:txBody>
      </p:sp>
      <p:sp>
        <p:nvSpPr>
          <p:cNvPr id="35" name="TextBox 34">
            <a:extLst>
              <a:ext uri="{FF2B5EF4-FFF2-40B4-BE49-F238E27FC236}">
                <a16:creationId xmlns:a16="http://schemas.microsoft.com/office/drawing/2014/main" id="{738C86E0-2319-4D3B-AA58-DE9C9DCDA7D7}"/>
              </a:ext>
            </a:extLst>
          </p:cNvPr>
          <p:cNvSpPr txBox="1">
            <a:spLocks/>
          </p:cNvSpPr>
          <p:nvPr/>
        </p:nvSpPr>
        <p:spPr>
          <a:xfrm>
            <a:off x="554736" y="1417891"/>
            <a:ext cx="5065776" cy="5693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nl-NL" b="1">
                <a:cs typeface="+mn-cs"/>
              </a:rPr>
              <a:t>Oorzaken van werkstress, 2000</a:t>
            </a:r>
          </a:p>
          <a:p>
            <a:r>
              <a:rPr lang="nl-NL">
                <a:cs typeface="+mn-cs"/>
              </a:rPr>
              <a:t>Onderzoek Ryan &amp; Deci, Universiteit van Rochester</a:t>
            </a:r>
            <a:endParaRPr lang="en-GB">
              <a:cs typeface="+mn-cs"/>
            </a:endParaRPr>
          </a:p>
        </p:txBody>
      </p:sp>
      <p:grpSp>
        <p:nvGrpSpPr>
          <p:cNvPr id="36" name="Group 35">
            <a:extLst>
              <a:ext uri="{FF2B5EF4-FFF2-40B4-BE49-F238E27FC236}">
                <a16:creationId xmlns:a16="http://schemas.microsoft.com/office/drawing/2014/main" id="{D333B019-877C-4523-8335-F5D2BEE30ADF}"/>
              </a:ext>
            </a:extLst>
          </p:cNvPr>
          <p:cNvGrpSpPr/>
          <p:nvPr/>
        </p:nvGrpSpPr>
        <p:grpSpPr>
          <a:xfrm>
            <a:off x="1511355" y="2145088"/>
            <a:ext cx="3152539" cy="2590800"/>
            <a:chOff x="1109825" y="2405743"/>
            <a:chExt cx="3152539" cy="2590800"/>
          </a:xfrm>
        </p:grpSpPr>
        <p:sp>
          <p:nvSpPr>
            <p:cNvPr id="37" name="Isosceles Triangle 36">
              <a:extLst>
                <a:ext uri="{FF2B5EF4-FFF2-40B4-BE49-F238E27FC236}">
                  <a16:creationId xmlns:a16="http://schemas.microsoft.com/office/drawing/2014/main" id="{7003E5BD-48D1-44FE-888D-AF8AAA88B9A3}"/>
                </a:ext>
              </a:extLst>
            </p:cNvPr>
            <p:cNvSpPr/>
            <p:nvPr/>
          </p:nvSpPr>
          <p:spPr>
            <a:xfrm>
              <a:off x="1109825" y="3701143"/>
              <a:ext cx="1575146" cy="1295400"/>
            </a:xfrm>
            <a:prstGeom prst="triangl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bg1"/>
                </a:solidFill>
              </a:endParaRPr>
            </a:p>
          </p:txBody>
        </p:sp>
        <p:sp>
          <p:nvSpPr>
            <p:cNvPr id="39" name="Isosceles Triangle 38">
              <a:extLst>
                <a:ext uri="{FF2B5EF4-FFF2-40B4-BE49-F238E27FC236}">
                  <a16:creationId xmlns:a16="http://schemas.microsoft.com/office/drawing/2014/main" id="{AE5D22D8-868D-4FFD-8DA7-22FAEF1BB954}"/>
                </a:ext>
              </a:extLst>
            </p:cNvPr>
            <p:cNvSpPr/>
            <p:nvPr/>
          </p:nvSpPr>
          <p:spPr>
            <a:xfrm>
              <a:off x="2687218" y="3701143"/>
              <a:ext cx="1575146" cy="1295400"/>
            </a:xfrm>
            <a:prstGeom prst="triangl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bg1"/>
                </a:solidFill>
              </a:endParaRPr>
            </a:p>
          </p:txBody>
        </p:sp>
        <p:sp>
          <p:nvSpPr>
            <p:cNvPr id="40" name="Isosceles Triangle 39">
              <a:extLst>
                <a:ext uri="{FF2B5EF4-FFF2-40B4-BE49-F238E27FC236}">
                  <a16:creationId xmlns:a16="http://schemas.microsoft.com/office/drawing/2014/main" id="{49A86DF0-2F37-4097-B8CE-41A65EC67D38}"/>
                </a:ext>
              </a:extLst>
            </p:cNvPr>
            <p:cNvSpPr/>
            <p:nvPr/>
          </p:nvSpPr>
          <p:spPr>
            <a:xfrm>
              <a:off x="1897398" y="2405743"/>
              <a:ext cx="1575146" cy="1295400"/>
            </a:xfrm>
            <a:prstGeom prst="triangl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bg1"/>
                </a:solidFill>
              </a:endParaRPr>
            </a:p>
          </p:txBody>
        </p:sp>
        <p:sp>
          <p:nvSpPr>
            <p:cNvPr id="44" name="TextBox 43">
              <a:extLst>
                <a:ext uri="{FF2B5EF4-FFF2-40B4-BE49-F238E27FC236}">
                  <a16:creationId xmlns:a16="http://schemas.microsoft.com/office/drawing/2014/main" id="{39A1FB9E-4876-47D4-937F-79158F438C45}"/>
                </a:ext>
              </a:extLst>
            </p:cNvPr>
            <p:cNvSpPr txBox="1">
              <a:spLocks/>
            </p:cNvSpPr>
            <p:nvPr/>
          </p:nvSpPr>
          <p:spPr>
            <a:xfrm>
              <a:off x="2339084" y="3429000"/>
              <a:ext cx="803504"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FFFFFF"/>
                </a:buClr>
              </a:pPr>
              <a:r>
                <a:rPr lang="nl-NL" sz="1200" b="1">
                  <a:solidFill>
                    <a:srgbClr val="FFFFFF"/>
                  </a:solidFill>
                  <a:cs typeface="+mn-cs"/>
                </a:rPr>
                <a:t>1. Invloed</a:t>
              </a:r>
              <a:endParaRPr lang="en-GB" sz="1200">
                <a:solidFill>
                  <a:srgbClr val="FFFFFF"/>
                </a:solidFill>
                <a:cs typeface="+mn-cs"/>
              </a:endParaRPr>
            </a:p>
          </p:txBody>
        </p:sp>
        <p:sp>
          <p:nvSpPr>
            <p:cNvPr id="45" name="TextBox 44">
              <a:extLst>
                <a:ext uri="{FF2B5EF4-FFF2-40B4-BE49-F238E27FC236}">
                  <a16:creationId xmlns:a16="http://schemas.microsoft.com/office/drawing/2014/main" id="{220BB0DF-BC2B-42B2-954E-E866C9783A6D}"/>
                </a:ext>
              </a:extLst>
            </p:cNvPr>
            <p:cNvSpPr txBox="1">
              <a:spLocks/>
            </p:cNvSpPr>
            <p:nvPr/>
          </p:nvSpPr>
          <p:spPr>
            <a:xfrm>
              <a:off x="1519078" y="4713513"/>
              <a:ext cx="803504"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FFFFFF"/>
                </a:buClr>
              </a:pPr>
              <a:r>
                <a:rPr lang="nl-NL" sz="1200" b="1">
                  <a:solidFill>
                    <a:srgbClr val="FFFFFF"/>
                  </a:solidFill>
                  <a:cs typeface="+mn-cs"/>
                </a:rPr>
                <a:t>2. Relatie</a:t>
              </a:r>
              <a:endParaRPr lang="en-GB" sz="1200">
                <a:solidFill>
                  <a:srgbClr val="FFFFFF"/>
                </a:solidFill>
                <a:cs typeface="+mn-cs"/>
              </a:endParaRPr>
            </a:p>
          </p:txBody>
        </p:sp>
        <p:sp>
          <p:nvSpPr>
            <p:cNvPr id="46" name="TextBox 45">
              <a:extLst>
                <a:ext uri="{FF2B5EF4-FFF2-40B4-BE49-F238E27FC236}">
                  <a16:creationId xmlns:a16="http://schemas.microsoft.com/office/drawing/2014/main" id="{409C3E65-F673-46F9-BC52-4A9ABCDBDBAC}"/>
                </a:ext>
              </a:extLst>
            </p:cNvPr>
            <p:cNvSpPr txBox="1">
              <a:spLocks/>
            </p:cNvSpPr>
            <p:nvPr/>
          </p:nvSpPr>
          <p:spPr>
            <a:xfrm>
              <a:off x="2943114" y="4713513"/>
              <a:ext cx="1160000"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FFFFFF"/>
                </a:buClr>
              </a:pPr>
              <a:r>
                <a:rPr lang="nl-NL" sz="1200" b="1">
                  <a:solidFill>
                    <a:srgbClr val="FFFFFF"/>
                  </a:solidFill>
                  <a:cs typeface="+mn-cs"/>
                </a:rPr>
                <a:t>3. Competentie</a:t>
              </a:r>
              <a:endParaRPr lang="en-GB" sz="1200">
                <a:solidFill>
                  <a:srgbClr val="FFFFFF"/>
                </a:solidFill>
                <a:cs typeface="+mn-cs"/>
              </a:endParaRPr>
            </a:p>
          </p:txBody>
        </p:sp>
        <p:pic>
          <p:nvPicPr>
            <p:cNvPr id="47" name="Graphic 46" descr="Connections">
              <a:extLst>
                <a:ext uri="{FF2B5EF4-FFF2-40B4-BE49-F238E27FC236}">
                  <a16:creationId xmlns:a16="http://schemas.microsoft.com/office/drawing/2014/main" id="{A62B3BF5-4898-453C-899B-20466661391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380171" y="2819400"/>
              <a:ext cx="609600" cy="609600"/>
            </a:xfrm>
            <a:prstGeom prst="rect">
              <a:avLst/>
            </a:prstGeom>
          </p:spPr>
        </p:pic>
        <p:pic>
          <p:nvPicPr>
            <p:cNvPr id="48" name="Graphic 47" descr="Handshake">
              <a:extLst>
                <a:ext uri="{FF2B5EF4-FFF2-40B4-BE49-F238E27FC236}">
                  <a16:creationId xmlns:a16="http://schemas.microsoft.com/office/drawing/2014/main" id="{052E7CF5-90DE-4EF3-B0CB-483EEE59122C}"/>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553754" y="4148395"/>
              <a:ext cx="687288" cy="687288"/>
            </a:xfrm>
            <a:prstGeom prst="rect">
              <a:avLst/>
            </a:prstGeom>
          </p:spPr>
        </p:pic>
        <p:pic>
          <p:nvPicPr>
            <p:cNvPr id="49" name="Graphic 48" descr="Books">
              <a:extLst>
                <a:ext uri="{FF2B5EF4-FFF2-40B4-BE49-F238E27FC236}">
                  <a16:creationId xmlns:a16="http://schemas.microsoft.com/office/drawing/2014/main" id="{8AFDF33A-BC4D-42E8-8B48-266A623C9ED6}"/>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173187" y="4125686"/>
              <a:ext cx="598714" cy="598714"/>
            </a:xfrm>
            <a:prstGeom prst="rect">
              <a:avLst/>
            </a:prstGeom>
          </p:spPr>
        </p:pic>
        <p:sp>
          <p:nvSpPr>
            <p:cNvPr id="50" name="TextBox 49">
              <a:extLst>
                <a:ext uri="{FF2B5EF4-FFF2-40B4-BE49-F238E27FC236}">
                  <a16:creationId xmlns:a16="http://schemas.microsoft.com/office/drawing/2014/main" id="{B4266AAA-7B3E-4E90-A835-5BA4DB5DA4DF}"/>
                </a:ext>
              </a:extLst>
            </p:cNvPr>
            <p:cNvSpPr txBox="1">
              <a:spLocks/>
            </p:cNvSpPr>
            <p:nvPr/>
          </p:nvSpPr>
          <p:spPr>
            <a:xfrm>
              <a:off x="2301520" y="3935424"/>
              <a:ext cx="803504"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Clr>
                  <a:srgbClr val="FFFFFF"/>
                </a:buClr>
              </a:pPr>
              <a:r>
                <a:rPr lang="nl-NL" sz="1200" b="1">
                  <a:solidFill>
                    <a:schemeClr val="accent1"/>
                  </a:solidFill>
                  <a:cs typeface="+mn-cs"/>
                </a:rPr>
                <a:t>Gebrek aan</a:t>
              </a:r>
              <a:endParaRPr lang="en-GB" sz="1200">
                <a:solidFill>
                  <a:schemeClr val="accent1"/>
                </a:solidFill>
                <a:cs typeface="+mn-cs"/>
              </a:endParaRPr>
            </a:p>
          </p:txBody>
        </p:sp>
        <p:sp>
          <p:nvSpPr>
            <p:cNvPr id="51" name="Arrow: Right 50">
              <a:extLst>
                <a:ext uri="{FF2B5EF4-FFF2-40B4-BE49-F238E27FC236}">
                  <a16:creationId xmlns:a16="http://schemas.microsoft.com/office/drawing/2014/main" id="{9ADDEB42-C453-4849-8E01-3294FFF8C7E2}"/>
                </a:ext>
              </a:extLst>
            </p:cNvPr>
            <p:cNvSpPr/>
            <p:nvPr/>
          </p:nvSpPr>
          <p:spPr>
            <a:xfrm rot="16200000">
              <a:off x="2607714" y="3701403"/>
              <a:ext cx="150020" cy="199680"/>
            </a:xfrm>
            <a:prstGeom prst="rightArrow">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bg1"/>
                </a:solidFill>
              </a:endParaRPr>
            </a:p>
          </p:txBody>
        </p:sp>
        <p:sp>
          <p:nvSpPr>
            <p:cNvPr id="52" name="Arrow: Right 51">
              <a:extLst>
                <a:ext uri="{FF2B5EF4-FFF2-40B4-BE49-F238E27FC236}">
                  <a16:creationId xmlns:a16="http://schemas.microsoft.com/office/drawing/2014/main" id="{AFE678C8-788F-43F7-B8F2-DFDEFF61DBFD}"/>
                </a:ext>
              </a:extLst>
            </p:cNvPr>
            <p:cNvSpPr/>
            <p:nvPr/>
          </p:nvSpPr>
          <p:spPr>
            <a:xfrm rot="2178605">
              <a:off x="2914761" y="4175136"/>
              <a:ext cx="150020" cy="199680"/>
            </a:xfrm>
            <a:prstGeom prst="rightArrow">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bg1"/>
                </a:solidFill>
              </a:endParaRPr>
            </a:p>
          </p:txBody>
        </p:sp>
        <p:sp>
          <p:nvSpPr>
            <p:cNvPr id="53" name="Arrow: Right 52">
              <a:extLst>
                <a:ext uri="{FF2B5EF4-FFF2-40B4-BE49-F238E27FC236}">
                  <a16:creationId xmlns:a16="http://schemas.microsoft.com/office/drawing/2014/main" id="{61B3D251-C47E-4AF4-BB9D-391CB252CC27}"/>
                </a:ext>
              </a:extLst>
            </p:cNvPr>
            <p:cNvSpPr/>
            <p:nvPr/>
          </p:nvSpPr>
          <p:spPr>
            <a:xfrm rot="8653422">
              <a:off x="2295572" y="4175155"/>
              <a:ext cx="150020" cy="199680"/>
            </a:xfrm>
            <a:prstGeom prst="rightArrow">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err="1">
                <a:solidFill>
                  <a:schemeClr val="bg1"/>
                </a:solidFill>
              </a:endParaRPr>
            </a:p>
          </p:txBody>
        </p:sp>
      </p:grpSp>
      <p:sp>
        <p:nvSpPr>
          <p:cNvPr id="54" name="TextBox 53">
            <a:extLst>
              <a:ext uri="{FF2B5EF4-FFF2-40B4-BE49-F238E27FC236}">
                <a16:creationId xmlns:a16="http://schemas.microsoft.com/office/drawing/2014/main" id="{2843D079-1845-45D5-B84E-17A4B081E491}"/>
              </a:ext>
            </a:extLst>
          </p:cNvPr>
          <p:cNvSpPr txBox="1">
            <a:spLocks/>
          </p:cNvSpPr>
          <p:nvPr/>
        </p:nvSpPr>
        <p:spPr>
          <a:xfrm>
            <a:off x="554736" y="5037533"/>
            <a:ext cx="5268038" cy="123110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nl-NL" sz="1400" b="1">
                <a:latin typeface="+mj-lt"/>
                <a:cs typeface="+mn-cs"/>
              </a:rPr>
              <a:t>1. Invloed: </a:t>
            </a:r>
            <a:r>
              <a:rPr lang="nl-NL" sz="1400">
                <a:latin typeface="+mj-lt"/>
              </a:rPr>
              <a:t>Je hebt onvoldoende controle over je eigen werkzaamheden</a:t>
            </a:r>
          </a:p>
          <a:p>
            <a:r>
              <a:rPr lang="nl-NL" sz="1400" b="1">
                <a:latin typeface="+mj-lt"/>
                <a:cs typeface="+mn-cs"/>
              </a:rPr>
              <a:t>2. Relatie. </a:t>
            </a:r>
            <a:r>
              <a:rPr lang="nl-NL" sz="1400">
                <a:latin typeface="+mj-lt"/>
              </a:rPr>
              <a:t>Je ervaart weinig ondersteuning door collega's en leidinggevenden</a:t>
            </a:r>
          </a:p>
          <a:p>
            <a:r>
              <a:rPr lang="nl-NL" sz="1400" b="1">
                <a:latin typeface="+mj-lt"/>
                <a:cs typeface="+mn-cs"/>
              </a:rPr>
              <a:t>3. Competentie. </a:t>
            </a:r>
            <a:r>
              <a:rPr lang="nl-NL" sz="1400">
                <a:latin typeface="+mj-lt"/>
              </a:rPr>
              <a:t>Je mist middelen of vaardigheden om je werk goed te doen</a:t>
            </a:r>
            <a:endParaRPr lang="en-GB" sz="1400">
              <a:latin typeface="+mj-lt"/>
              <a:cs typeface="+mn-cs"/>
            </a:endParaRPr>
          </a:p>
        </p:txBody>
      </p:sp>
    </p:spTree>
    <p:extLst>
      <p:ext uri="{BB962C8B-B14F-4D97-AF65-F5344CB8AC3E}">
        <p14:creationId xmlns:p14="http://schemas.microsoft.com/office/powerpoint/2010/main" val="9148789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B0E17E90-3C4E-4F37-9FA4-FC779C250872}"/>
              </a:ext>
            </a:extLst>
          </p:cNvPr>
          <p:cNvGraphicFramePr>
            <a:graphicFrameLocks noChangeAspect="1"/>
          </p:cNvGraphicFramePr>
          <p:nvPr>
            <p:custDataLst>
              <p:tags r:id="rId3"/>
            </p:custDataLst>
            <p:extLst>
              <p:ext uri="{D42A27DB-BD31-4B8C-83A1-F6EECF244321}">
                <p14:modId xmlns:p14="http://schemas.microsoft.com/office/powerpoint/2010/main" val="1737380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7" name="think-cell Slide" r:id="rId10" imgW="592" imgH="591" progId="TCLayout.ActiveDocument.1">
                  <p:embed/>
                </p:oleObj>
              </mc:Choice>
              <mc:Fallback>
                <p:oleObj name="think-cell Slide" r:id="rId10" imgW="592" imgH="591"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EB9340E2-D95A-4545-81E1-3AD07AB3A012}"/>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fr-FR" sz="4400" b="1" dirty="0">
              <a:solidFill>
                <a:schemeClr val="bg1"/>
              </a:solidFill>
              <a:latin typeface="Calibri" panose="020F0502020204030204" pitchFamily="34" charset="0"/>
              <a:ea typeface="+mj-ea"/>
              <a:cs typeface="+mj-cs"/>
              <a:sym typeface="Calibri" panose="020F0502020204030204" pitchFamily="34" charset="0"/>
            </a:endParaRPr>
          </a:p>
        </p:txBody>
      </p:sp>
      <p:sp>
        <p:nvSpPr>
          <p:cNvPr id="2" name="Documenttype">
            <a:extLst>
              <a:ext uri="{FF2B5EF4-FFF2-40B4-BE49-F238E27FC236}">
                <a16:creationId xmlns:a16="http://schemas.microsoft.com/office/drawing/2014/main" id="{11D06D31-577C-468F-A315-4B1A48E07A2C}"/>
              </a:ext>
            </a:extLst>
          </p:cNvPr>
          <p:cNvSpPr>
            <a:spLocks noGrp="1"/>
          </p:cNvSpPr>
          <p:nvPr>
            <p:ph type="body" sz="quarter" idx="13"/>
            <p:custDataLst>
              <p:tags r:id="rId5"/>
            </p:custDataLst>
          </p:nvPr>
        </p:nvSpPr>
        <p:spPr>
          <a:xfrm>
            <a:off x="550291" y="5256647"/>
            <a:ext cx="5201159" cy="215444"/>
          </a:xfrm>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r>
              <a:rPr lang="fr-FR" dirty="0"/>
              <a:t>Januari 2021</a:t>
            </a:r>
          </a:p>
        </p:txBody>
      </p:sp>
      <p:sp>
        <p:nvSpPr>
          <p:cNvPr id="3" name="Subtitle">
            <a:extLst>
              <a:ext uri="{FF2B5EF4-FFF2-40B4-BE49-F238E27FC236}">
                <a16:creationId xmlns:a16="http://schemas.microsoft.com/office/drawing/2014/main" id="{9D165D28-4E2C-4E35-98E6-6B5023BBA057}"/>
              </a:ext>
            </a:extLst>
          </p:cNvPr>
          <p:cNvSpPr>
            <a:spLocks noGrp="1"/>
          </p:cNvSpPr>
          <p:nvPr>
            <p:ph type="subTitle" idx="1"/>
            <p:custDataLst>
              <p:tags r:id="rId6"/>
            </p:custDataLst>
          </p:nvPr>
        </p:nvSpPr>
        <p:spPr>
          <a:xfrm>
            <a:off x="550291" y="4839038"/>
            <a:ext cx="5201159" cy="307777"/>
          </a:xfrm>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r>
              <a:rPr lang="fr-FR" dirty="0"/>
              <a:t>Jaap Versfelt - Nivoz</a:t>
            </a:r>
          </a:p>
        </p:txBody>
      </p:sp>
      <p:sp>
        <p:nvSpPr>
          <p:cNvPr id="4" name="Title">
            <a:extLst>
              <a:ext uri="{FF2B5EF4-FFF2-40B4-BE49-F238E27FC236}">
                <a16:creationId xmlns:a16="http://schemas.microsoft.com/office/drawing/2014/main" id="{806FD97B-691F-4513-92F7-37A1FAC29B8E}"/>
              </a:ext>
            </a:extLst>
          </p:cNvPr>
          <p:cNvSpPr>
            <a:spLocks noGrp="1"/>
          </p:cNvSpPr>
          <p:nvPr>
            <p:ph type="title"/>
            <p:custDataLst>
              <p:tags r:id="rId7"/>
            </p:custDataLst>
          </p:nvPr>
        </p:nvSpPr>
        <p:spPr>
          <a:xfrm>
            <a:off x="550291" y="2625111"/>
            <a:ext cx="5201159" cy="2092881"/>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fr-FR" dirty="0"/>
              <a:t>De veerkracht van onze onderwijscultuur</a:t>
            </a:r>
            <a:br>
              <a:rPr lang="fr-FR" dirty="0"/>
            </a:br>
            <a:r>
              <a:rPr lang="fr-FR" sz="2400" i="1" dirty="0"/>
              <a:t>Waarom maken we geen einde aan kansenongelijkheid?</a:t>
            </a:r>
          </a:p>
        </p:txBody>
      </p:sp>
    </p:spTree>
    <p:custDataLst>
      <p:tags r:id="rId2"/>
    </p:custDataLst>
    <p:extLst>
      <p:ext uri="{BB962C8B-B14F-4D97-AF65-F5344CB8AC3E}">
        <p14:creationId xmlns:p14="http://schemas.microsoft.com/office/powerpoint/2010/main" val="6192171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2" hidden="1">
            <a:extLst>
              <a:ext uri="{FF2B5EF4-FFF2-40B4-BE49-F238E27FC236}">
                <a16:creationId xmlns:a16="http://schemas.microsoft.com/office/drawing/2014/main" id="{5B485DF3-439B-4963-BDFE-AC5558171C93}"/>
              </a:ext>
            </a:extLst>
          </p:cNvPr>
          <p:cNvGraphicFramePr>
            <a:graphicFrameLocks noChangeAspect="1"/>
          </p:cNvGraphicFramePr>
          <p:nvPr>
            <p:custDataLst>
              <p:tags r:id="rId2"/>
            </p:custDataLst>
            <p:extLst>
              <p:ext uri="{D42A27DB-BD31-4B8C-83A1-F6EECF244321}">
                <p14:modId xmlns:p14="http://schemas.microsoft.com/office/powerpoint/2010/main" val="4623851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71" name="think-cell Slide" r:id="rId9" imgW="395" imgH="394" progId="TCLayout.ActiveDocument.1">
                  <p:embed/>
                </p:oleObj>
              </mc:Choice>
              <mc:Fallback>
                <p:oleObj name="think-cell Slide" r:id="rId9" imgW="395" imgH="394" progId="TCLayout.ActiveDocument.1">
                  <p:embed/>
                  <p:pic>
                    <p:nvPicPr>
                      <p:cNvPr id="6" name="Object 2" hidden="1">
                        <a:extLst>
                          <a:ext uri="{FF2B5EF4-FFF2-40B4-BE49-F238E27FC236}">
                            <a16:creationId xmlns:a16="http://schemas.microsoft.com/office/drawing/2014/main" id="{5B485DF3-439B-4963-BDFE-AC5558171C9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7" name="Rectangle 1" hidden="1">
            <a:extLst>
              <a:ext uri="{FF2B5EF4-FFF2-40B4-BE49-F238E27FC236}">
                <a16:creationId xmlns:a16="http://schemas.microsoft.com/office/drawing/2014/main" id="{1A14C10C-48E3-4FBF-89B6-5DDA2F098BB7}"/>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err="1">
              <a:solidFill>
                <a:schemeClr val="bg1"/>
              </a:solidFill>
              <a:latin typeface="Calibri" panose="020F0502020204030204" pitchFamily="34" charset="0"/>
              <a:ea typeface="+mj-ea"/>
              <a:cs typeface="+mj-cs"/>
              <a:sym typeface="Calibri" panose="020F0502020204030204" pitchFamily="34" charset="0"/>
            </a:endParaRPr>
          </a:p>
        </p:txBody>
      </p:sp>
      <p:sp>
        <p:nvSpPr>
          <p:cNvPr id="2" name="2. Slide Title">
            <a:extLst>
              <a:ext uri="{FF2B5EF4-FFF2-40B4-BE49-F238E27FC236}">
                <a16:creationId xmlns:a16="http://schemas.microsoft.com/office/drawing/2014/main" id="{779F8892-6158-4B73-B6C6-9C646BEAC748}"/>
              </a:ext>
            </a:extLst>
          </p:cNvPr>
          <p:cNvSpPr>
            <a:spLocks noGrp="1"/>
          </p:cNvSpPr>
          <p:nvPr>
            <p:ph type="title"/>
            <p:custDataLst>
              <p:tags r:id="rId4"/>
            </p:custDataLst>
          </p:nvPr>
        </p:nvSpPr>
        <p:spPr>
          <a:xfrm>
            <a:off x="554734" y="519011"/>
            <a:ext cx="11082528" cy="384721"/>
          </a:xfrm>
          <a:noFill/>
          <a:ln/>
          <a:extLst>
            <a:ext uri="{909E8E84-426E-40DD-AFC4-6F175D3DCCD1}">
              <a14:hiddenFill xmlns:a14="http://schemas.microsoft.com/office/drawing/2010/main">
                <a:solidFill>
                  <a:srgbClr val="FFFFFF"/>
                </a:solidFill>
              </a14:hiddenFill>
            </a:ext>
          </a:extLst>
        </p:spPr>
        <p:txBody>
          <a:bodyPr wrap="square" lIns="0" tIns="0" rIns="0" bIns="0" anchor="b" anchorCtr="0">
            <a:noAutofit/>
          </a:bodyPr>
          <a:lstStyle/>
          <a:p>
            <a:r>
              <a:rPr lang="en-US" err="1"/>
              <a:t>Samenvatting</a:t>
            </a:r>
            <a:r>
              <a:rPr lang="en-US"/>
              <a:t> – wat </a:t>
            </a:r>
            <a:r>
              <a:rPr lang="en-US" err="1"/>
              <a:t>weten</a:t>
            </a:r>
            <a:r>
              <a:rPr lang="en-US"/>
              <a:t> we nu? </a:t>
            </a:r>
          </a:p>
        </p:txBody>
      </p:sp>
      <p:sp>
        <p:nvSpPr>
          <p:cNvPr id="8" name="TextBox 7">
            <a:extLst>
              <a:ext uri="{FF2B5EF4-FFF2-40B4-BE49-F238E27FC236}">
                <a16:creationId xmlns:a16="http://schemas.microsoft.com/office/drawing/2014/main" id="{6698EF6F-65BA-465F-A419-293EA08B603E}"/>
              </a:ext>
            </a:extLst>
          </p:cNvPr>
          <p:cNvSpPr txBox="1">
            <a:spLocks/>
          </p:cNvSpPr>
          <p:nvPr/>
        </p:nvSpPr>
        <p:spPr>
          <a:xfrm>
            <a:off x="554734" y="1600883"/>
            <a:ext cx="3466226" cy="92333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nl-NL" sz="2000" b="1">
                <a:cs typeface="+mn-cs"/>
              </a:rPr>
              <a:t>De kwaliteit van het Nederlandse onderwijs staat onder druk</a:t>
            </a:r>
          </a:p>
        </p:txBody>
      </p:sp>
      <p:sp>
        <p:nvSpPr>
          <p:cNvPr id="10" name="TextBox 9">
            <a:extLst>
              <a:ext uri="{FF2B5EF4-FFF2-40B4-BE49-F238E27FC236}">
                <a16:creationId xmlns:a16="http://schemas.microsoft.com/office/drawing/2014/main" id="{89573379-5AD5-4869-A7B0-D646B8D03C60}"/>
              </a:ext>
            </a:extLst>
          </p:cNvPr>
          <p:cNvSpPr txBox="1">
            <a:spLocks/>
          </p:cNvSpPr>
          <p:nvPr/>
        </p:nvSpPr>
        <p:spPr>
          <a:xfrm>
            <a:off x="4362885" y="1908660"/>
            <a:ext cx="3466226" cy="61555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nl-NL" sz="2000" b="1">
                <a:cs typeface="+mn-cs"/>
              </a:rPr>
              <a:t>Een verbetercultuur op scholen kan helpen het tij te keren</a:t>
            </a:r>
          </a:p>
        </p:txBody>
      </p:sp>
      <p:sp>
        <p:nvSpPr>
          <p:cNvPr id="11" name="TextBox 10">
            <a:extLst>
              <a:ext uri="{FF2B5EF4-FFF2-40B4-BE49-F238E27FC236}">
                <a16:creationId xmlns:a16="http://schemas.microsoft.com/office/drawing/2014/main" id="{1F286D23-FD7A-4F01-B881-4E2F21E5F767}"/>
              </a:ext>
            </a:extLst>
          </p:cNvPr>
          <p:cNvSpPr txBox="1">
            <a:spLocks/>
          </p:cNvSpPr>
          <p:nvPr/>
        </p:nvSpPr>
        <p:spPr>
          <a:xfrm>
            <a:off x="8171036" y="1600883"/>
            <a:ext cx="3466226" cy="92333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nl-NL" sz="2000" b="1">
                <a:cs typeface="+mn-cs"/>
              </a:rPr>
              <a:t>Een verbetercultuur invoeren is niet makkelijk, maar wel waardevol</a:t>
            </a:r>
          </a:p>
        </p:txBody>
      </p:sp>
      <p:sp>
        <p:nvSpPr>
          <p:cNvPr id="5" name="TextBox 4">
            <a:extLst>
              <a:ext uri="{FF2B5EF4-FFF2-40B4-BE49-F238E27FC236}">
                <a16:creationId xmlns:a16="http://schemas.microsoft.com/office/drawing/2014/main" id="{4918539E-66F4-4505-A4CC-B7A87D1830CD}"/>
              </a:ext>
            </a:extLst>
          </p:cNvPr>
          <p:cNvSpPr txBox="1">
            <a:spLocks/>
          </p:cNvSpPr>
          <p:nvPr>
            <p:custDataLst>
              <p:tags r:id="rId5"/>
            </p:custDataLst>
          </p:nvPr>
        </p:nvSpPr>
        <p:spPr>
          <a:xfrm>
            <a:off x="554734" y="2669930"/>
            <a:ext cx="3466226" cy="339323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spcBef>
                <a:spcPts val="200"/>
              </a:spcBef>
              <a:buClr>
                <a:schemeClr val="accent2"/>
              </a:buClr>
              <a:buFont typeface="Wingdings" panose="05000000000000000000" pitchFamily="2" charset="2"/>
              <a:buChar char="§"/>
            </a:pPr>
            <a:r>
              <a:rPr lang="nl-NL"/>
              <a:t>Vroeger had Nederland internationaal toponderwijs; </a:t>
            </a:r>
            <a:r>
              <a:rPr lang="nl-NL" b="1"/>
              <a:t>nu doen we het vergeleken met andere westerse landen redelijk</a:t>
            </a:r>
          </a:p>
          <a:p>
            <a:pPr marL="285750" indent="-285750">
              <a:spcBef>
                <a:spcPts val="200"/>
              </a:spcBef>
              <a:buClr>
                <a:schemeClr val="accent2"/>
              </a:buClr>
              <a:buFont typeface="Wingdings" panose="05000000000000000000" pitchFamily="2" charset="2"/>
              <a:buChar char="§"/>
            </a:pPr>
            <a:r>
              <a:rPr lang="nl-NL"/>
              <a:t>De </a:t>
            </a:r>
            <a:r>
              <a:rPr lang="nl-NL" b="1"/>
              <a:t>kansenongelijkheid is de afgelopen 15 jaar bijna verdubbeld</a:t>
            </a:r>
            <a:r>
              <a:rPr lang="nl-NL"/>
              <a:t>: er zijn enorme verschillen in de kansen die scholen kinderen geven</a:t>
            </a:r>
          </a:p>
          <a:p>
            <a:pPr marL="285750" indent="-285750">
              <a:spcBef>
                <a:spcPts val="200"/>
              </a:spcBef>
              <a:buClr>
                <a:schemeClr val="accent2"/>
              </a:buClr>
              <a:buFont typeface="Wingdings" panose="05000000000000000000" pitchFamily="2" charset="2"/>
              <a:buChar char="§"/>
            </a:pPr>
            <a:r>
              <a:rPr lang="nl-NL"/>
              <a:t>Hierdoor worden kinderen </a:t>
            </a:r>
            <a:r>
              <a:rPr lang="nl-NL" b="1"/>
              <a:t>tot ver in hun volwassen leven benadeeld</a:t>
            </a:r>
          </a:p>
          <a:p>
            <a:pPr marL="285750" indent="-285750">
              <a:spcBef>
                <a:spcPts val="200"/>
              </a:spcBef>
              <a:buClr>
                <a:schemeClr val="accent2"/>
              </a:buClr>
              <a:buFont typeface="Wingdings" panose="05000000000000000000" pitchFamily="2" charset="2"/>
              <a:buChar char="§"/>
            </a:pPr>
            <a:r>
              <a:rPr lang="nl-NL" b="1"/>
              <a:t>Het ministerie doet te weinig </a:t>
            </a:r>
            <a:r>
              <a:rPr lang="nl-NL"/>
              <a:t>om de oorzaken van deze problemen aan te pakken</a:t>
            </a:r>
            <a:endParaRPr lang="en-US"/>
          </a:p>
        </p:txBody>
      </p:sp>
      <p:sp>
        <p:nvSpPr>
          <p:cNvPr id="16" name="TextBox 15">
            <a:extLst>
              <a:ext uri="{FF2B5EF4-FFF2-40B4-BE49-F238E27FC236}">
                <a16:creationId xmlns:a16="http://schemas.microsoft.com/office/drawing/2014/main" id="{47B3CE55-C972-44E6-9CFD-6CFBEB8AB7FB}"/>
              </a:ext>
            </a:extLst>
          </p:cNvPr>
          <p:cNvSpPr txBox="1">
            <a:spLocks/>
          </p:cNvSpPr>
          <p:nvPr>
            <p:custDataLst>
              <p:tags r:id="rId6"/>
            </p:custDataLst>
          </p:nvPr>
        </p:nvSpPr>
        <p:spPr>
          <a:xfrm>
            <a:off x="4362885" y="2669930"/>
            <a:ext cx="3466226" cy="265457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spcBef>
                <a:spcPts val="200"/>
              </a:spcBef>
              <a:buClr>
                <a:schemeClr val="accent2"/>
              </a:buClr>
              <a:buFont typeface="Wingdings" panose="05000000000000000000" pitchFamily="2" charset="2"/>
              <a:buChar char="§"/>
            </a:pPr>
            <a:r>
              <a:rPr lang="nl-NL" b="1"/>
              <a:t>Een goede docent </a:t>
            </a:r>
            <a:r>
              <a:rPr lang="nl-NL"/>
              <a:t>is de beste manier om de onderwijskwaliteit te verhogen</a:t>
            </a:r>
          </a:p>
          <a:p>
            <a:pPr marL="285750" indent="-285750">
              <a:spcBef>
                <a:spcPts val="200"/>
              </a:spcBef>
              <a:buClr>
                <a:schemeClr val="accent2"/>
              </a:buClr>
              <a:buFont typeface="Wingdings" panose="05000000000000000000" pitchFamily="2" charset="2"/>
              <a:buChar char="§"/>
            </a:pPr>
            <a:r>
              <a:rPr lang="nl-NL" b="1"/>
              <a:t>Een verbetercultuur op scholen moet centraal staan </a:t>
            </a:r>
            <a:r>
              <a:rPr lang="nl-NL"/>
              <a:t>om de kwaliteit van docenten te verhogen</a:t>
            </a:r>
          </a:p>
          <a:p>
            <a:pPr marL="285750" indent="-285750">
              <a:spcBef>
                <a:spcPts val="200"/>
              </a:spcBef>
              <a:buClr>
                <a:schemeClr val="accent2"/>
              </a:buClr>
              <a:buFont typeface="Wingdings" panose="05000000000000000000" pitchFamily="2" charset="2"/>
              <a:buChar char="§"/>
            </a:pPr>
            <a:r>
              <a:rPr lang="nl-NL"/>
              <a:t>Hierbij </a:t>
            </a:r>
            <a:r>
              <a:rPr lang="nl-NL" b="1"/>
              <a:t>verbeteren</a:t>
            </a:r>
            <a:r>
              <a:rPr lang="nl-NL"/>
              <a:t> professionals </a:t>
            </a:r>
            <a:r>
              <a:rPr lang="nl-NL" b="1"/>
              <a:t>in kleine stapjes samen hun lespraktijk</a:t>
            </a:r>
          </a:p>
          <a:p>
            <a:pPr marL="285750" indent="-285750">
              <a:spcBef>
                <a:spcPts val="200"/>
              </a:spcBef>
              <a:buClr>
                <a:schemeClr val="accent2"/>
              </a:buClr>
              <a:buFont typeface="Wingdings" panose="05000000000000000000" pitchFamily="2" charset="2"/>
              <a:buChar char="§"/>
            </a:pPr>
            <a:r>
              <a:rPr lang="nl-NL"/>
              <a:t>Op dit moment werken </a:t>
            </a:r>
            <a:r>
              <a:rPr lang="nl-NL" b="1"/>
              <a:t>schoolleiders heel beperkt aan de lespraktijk</a:t>
            </a:r>
            <a:r>
              <a:rPr lang="nl-NL"/>
              <a:t> met hun docenten</a:t>
            </a:r>
          </a:p>
        </p:txBody>
      </p:sp>
      <p:sp>
        <p:nvSpPr>
          <p:cNvPr id="18" name="TextBox 17">
            <a:extLst>
              <a:ext uri="{FF2B5EF4-FFF2-40B4-BE49-F238E27FC236}">
                <a16:creationId xmlns:a16="http://schemas.microsoft.com/office/drawing/2014/main" id="{631CACE4-5EFE-4680-BFDF-116D054CD833}"/>
              </a:ext>
            </a:extLst>
          </p:cNvPr>
          <p:cNvSpPr txBox="1">
            <a:spLocks/>
          </p:cNvSpPr>
          <p:nvPr>
            <p:custDataLst>
              <p:tags r:id="rId7"/>
            </p:custDataLst>
          </p:nvPr>
        </p:nvSpPr>
        <p:spPr>
          <a:xfrm>
            <a:off x="8171036" y="2669930"/>
            <a:ext cx="3466226" cy="290079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spcBef>
                <a:spcPts val="200"/>
              </a:spcBef>
              <a:buClr>
                <a:schemeClr val="accent2"/>
              </a:buClr>
              <a:buFont typeface="Wingdings" panose="05000000000000000000" pitchFamily="2" charset="2"/>
              <a:buChar char="§"/>
            </a:pPr>
            <a:r>
              <a:rPr lang="nl-NL"/>
              <a:t>Het is </a:t>
            </a:r>
            <a:r>
              <a:rPr lang="nl-NL" b="1"/>
              <a:t>makkelijker gezegd dan gedaan </a:t>
            </a:r>
            <a:r>
              <a:rPr lang="nl-NL"/>
              <a:t>een verbetercultuur te creëeren</a:t>
            </a:r>
          </a:p>
          <a:p>
            <a:pPr marL="285750" indent="-285750">
              <a:spcBef>
                <a:spcPts val="200"/>
              </a:spcBef>
              <a:buClr>
                <a:schemeClr val="accent2"/>
              </a:buClr>
              <a:buFont typeface="Wingdings" panose="05000000000000000000" pitchFamily="2" charset="2"/>
              <a:buChar char="§"/>
            </a:pPr>
            <a:r>
              <a:rPr lang="nl-NL"/>
              <a:t>Succes vergt </a:t>
            </a:r>
            <a:r>
              <a:rPr lang="nl-NL" b="1"/>
              <a:t>ambitie, betrokkenheid, tijd en vaardigheden </a:t>
            </a:r>
            <a:r>
              <a:rPr lang="nl-NL"/>
              <a:t>van het hele team</a:t>
            </a:r>
          </a:p>
          <a:p>
            <a:pPr marL="285750" indent="-285750">
              <a:spcBef>
                <a:spcPts val="200"/>
              </a:spcBef>
              <a:buClr>
                <a:schemeClr val="accent2"/>
              </a:buClr>
              <a:buFont typeface="Wingdings" panose="05000000000000000000" pitchFamily="2" charset="2"/>
              <a:buChar char="§"/>
            </a:pPr>
            <a:r>
              <a:rPr lang="nl-NL"/>
              <a:t>Maar het kan: onderzoek toont aan dat je </a:t>
            </a:r>
            <a:r>
              <a:rPr lang="nl-NL" b="1"/>
              <a:t>in 1 jaar zo’n cultuur kunt creëeren</a:t>
            </a:r>
          </a:p>
          <a:p>
            <a:pPr marL="285750" indent="-285750">
              <a:spcBef>
                <a:spcPts val="200"/>
              </a:spcBef>
              <a:buClr>
                <a:schemeClr val="accent2"/>
              </a:buClr>
              <a:buFont typeface="Wingdings" panose="05000000000000000000" pitchFamily="2" charset="2"/>
              <a:buChar char="§"/>
            </a:pPr>
            <a:r>
              <a:rPr lang="nl-NL" b="1"/>
              <a:t>Door verhalen van scholen over het effect stappen scholen massaal over </a:t>
            </a:r>
            <a:r>
              <a:rPr lang="nl-NL"/>
              <a:t>op deze manier van werken</a:t>
            </a:r>
            <a:endParaRPr lang="en-US"/>
          </a:p>
        </p:txBody>
      </p:sp>
      <p:cxnSp>
        <p:nvCxnSpPr>
          <p:cNvPr id="27" name="Straight Connector 26">
            <a:extLst>
              <a:ext uri="{FF2B5EF4-FFF2-40B4-BE49-F238E27FC236}">
                <a16:creationId xmlns:a16="http://schemas.microsoft.com/office/drawing/2014/main" id="{1C3D0DE4-C25B-4137-9DE7-59F4044C1D40}"/>
              </a:ext>
            </a:extLst>
          </p:cNvPr>
          <p:cNvCxnSpPr>
            <a:cxnSpLocks/>
          </p:cNvCxnSpPr>
          <p:nvPr/>
        </p:nvCxnSpPr>
        <p:spPr>
          <a:xfrm>
            <a:off x="554734" y="2552788"/>
            <a:ext cx="11082528"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8B099212-9F86-482E-80D9-7AC1E236E88F}"/>
              </a:ext>
            </a:extLst>
          </p:cNvPr>
          <p:cNvCxnSpPr>
            <a:cxnSpLocks/>
          </p:cNvCxnSpPr>
          <p:nvPr/>
        </p:nvCxnSpPr>
        <p:spPr>
          <a:xfrm>
            <a:off x="4191923" y="2639108"/>
            <a:ext cx="0" cy="3299355"/>
          </a:xfrm>
          <a:prstGeom prst="line">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67512D67-DC7B-4BEB-A71B-E7657B6B4AF9}"/>
              </a:ext>
            </a:extLst>
          </p:cNvPr>
          <p:cNvCxnSpPr>
            <a:cxnSpLocks/>
          </p:cNvCxnSpPr>
          <p:nvPr/>
        </p:nvCxnSpPr>
        <p:spPr>
          <a:xfrm>
            <a:off x="8000074" y="2639108"/>
            <a:ext cx="0" cy="3299355"/>
          </a:xfrm>
          <a:prstGeom prst="line">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1460447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FBA8483-3ED1-4A62-94DC-BBCAEAFC91D6}"/>
              </a:ext>
            </a:extLst>
          </p:cNvPr>
          <p:cNvGraphicFramePr>
            <a:graphicFrameLocks noChangeAspect="1"/>
          </p:cNvGraphicFramePr>
          <p:nvPr>
            <p:custDataLst>
              <p:tags r:id="rId2"/>
            </p:custDataLst>
            <p:extLst>
              <p:ext uri="{D42A27DB-BD31-4B8C-83A1-F6EECF244321}">
                <p14:modId xmlns:p14="http://schemas.microsoft.com/office/powerpoint/2010/main" val="7456667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395" name="think-cell Slide" r:id="rId6" imgW="395" imgH="394" progId="TCLayout.ActiveDocument.1">
                  <p:embed/>
                </p:oleObj>
              </mc:Choice>
              <mc:Fallback>
                <p:oleObj name="think-cell Slide" r:id="rId6" imgW="395" imgH="394" progId="TCLayout.ActiveDocument.1">
                  <p:embed/>
                  <p:pic>
                    <p:nvPicPr>
                      <p:cNvPr id="5" name="Object 4" hidden="1">
                        <a:extLst>
                          <a:ext uri="{FF2B5EF4-FFF2-40B4-BE49-F238E27FC236}">
                            <a16:creationId xmlns:a16="http://schemas.microsoft.com/office/drawing/2014/main" id="{DFBA8483-3ED1-4A62-94DC-BBCAEAFC91D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A544E26-80F8-41EB-BFE0-541A1D54208F}"/>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err="1">
              <a:solidFill>
                <a:schemeClr val="bg1"/>
              </a:solidFill>
              <a:latin typeface="Calibri" panose="020F0502020204030204" pitchFamily="34" charset="0"/>
              <a:ea typeface="+mj-ea"/>
              <a:cs typeface="+mj-cs"/>
              <a:sym typeface="Calibri" panose="020F0502020204030204" pitchFamily="34" charset="0"/>
            </a:endParaRPr>
          </a:p>
        </p:txBody>
      </p:sp>
      <p:sp>
        <p:nvSpPr>
          <p:cNvPr id="2" name="2. Slide Title">
            <a:extLst>
              <a:ext uri="{FF2B5EF4-FFF2-40B4-BE49-F238E27FC236}">
                <a16:creationId xmlns:a16="http://schemas.microsoft.com/office/drawing/2014/main" id="{D9197058-F479-4DCA-9BB9-DC557628D0A3}"/>
              </a:ext>
            </a:extLst>
          </p:cNvPr>
          <p:cNvSpPr>
            <a:spLocks noGrp="1"/>
          </p:cNvSpPr>
          <p:nvPr>
            <p:ph type="title"/>
            <p:custDataLst>
              <p:tags r:id="rId4"/>
            </p:custDataLst>
          </p:nvPr>
        </p:nvSpPr>
        <p:spPr>
          <a:xfrm>
            <a:off x="554736" y="134291"/>
            <a:ext cx="11082528" cy="769441"/>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dirty="0" err="1"/>
              <a:t>Iedereen</a:t>
            </a:r>
            <a:r>
              <a:rPr lang="en-US" dirty="0"/>
              <a:t> </a:t>
            </a:r>
            <a:r>
              <a:rPr lang="en-US" dirty="0" err="1"/>
              <a:t>kan</a:t>
            </a:r>
            <a:r>
              <a:rPr lang="en-US" dirty="0"/>
              <a:t> een </a:t>
            </a:r>
            <a:r>
              <a:rPr lang="en-US" dirty="0" err="1"/>
              <a:t>steentje</a:t>
            </a:r>
            <a:r>
              <a:rPr lang="en-US" dirty="0"/>
              <a:t> </a:t>
            </a:r>
            <a:r>
              <a:rPr lang="en-US" dirty="0" err="1"/>
              <a:t>bijdragen</a:t>
            </a:r>
            <a:r>
              <a:rPr lang="en-US" dirty="0"/>
              <a:t> om een </a:t>
            </a:r>
            <a:r>
              <a:rPr lang="en-US" dirty="0" err="1"/>
              <a:t>verbetercultuur</a:t>
            </a:r>
            <a:r>
              <a:rPr lang="en-US" dirty="0"/>
              <a:t> in het onderwijs </a:t>
            </a:r>
            <a:r>
              <a:rPr lang="en-US" dirty="0" err="1"/>
              <a:t>te</a:t>
            </a:r>
            <a:r>
              <a:rPr lang="en-US" dirty="0"/>
              <a:t> </a:t>
            </a:r>
            <a:r>
              <a:rPr lang="en-US" dirty="0" err="1"/>
              <a:t>stimuleren</a:t>
            </a:r>
            <a:endParaRPr lang="en-US" dirty="0"/>
          </a:p>
        </p:txBody>
      </p:sp>
      <p:sp>
        <p:nvSpPr>
          <p:cNvPr id="39" name="TextBox 38">
            <a:extLst>
              <a:ext uri="{FF2B5EF4-FFF2-40B4-BE49-F238E27FC236}">
                <a16:creationId xmlns:a16="http://schemas.microsoft.com/office/drawing/2014/main" id="{40BB66A9-6D7B-4337-AD71-41A92023F543}"/>
              </a:ext>
            </a:extLst>
          </p:cNvPr>
          <p:cNvSpPr txBox="1"/>
          <p:nvPr/>
        </p:nvSpPr>
        <p:spPr>
          <a:xfrm>
            <a:off x="2825858" y="2108898"/>
            <a:ext cx="3024098" cy="110799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3600" err="1">
                <a:cs typeface="+mn-cs"/>
              </a:rPr>
              <a:t>Leraren</a:t>
            </a:r>
            <a:r>
              <a:rPr lang="en-US" sz="3600">
                <a:cs typeface="+mn-cs"/>
              </a:rPr>
              <a:t> </a:t>
            </a:r>
            <a:r>
              <a:rPr lang="en-US" sz="3600" err="1">
                <a:cs typeface="+mn-cs"/>
              </a:rPr>
              <a:t>en</a:t>
            </a:r>
            <a:r>
              <a:rPr lang="en-US" sz="3600">
                <a:cs typeface="+mn-cs"/>
              </a:rPr>
              <a:t> </a:t>
            </a:r>
            <a:r>
              <a:rPr lang="en-US" sz="3600" err="1">
                <a:cs typeface="+mn-cs"/>
              </a:rPr>
              <a:t>schoolleiders</a:t>
            </a:r>
            <a:endParaRPr lang="en-US" sz="3600">
              <a:cs typeface="+mn-cs"/>
            </a:endParaRPr>
          </a:p>
        </p:txBody>
      </p:sp>
      <p:sp>
        <p:nvSpPr>
          <p:cNvPr id="41" name="TextBox 40">
            <a:extLst>
              <a:ext uri="{FF2B5EF4-FFF2-40B4-BE49-F238E27FC236}">
                <a16:creationId xmlns:a16="http://schemas.microsoft.com/office/drawing/2014/main" id="{3E2B074F-1108-475F-9ADF-52BBED2E2A81}"/>
              </a:ext>
            </a:extLst>
          </p:cNvPr>
          <p:cNvSpPr txBox="1"/>
          <p:nvPr/>
        </p:nvSpPr>
        <p:spPr>
          <a:xfrm>
            <a:off x="2825858" y="4445944"/>
            <a:ext cx="3024098" cy="110799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3600" err="1">
                <a:cs typeface="+mn-cs"/>
              </a:rPr>
              <a:t>Onderwijs-bestuurders</a:t>
            </a:r>
            <a:endParaRPr lang="en-US" sz="3600">
              <a:cs typeface="+mn-cs"/>
            </a:endParaRPr>
          </a:p>
        </p:txBody>
      </p:sp>
      <p:sp>
        <p:nvSpPr>
          <p:cNvPr id="43" name="TextBox 42">
            <a:extLst>
              <a:ext uri="{FF2B5EF4-FFF2-40B4-BE49-F238E27FC236}">
                <a16:creationId xmlns:a16="http://schemas.microsoft.com/office/drawing/2014/main" id="{1DCA2F71-599F-43F7-8072-44A2A77827DD}"/>
              </a:ext>
            </a:extLst>
          </p:cNvPr>
          <p:cNvSpPr txBox="1"/>
          <p:nvPr/>
        </p:nvSpPr>
        <p:spPr>
          <a:xfrm>
            <a:off x="8421598" y="2307507"/>
            <a:ext cx="3024098" cy="55399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3600" dirty="0">
                <a:cs typeface="+mn-cs"/>
              </a:rPr>
              <a:t>Ouders</a:t>
            </a:r>
          </a:p>
        </p:txBody>
      </p:sp>
      <p:sp>
        <p:nvSpPr>
          <p:cNvPr id="45" name="TextBox 44">
            <a:extLst>
              <a:ext uri="{FF2B5EF4-FFF2-40B4-BE49-F238E27FC236}">
                <a16:creationId xmlns:a16="http://schemas.microsoft.com/office/drawing/2014/main" id="{1E14C76B-C177-4717-ACF6-2C6E7291087C}"/>
              </a:ext>
            </a:extLst>
          </p:cNvPr>
          <p:cNvSpPr txBox="1"/>
          <p:nvPr/>
        </p:nvSpPr>
        <p:spPr>
          <a:xfrm>
            <a:off x="8421598" y="4445944"/>
            <a:ext cx="3024098" cy="110799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3600" err="1">
                <a:cs typeface="+mn-cs"/>
              </a:rPr>
              <a:t>Verontruste</a:t>
            </a:r>
            <a:r>
              <a:rPr lang="en-US" sz="3600">
                <a:cs typeface="+mn-cs"/>
              </a:rPr>
              <a:t> burgers</a:t>
            </a:r>
          </a:p>
        </p:txBody>
      </p:sp>
      <p:pic>
        <p:nvPicPr>
          <p:cNvPr id="36" name="Graphic 35" descr="Confused person">
            <a:extLst>
              <a:ext uri="{FF2B5EF4-FFF2-40B4-BE49-F238E27FC236}">
                <a16:creationId xmlns:a16="http://schemas.microsoft.com/office/drawing/2014/main" id="{2798A3E5-37A0-4858-86D6-A7410E5506C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552925" y="4329344"/>
            <a:ext cx="1317851" cy="1317851"/>
          </a:xfrm>
          <a:prstGeom prst="rect">
            <a:avLst/>
          </a:prstGeom>
        </p:spPr>
      </p:pic>
      <p:sp>
        <p:nvSpPr>
          <p:cNvPr id="37" name="Oval 36">
            <a:extLst>
              <a:ext uri="{FF2B5EF4-FFF2-40B4-BE49-F238E27FC236}">
                <a16:creationId xmlns:a16="http://schemas.microsoft.com/office/drawing/2014/main" id="{04FC36F3-829D-4100-943A-9F8CC4A1F444}"/>
              </a:ext>
            </a:extLst>
          </p:cNvPr>
          <p:cNvSpPr>
            <a:spLocks noChangeAspect="1"/>
          </p:cNvSpPr>
          <p:nvPr/>
        </p:nvSpPr>
        <p:spPr>
          <a:xfrm>
            <a:off x="6542039" y="4154425"/>
            <a:ext cx="1633464" cy="1633464"/>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38" name="Graphic 37" descr="Confused person">
            <a:extLst>
              <a:ext uri="{FF2B5EF4-FFF2-40B4-BE49-F238E27FC236}">
                <a16:creationId xmlns:a16="http://schemas.microsoft.com/office/drawing/2014/main" id="{462B97C8-3CFF-47B6-BE35-CDE05202D1D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699845" y="4322258"/>
            <a:ext cx="1317851" cy="1317851"/>
          </a:xfrm>
          <a:prstGeom prst="rect">
            <a:avLst/>
          </a:prstGeom>
        </p:spPr>
      </p:pic>
      <p:pic>
        <p:nvPicPr>
          <p:cNvPr id="40" name="Graphic 39" descr="Confused person">
            <a:extLst>
              <a:ext uri="{FF2B5EF4-FFF2-40B4-BE49-F238E27FC236}">
                <a16:creationId xmlns:a16="http://schemas.microsoft.com/office/drawing/2014/main" id="{B6CFB05B-0D29-4377-8490-D4DDE3EF3B5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14102" y="4329344"/>
            <a:ext cx="1317851" cy="1317851"/>
          </a:xfrm>
          <a:prstGeom prst="rect">
            <a:avLst/>
          </a:prstGeom>
        </p:spPr>
      </p:pic>
      <p:sp>
        <p:nvSpPr>
          <p:cNvPr id="42" name="Oval 41">
            <a:extLst>
              <a:ext uri="{FF2B5EF4-FFF2-40B4-BE49-F238E27FC236}">
                <a16:creationId xmlns:a16="http://schemas.microsoft.com/office/drawing/2014/main" id="{1A5E997F-EB83-4F8C-9716-E3ACE330DFEE}"/>
              </a:ext>
            </a:extLst>
          </p:cNvPr>
          <p:cNvSpPr>
            <a:spLocks noChangeAspect="1"/>
          </p:cNvSpPr>
          <p:nvPr/>
        </p:nvSpPr>
        <p:spPr>
          <a:xfrm>
            <a:off x="903216" y="4154425"/>
            <a:ext cx="1633464" cy="1633464"/>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44" name="Graphic 43">
            <a:extLst>
              <a:ext uri="{FF2B5EF4-FFF2-40B4-BE49-F238E27FC236}">
                <a16:creationId xmlns:a16="http://schemas.microsoft.com/office/drawing/2014/main" id="{6AE94351-33E5-483E-BDD7-687B9F6AC1B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226311" y="4464588"/>
            <a:ext cx="1011442" cy="1011442"/>
          </a:xfrm>
          <a:prstGeom prst="rect">
            <a:avLst/>
          </a:prstGeom>
        </p:spPr>
      </p:pic>
      <p:pic>
        <p:nvPicPr>
          <p:cNvPr id="46" name="Graphic 45" descr="Confused person">
            <a:extLst>
              <a:ext uri="{FF2B5EF4-FFF2-40B4-BE49-F238E27FC236}">
                <a16:creationId xmlns:a16="http://schemas.microsoft.com/office/drawing/2014/main" id="{0CB01724-F3FD-4F53-B074-912B1FD90C0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09398" y="2032600"/>
            <a:ext cx="1317851" cy="1317851"/>
          </a:xfrm>
          <a:prstGeom prst="rect">
            <a:avLst/>
          </a:prstGeom>
        </p:spPr>
      </p:pic>
      <p:sp>
        <p:nvSpPr>
          <p:cNvPr id="47" name="Oval 46">
            <a:extLst>
              <a:ext uri="{FF2B5EF4-FFF2-40B4-BE49-F238E27FC236}">
                <a16:creationId xmlns:a16="http://schemas.microsoft.com/office/drawing/2014/main" id="{8663DB14-7F49-4AD3-8CC2-F023BD94EF42}"/>
              </a:ext>
            </a:extLst>
          </p:cNvPr>
          <p:cNvSpPr>
            <a:spLocks noChangeAspect="1"/>
          </p:cNvSpPr>
          <p:nvPr/>
        </p:nvSpPr>
        <p:spPr>
          <a:xfrm>
            <a:off x="898512" y="1857681"/>
            <a:ext cx="1633464" cy="1633464"/>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48" name="Graphic 47">
            <a:extLst>
              <a:ext uri="{FF2B5EF4-FFF2-40B4-BE49-F238E27FC236}">
                <a16:creationId xmlns:a16="http://schemas.microsoft.com/office/drawing/2014/main" id="{C1ED5EC1-82A2-4E0B-8B60-095194D7D2B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188012" y="2129085"/>
            <a:ext cx="1070646" cy="1070646"/>
          </a:xfrm>
          <a:prstGeom prst="rect">
            <a:avLst/>
          </a:prstGeom>
        </p:spPr>
      </p:pic>
      <p:pic>
        <p:nvPicPr>
          <p:cNvPr id="49" name="Graphic 48" descr="Confused person">
            <a:extLst>
              <a:ext uri="{FF2B5EF4-FFF2-40B4-BE49-F238E27FC236}">
                <a16:creationId xmlns:a16="http://schemas.microsoft.com/office/drawing/2014/main" id="{D9766622-CC6D-47C9-997C-331DC9CF503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552925" y="2027811"/>
            <a:ext cx="1317851" cy="1317851"/>
          </a:xfrm>
          <a:prstGeom prst="rect">
            <a:avLst/>
          </a:prstGeom>
        </p:spPr>
      </p:pic>
      <p:sp>
        <p:nvSpPr>
          <p:cNvPr id="53" name="Oval 52">
            <a:extLst>
              <a:ext uri="{FF2B5EF4-FFF2-40B4-BE49-F238E27FC236}">
                <a16:creationId xmlns:a16="http://schemas.microsoft.com/office/drawing/2014/main" id="{4A593714-7370-42D6-9A7A-DE8FD3CE8C16}"/>
              </a:ext>
            </a:extLst>
          </p:cNvPr>
          <p:cNvSpPr>
            <a:spLocks noChangeAspect="1"/>
          </p:cNvSpPr>
          <p:nvPr/>
        </p:nvSpPr>
        <p:spPr>
          <a:xfrm>
            <a:off x="6542039" y="1852892"/>
            <a:ext cx="1633464" cy="1633464"/>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54" name="Graphic 53">
            <a:extLst>
              <a:ext uri="{FF2B5EF4-FFF2-40B4-BE49-F238E27FC236}">
                <a16:creationId xmlns:a16="http://schemas.microsoft.com/office/drawing/2014/main" id="{FF275201-A25B-41D3-9FE0-D1C19C101726}"/>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6798830" y="2122069"/>
            <a:ext cx="1071946" cy="1071946"/>
          </a:xfrm>
          <a:prstGeom prst="rect">
            <a:avLst/>
          </a:prstGeom>
        </p:spPr>
      </p:pic>
    </p:spTree>
    <p:extLst>
      <p:ext uri="{BB962C8B-B14F-4D97-AF65-F5344CB8AC3E}">
        <p14:creationId xmlns:p14="http://schemas.microsoft.com/office/powerpoint/2010/main" val="205101033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8EAC6729-A219-4B83-97F9-4D38B4C53A88}"/>
              </a:ext>
            </a:extLst>
          </p:cNvPr>
          <p:cNvGraphicFramePr>
            <a:graphicFrameLocks noChangeAspect="1"/>
          </p:cNvGraphicFramePr>
          <p:nvPr>
            <p:custDataLst>
              <p:tags r:id="rId2"/>
            </p:custDataLst>
            <p:extLst>
              <p:ext uri="{D42A27DB-BD31-4B8C-83A1-F6EECF244321}">
                <p14:modId xmlns:p14="http://schemas.microsoft.com/office/powerpoint/2010/main" val="41052667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19" name="think-cell Slide" r:id="rId13" imgW="395" imgH="394" progId="TCLayout.ActiveDocument.1">
                  <p:embed/>
                </p:oleObj>
              </mc:Choice>
              <mc:Fallback>
                <p:oleObj name="think-cell Slide" r:id="rId13" imgW="395" imgH="394" progId="TCLayout.ActiveDocument.1">
                  <p:embed/>
                  <p:pic>
                    <p:nvPicPr>
                      <p:cNvPr id="5" name="Object 6" hidden="1">
                        <a:extLst>
                          <a:ext uri="{FF2B5EF4-FFF2-40B4-BE49-F238E27FC236}">
                            <a16:creationId xmlns:a16="http://schemas.microsoft.com/office/drawing/2014/main" id="{8EAC6729-A219-4B83-97F9-4D38B4C53A88}"/>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2" name="Rectangle 1" hidden="1">
            <a:extLst>
              <a:ext uri="{FF2B5EF4-FFF2-40B4-BE49-F238E27FC236}">
                <a16:creationId xmlns:a16="http://schemas.microsoft.com/office/drawing/2014/main" id="{71C9BC9F-A62C-4E65-B513-09D1FB570FEA}"/>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nl-NL" sz="2500" b="1" err="1">
              <a:solidFill>
                <a:schemeClr val="bg1"/>
              </a:solidFill>
              <a:latin typeface="Calibri" panose="020F0502020204030204" pitchFamily="34" charset="0"/>
              <a:ea typeface="+mj-ea"/>
              <a:cs typeface="+mj-cs"/>
              <a:sym typeface="Calibri" panose="020F0502020204030204" pitchFamily="34" charset="0"/>
            </a:endParaRPr>
          </a:p>
        </p:txBody>
      </p:sp>
      <p:sp>
        <p:nvSpPr>
          <p:cNvPr id="2" name="2. Slide Title">
            <a:extLst>
              <a:ext uri="{FF2B5EF4-FFF2-40B4-BE49-F238E27FC236}">
                <a16:creationId xmlns:a16="http://schemas.microsoft.com/office/drawing/2014/main" id="{983569A8-2A4B-49A8-B389-7B15933311BE}"/>
              </a:ext>
            </a:extLst>
          </p:cNvPr>
          <p:cNvSpPr>
            <a:spLocks noGrp="1"/>
          </p:cNvSpPr>
          <p:nvPr>
            <p:ph type="title"/>
            <p:custDataLst>
              <p:tags r:id="rId4"/>
            </p:custDataLst>
          </p:nvPr>
        </p:nvSpPr>
        <p:spPr>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nl-NL"/>
              <a:t>Wat kunnen leraren, schoolleiders en onderwijsbestuurders doen om een verbetercultuur te stimuleren?</a:t>
            </a:r>
            <a:endParaRPr lang="en-US"/>
          </a:p>
        </p:txBody>
      </p:sp>
      <p:sp>
        <p:nvSpPr>
          <p:cNvPr id="29" name="TextBox 28">
            <a:extLst>
              <a:ext uri="{FF2B5EF4-FFF2-40B4-BE49-F238E27FC236}">
                <a16:creationId xmlns:a16="http://schemas.microsoft.com/office/drawing/2014/main" id="{082371E8-1F73-4043-9B00-6C21F5BC828B}"/>
              </a:ext>
            </a:extLst>
          </p:cNvPr>
          <p:cNvSpPr txBox="1">
            <a:spLocks/>
          </p:cNvSpPr>
          <p:nvPr/>
        </p:nvSpPr>
        <p:spPr>
          <a:xfrm>
            <a:off x="9518398" y="3421187"/>
            <a:ext cx="2032036" cy="86177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800" err="1">
                <a:cs typeface="+mn-cs"/>
              </a:rPr>
              <a:t>Onderwijs-bestuurders</a:t>
            </a:r>
            <a:endParaRPr lang="en-US" sz="2800">
              <a:cs typeface="+mn-cs"/>
            </a:endParaRPr>
          </a:p>
        </p:txBody>
      </p:sp>
      <p:sp>
        <p:nvSpPr>
          <p:cNvPr id="20" name="TextBox 19">
            <a:extLst>
              <a:ext uri="{FF2B5EF4-FFF2-40B4-BE49-F238E27FC236}">
                <a16:creationId xmlns:a16="http://schemas.microsoft.com/office/drawing/2014/main" id="{AB22DCA5-7749-4D64-A9F9-2E50DFB2C06B}"/>
              </a:ext>
            </a:extLst>
          </p:cNvPr>
          <p:cNvSpPr txBox="1"/>
          <p:nvPr/>
        </p:nvSpPr>
        <p:spPr>
          <a:xfrm>
            <a:off x="1010358" y="5667018"/>
            <a:ext cx="5779353" cy="61555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nl-NL" sz="2000">
                <a:cs typeface="+mn-cs"/>
              </a:rPr>
              <a:t>Bedenk wat scholen en schoolleiders van jou nodig hebben om een continue verbetercultuur te beginnen</a:t>
            </a:r>
            <a:endParaRPr lang="en-US" sz="2000">
              <a:cs typeface="+mn-cs"/>
            </a:endParaRPr>
          </a:p>
        </p:txBody>
      </p:sp>
      <p:grpSp>
        <p:nvGrpSpPr>
          <p:cNvPr id="36" name="CheckmarkWhite 36">
            <a:extLst>
              <a:ext uri="{FF2B5EF4-FFF2-40B4-BE49-F238E27FC236}">
                <a16:creationId xmlns:a16="http://schemas.microsoft.com/office/drawing/2014/main" id="{58FCCC31-829F-405D-B984-47857610241D}"/>
              </a:ext>
            </a:extLst>
          </p:cNvPr>
          <p:cNvGrpSpPr>
            <a:grpSpLocks noChangeAspect="1"/>
          </p:cNvGrpSpPr>
          <p:nvPr>
            <p:custDataLst>
              <p:tags r:id="rId5"/>
            </p:custDataLst>
          </p:nvPr>
        </p:nvGrpSpPr>
        <p:grpSpPr>
          <a:xfrm>
            <a:off x="533770" y="5667018"/>
            <a:ext cx="365760" cy="365760"/>
            <a:chOff x="1016000" y="1016000"/>
            <a:chExt cx="396228" cy="396228"/>
          </a:xfrm>
        </p:grpSpPr>
        <p:sp>
          <p:nvSpPr>
            <p:cNvPr id="34" name="Oval 33">
              <a:extLst>
                <a:ext uri="{FF2B5EF4-FFF2-40B4-BE49-F238E27FC236}">
                  <a16:creationId xmlns:a16="http://schemas.microsoft.com/office/drawing/2014/main" id="{6855CC26-42A3-46DF-9762-DF75BF251A38}"/>
                </a:ext>
              </a:extLst>
            </p:cNvPr>
            <p:cNvSpPr/>
            <p:nvPr/>
          </p:nvSpPr>
          <p:spPr>
            <a:xfrm>
              <a:off x="1016000" y="1016000"/>
              <a:ext cx="396228" cy="396228"/>
            </a:xfrm>
            <a:prstGeom prst="ellipse">
              <a:avLst/>
            </a:prstGeom>
            <a:solidFill>
              <a:schemeClr val="bg1"/>
            </a:solidFill>
            <a:ln w="6350" cap="sq">
              <a:solidFill>
                <a:srgbClr val="00B05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5" name="Freeform: Shape 34">
              <a:extLst>
                <a:ext uri="{FF2B5EF4-FFF2-40B4-BE49-F238E27FC236}">
                  <a16:creationId xmlns:a16="http://schemas.microsoft.com/office/drawing/2014/main" id="{8E644506-1A2B-40B8-960E-CD84CBC16C9A}"/>
                </a:ext>
              </a:extLst>
            </p:cNvPr>
            <p:cNvSpPr>
              <a:spLocks noChangeAspect="1"/>
            </p:cNvSpPr>
            <p:nvPr/>
          </p:nvSpPr>
          <p:spPr>
            <a:xfrm>
              <a:off x="1132776" y="1123650"/>
              <a:ext cx="175990" cy="182743"/>
            </a:xfrm>
            <a:custGeom>
              <a:avLst/>
              <a:gdLst/>
              <a:ahLst/>
              <a:cxnLst/>
              <a:rect l="0" t="0" r="0" b="0"/>
              <a:pathLst>
                <a:path w="176263" h="183026">
                  <a:moveTo>
                    <a:pt x="66335" y="183025"/>
                  </a:moveTo>
                  <a:lnTo>
                    <a:pt x="65208" y="183025"/>
                  </a:lnTo>
                  <a:lnTo>
                    <a:pt x="64121" y="182624"/>
                  </a:lnTo>
                  <a:lnTo>
                    <a:pt x="63276" y="181858"/>
                  </a:lnTo>
                  <a:lnTo>
                    <a:pt x="2093" y="127518"/>
                  </a:lnTo>
                  <a:lnTo>
                    <a:pt x="201" y="125827"/>
                  </a:lnTo>
                  <a:lnTo>
                    <a:pt x="0" y="122889"/>
                  </a:lnTo>
                  <a:lnTo>
                    <a:pt x="1691" y="120997"/>
                  </a:lnTo>
                  <a:lnTo>
                    <a:pt x="3381" y="119065"/>
                  </a:lnTo>
                  <a:lnTo>
                    <a:pt x="6319" y="118904"/>
                  </a:lnTo>
                  <a:lnTo>
                    <a:pt x="8211" y="120596"/>
                  </a:lnTo>
                  <a:lnTo>
                    <a:pt x="65248" y="171230"/>
                  </a:lnTo>
                  <a:lnTo>
                    <a:pt x="167004" y="2898"/>
                  </a:lnTo>
                  <a:lnTo>
                    <a:pt x="168332" y="725"/>
                  </a:lnTo>
                  <a:lnTo>
                    <a:pt x="171190" y="0"/>
                  </a:lnTo>
                  <a:lnTo>
                    <a:pt x="173364" y="1329"/>
                  </a:lnTo>
                  <a:lnTo>
                    <a:pt x="175537" y="2657"/>
                  </a:lnTo>
                  <a:lnTo>
                    <a:pt x="176262" y="5514"/>
                  </a:lnTo>
                  <a:lnTo>
                    <a:pt x="174933" y="7687"/>
                  </a:lnTo>
                  <a:lnTo>
                    <a:pt x="70279" y="180811"/>
                  </a:lnTo>
                  <a:lnTo>
                    <a:pt x="69555" y="181978"/>
                  </a:lnTo>
                  <a:lnTo>
                    <a:pt x="68387" y="182784"/>
                  </a:lnTo>
                  <a:lnTo>
                    <a:pt x="67020" y="182986"/>
                  </a:lnTo>
                  <a:lnTo>
                    <a:pt x="66777" y="183025"/>
                  </a:lnTo>
                  <a:lnTo>
                    <a:pt x="66576" y="183025"/>
                  </a:lnTo>
                  <a:close/>
                </a:path>
              </a:pathLst>
            </a:custGeom>
            <a:solidFill>
              <a:schemeClr val="accent1"/>
            </a:solidFill>
            <a:ln w="6350" cap="sq">
              <a:solidFill>
                <a:srgbClr val="00B05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grpSp>
      <p:sp>
        <p:nvSpPr>
          <p:cNvPr id="16" name="TextBox 15">
            <a:extLst>
              <a:ext uri="{FF2B5EF4-FFF2-40B4-BE49-F238E27FC236}">
                <a16:creationId xmlns:a16="http://schemas.microsoft.com/office/drawing/2014/main" id="{BF738FE8-2615-4A64-9FE7-8E2590F5E395}"/>
              </a:ext>
            </a:extLst>
          </p:cNvPr>
          <p:cNvSpPr txBox="1"/>
          <p:nvPr/>
        </p:nvSpPr>
        <p:spPr>
          <a:xfrm>
            <a:off x="1010358" y="3949188"/>
            <a:ext cx="5779353"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nl-NL" sz="2000">
                <a:cs typeface="+mn-cs"/>
              </a:rPr>
              <a:t>Ga de klas in, volg lessen en praat met leerlingen</a:t>
            </a:r>
            <a:endParaRPr lang="en-US" sz="2000">
              <a:cs typeface="+mn-cs"/>
            </a:endParaRPr>
          </a:p>
        </p:txBody>
      </p:sp>
      <p:grpSp>
        <p:nvGrpSpPr>
          <p:cNvPr id="38" name="CheckmarkWhite 36">
            <a:extLst>
              <a:ext uri="{FF2B5EF4-FFF2-40B4-BE49-F238E27FC236}">
                <a16:creationId xmlns:a16="http://schemas.microsoft.com/office/drawing/2014/main" id="{4BAA9745-A115-40D7-A8D9-9DACA33A729C}"/>
              </a:ext>
            </a:extLst>
          </p:cNvPr>
          <p:cNvGrpSpPr>
            <a:grpSpLocks noChangeAspect="1"/>
          </p:cNvGrpSpPr>
          <p:nvPr>
            <p:custDataLst>
              <p:tags r:id="rId6"/>
            </p:custDataLst>
          </p:nvPr>
        </p:nvGrpSpPr>
        <p:grpSpPr>
          <a:xfrm>
            <a:off x="533770" y="3920196"/>
            <a:ext cx="365760" cy="365760"/>
            <a:chOff x="1016000" y="1016000"/>
            <a:chExt cx="396228" cy="396228"/>
          </a:xfrm>
        </p:grpSpPr>
        <p:sp>
          <p:nvSpPr>
            <p:cNvPr id="39" name="Oval 38">
              <a:extLst>
                <a:ext uri="{FF2B5EF4-FFF2-40B4-BE49-F238E27FC236}">
                  <a16:creationId xmlns:a16="http://schemas.microsoft.com/office/drawing/2014/main" id="{4C678F71-CD7F-459F-B9B5-28E17CF4FB72}"/>
                </a:ext>
              </a:extLst>
            </p:cNvPr>
            <p:cNvSpPr/>
            <p:nvPr/>
          </p:nvSpPr>
          <p:spPr>
            <a:xfrm>
              <a:off x="1016000" y="1016000"/>
              <a:ext cx="396228" cy="396228"/>
            </a:xfrm>
            <a:prstGeom prst="ellipse">
              <a:avLst/>
            </a:prstGeom>
            <a:solidFill>
              <a:schemeClr val="bg1"/>
            </a:solidFill>
            <a:ln w="6350" cap="sq">
              <a:solidFill>
                <a:srgbClr val="00B05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0" name="Freeform: Shape 39">
              <a:extLst>
                <a:ext uri="{FF2B5EF4-FFF2-40B4-BE49-F238E27FC236}">
                  <a16:creationId xmlns:a16="http://schemas.microsoft.com/office/drawing/2014/main" id="{CE33ED2D-D995-400A-92F2-3AA55C117595}"/>
                </a:ext>
              </a:extLst>
            </p:cNvPr>
            <p:cNvSpPr>
              <a:spLocks noChangeAspect="1"/>
            </p:cNvSpPr>
            <p:nvPr/>
          </p:nvSpPr>
          <p:spPr>
            <a:xfrm>
              <a:off x="1132776" y="1123650"/>
              <a:ext cx="175990" cy="182743"/>
            </a:xfrm>
            <a:custGeom>
              <a:avLst/>
              <a:gdLst/>
              <a:ahLst/>
              <a:cxnLst/>
              <a:rect l="0" t="0" r="0" b="0"/>
              <a:pathLst>
                <a:path w="176263" h="183026">
                  <a:moveTo>
                    <a:pt x="66335" y="183025"/>
                  </a:moveTo>
                  <a:lnTo>
                    <a:pt x="65208" y="183025"/>
                  </a:lnTo>
                  <a:lnTo>
                    <a:pt x="64121" y="182624"/>
                  </a:lnTo>
                  <a:lnTo>
                    <a:pt x="63276" y="181858"/>
                  </a:lnTo>
                  <a:lnTo>
                    <a:pt x="2093" y="127518"/>
                  </a:lnTo>
                  <a:lnTo>
                    <a:pt x="201" y="125827"/>
                  </a:lnTo>
                  <a:lnTo>
                    <a:pt x="0" y="122889"/>
                  </a:lnTo>
                  <a:lnTo>
                    <a:pt x="1691" y="120997"/>
                  </a:lnTo>
                  <a:lnTo>
                    <a:pt x="3381" y="119065"/>
                  </a:lnTo>
                  <a:lnTo>
                    <a:pt x="6319" y="118904"/>
                  </a:lnTo>
                  <a:lnTo>
                    <a:pt x="8211" y="120596"/>
                  </a:lnTo>
                  <a:lnTo>
                    <a:pt x="65248" y="171230"/>
                  </a:lnTo>
                  <a:lnTo>
                    <a:pt x="167004" y="2898"/>
                  </a:lnTo>
                  <a:lnTo>
                    <a:pt x="168332" y="725"/>
                  </a:lnTo>
                  <a:lnTo>
                    <a:pt x="171190" y="0"/>
                  </a:lnTo>
                  <a:lnTo>
                    <a:pt x="173364" y="1329"/>
                  </a:lnTo>
                  <a:lnTo>
                    <a:pt x="175537" y="2657"/>
                  </a:lnTo>
                  <a:lnTo>
                    <a:pt x="176262" y="5514"/>
                  </a:lnTo>
                  <a:lnTo>
                    <a:pt x="174933" y="7687"/>
                  </a:lnTo>
                  <a:lnTo>
                    <a:pt x="70279" y="180811"/>
                  </a:lnTo>
                  <a:lnTo>
                    <a:pt x="69555" y="181978"/>
                  </a:lnTo>
                  <a:lnTo>
                    <a:pt x="68387" y="182784"/>
                  </a:lnTo>
                  <a:lnTo>
                    <a:pt x="67020" y="182986"/>
                  </a:lnTo>
                  <a:lnTo>
                    <a:pt x="66777" y="183025"/>
                  </a:lnTo>
                  <a:lnTo>
                    <a:pt x="66576" y="183025"/>
                  </a:lnTo>
                  <a:close/>
                </a:path>
              </a:pathLst>
            </a:custGeom>
            <a:solidFill>
              <a:schemeClr val="accent1"/>
            </a:solidFill>
            <a:ln w="6350" cap="sq">
              <a:solidFill>
                <a:srgbClr val="00B05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grpSp>
      <p:sp>
        <p:nvSpPr>
          <p:cNvPr id="32" name="TextBox 31">
            <a:extLst>
              <a:ext uri="{FF2B5EF4-FFF2-40B4-BE49-F238E27FC236}">
                <a16:creationId xmlns:a16="http://schemas.microsoft.com/office/drawing/2014/main" id="{D8C7B17E-D076-4FC8-9189-EEF4CD2F7B5F}"/>
              </a:ext>
            </a:extLst>
          </p:cNvPr>
          <p:cNvSpPr txBox="1"/>
          <p:nvPr/>
        </p:nvSpPr>
        <p:spPr>
          <a:xfrm>
            <a:off x="1010358" y="4918214"/>
            <a:ext cx="5779353" cy="61555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nl-NL" sz="2000">
                <a:cs typeface="+mn-cs"/>
              </a:rPr>
              <a:t>Kijk of de schoolleider actief aan de slag is met het onderwijs in de klas</a:t>
            </a:r>
            <a:endParaRPr lang="en-US" sz="2000">
              <a:cs typeface="+mn-cs"/>
            </a:endParaRPr>
          </a:p>
        </p:txBody>
      </p:sp>
      <p:grpSp>
        <p:nvGrpSpPr>
          <p:cNvPr id="41" name="CheckmarkWhite 36">
            <a:extLst>
              <a:ext uri="{FF2B5EF4-FFF2-40B4-BE49-F238E27FC236}">
                <a16:creationId xmlns:a16="http://schemas.microsoft.com/office/drawing/2014/main" id="{C6BAC051-961F-417C-9215-166AF66E06B8}"/>
              </a:ext>
            </a:extLst>
          </p:cNvPr>
          <p:cNvGrpSpPr>
            <a:grpSpLocks noChangeAspect="1"/>
          </p:cNvGrpSpPr>
          <p:nvPr>
            <p:custDataLst>
              <p:tags r:id="rId7"/>
            </p:custDataLst>
          </p:nvPr>
        </p:nvGrpSpPr>
        <p:grpSpPr>
          <a:xfrm>
            <a:off x="533770" y="4918214"/>
            <a:ext cx="365760" cy="365760"/>
            <a:chOff x="1016000" y="1016000"/>
            <a:chExt cx="396228" cy="396228"/>
          </a:xfrm>
        </p:grpSpPr>
        <p:sp>
          <p:nvSpPr>
            <p:cNvPr id="42" name="Oval 41">
              <a:extLst>
                <a:ext uri="{FF2B5EF4-FFF2-40B4-BE49-F238E27FC236}">
                  <a16:creationId xmlns:a16="http://schemas.microsoft.com/office/drawing/2014/main" id="{5E7A21C5-1E9C-407C-B6BF-387BDA72FD06}"/>
                </a:ext>
              </a:extLst>
            </p:cNvPr>
            <p:cNvSpPr/>
            <p:nvPr/>
          </p:nvSpPr>
          <p:spPr>
            <a:xfrm>
              <a:off x="1016000" y="1016000"/>
              <a:ext cx="396228" cy="396228"/>
            </a:xfrm>
            <a:prstGeom prst="ellipse">
              <a:avLst/>
            </a:prstGeom>
            <a:solidFill>
              <a:schemeClr val="bg1"/>
            </a:solidFill>
            <a:ln w="6350" cap="sq">
              <a:solidFill>
                <a:srgbClr val="00B05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3" name="Freeform: Shape 42">
              <a:extLst>
                <a:ext uri="{FF2B5EF4-FFF2-40B4-BE49-F238E27FC236}">
                  <a16:creationId xmlns:a16="http://schemas.microsoft.com/office/drawing/2014/main" id="{71581375-8824-48CB-B3B5-51FD7D21B1CA}"/>
                </a:ext>
              </a:extLst>
            </p:cNvPr>
            <p:cNvSpPr>
              <a:spLocks noChangeAspect="1"/>
            </p:cNvSpPr>
            <p:nvPr/>
          </p:nvSpPr>
          <p:spPr>
            <a:xfrm>
              <a:off x="1132776" y="1123650"/>
              <a:ext cx="175990" cy="182743"/>
            </a:xfrm>
            <a:custGeom>
              <a:avLst/>
              <a:gdLst/>
              <a:ahLst/>
              <a:cxnLst/>
              <a:rect l="0" t="0" r="0" b="0"/>
              <a:pathLst>
                <a:path w="176263" h="183026">
                  <a:moveTo>
                    <a:pt x="66335" y="183025"/>
                  </a:moveTo>
                  <a:lnTo>
                    <a:pt x="65208" y="183025"/>
                  </a:lnTo>
                  <a:lnTo>
                    <a:pt x="64121" y="182624"/>
                  </a:lnTo>
                  <a:lnTo>
                    <a:pt x="63276" y="181858"/>
                  </a:lnTo>
                  <a:lnTo>
                    <a:pt x="2093" y="127518"/>
                  </a:lnTo>
                  <a:lnTo>
                    <a:pt x="201" y="125827"/>
                  </a:lnTo>
                  <a:lnTo>
                    <a:pt x="0" y="122889"/>
                  </a:lnTo>
                  <a:lnTo>
                    <a:pt x="1691" y="120997"/>
                  </a:lnTo>
                  <a:lnTo>
                    <a:pt x="3381" y="119065"/>
                  </a:lnTo>
                  <a:lnTo>
                    <a:pt x="6319" y="118904"/>
                  </a:lnTo>
                  <a:lnTo>
                    <a:pt x="8211" y="120596"/>
                  </a:lnTo>
                  <a:lnTo>
                    <a:pt x="65248" y="171230"/>
                  </a:lnTo>
                  <a:lnTo>
                    <a:pt x="167004" y="2898"/>
                  </a:lnTo>
                  <a:lnTo>
                    <a:pt x="168332" y="725"/>
                  </a:lnTo>
                  <a:lnTo>
                    <a:pt x="171190" y="0"/>
                  </a:lnTo>
                  <a:lnTo>
                    <a:pt x="173364" y="1329"/>
                  </a:lnTo>
                  <a:lnTo>
                    <a:pt x="175537" y="2657"/>
                  </a:lnTo>
                  <a:lnTo>
                    <a:pt x="176262" y="5514"/>
                  </a:lnTo>
                  <a:lnTo>
                    <a:pt x="174933" y="7687"/>
                  </a:lnTo>
                  <a:lnTo>
                    <a:pt x="70279" y="180811"/>
                  </a:lnTo>
                  <a:lnTo>
                    <a:pt x="69555" y="181978"/>
                  </a:lnTo>
                  <a:lnTo>
                    <a:pt x="68387" y="182784"/>
                  </a:lnTo>
                  <a:lnTo>
                    <a:pt x="67020" y="182986"/>
                  </a:lnTo>
                  <a:lnTo>
                    <a:pt x="66777" y="183025"/>
                  </a:lnTo>
                  <a:lnTo>
                    <a:pt x="66576" y="183025"/>
                  </a:lnTo>
                  <a:close/>
                </a:path>
              </a:pathLst>
            </a:custGeom>
            <a:solidFill>
              <a:schemeClr val="accent1"/>
            </a:solidFill>
            <a:ln w="6350" cap="sq">
              <a:solidFill>
                <a:srgbClr val="00B05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grpSp>
      <p:sp>
        <p:nvSpPr>
          <p:cNvPr id="48" name="TextBox 47">
            <a:extLst>
              <a:ext uri="{FF2B5EF4-FFF2-40B4-BE49-F238E27FC236}">
                <a16:creationId xmlns:a16="http://schemas.microsoft.com/office/drawing/2014/main" id="{487D3BBD-7BD3-48A5-83BD-917F30F52F54}"/>
              </a:ext>
            </a:extLst>
          </p:cNvPr>
          <p:cNvSpPr txBox="1"/>
          <p:nvPr/>
        </p:nvSpPr>
        <p:spPr>
          <a:xfrm>
            <a:off x="1010358" y="3450179"/>
            <a:ext cx="5779353"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err="1">
                <a:cs typeface="+mn-cs"/>
              </a:rPr>
              <a:t>Vertrouw</a:t>
            </a:r>
            <a:r>
              <a:rPr lang="en-US" sz="2000">
                <a:cs typeface="+mn-cs"/>
              </a:rPr>
              <a:t> op </a:t>
            </a:r>
            <a:r>
              <a:rPr lang="en-US" sz="2000" err="1">
                <a:cs typeface="+mn-cs"/>
              </a:rPr>
              <a:t>papieren</a:t>
            </a:r>
            <a:r>
              <a:rPr lang="en-US" sz="2000">
                <a:cs typeface="+mn-cs"/>
              </a:rPr>
              <a:t> </a:t>
            </a:r>
            <a:r>
              <a:rPr lang="en-US" sz="2000" err="1">
                <a:cs typeface="+mn-cs"/>
              </a:rPr>
              <a:t>kwaliteitszorgsystemen</a:t>
            </a:r>
            <a:endParaRPr lang="en-US" sz="2000">
              <a:cs typeface="+mn-cs"/>
            </a:endParaRPr>
          </a:p>
        </p:txBody>
      </p:sp>
      <p:sp>
        <p:nvSpPr>
          <p:cNvPr id="50" name="Oval 49">
            <a:extLst>
              <a:ext uri="{FF2B5EF4-FFF2-40B4-BE49-F238E27FC236}">
                <a16:creationId xmlns:a16="http://schemas.microsoft.com/office/drawing/2014/main" id="{EBA77CDE-0C6C-44C3-9A68-8649869E3A6F}"/>
              </a:ext>
            </a:extLst>
          </p:cNvPr>
          <p:cNvSpPr/>
          <p:nvPr/>
        </p:nvSpPr>
        <p:spPr>
          <a:xfrm>
            <a:off x="533770" y="3421187"/>
            <a:ext cx="365760" cy="365760"/>
          </a:xfrm>
          <a:prstGeom prst="ellipse">
            <a:avLst/>
          </a:prstGeom>
          <a:solidFill>
            <a:schemeClr val="bg1"/>
          </a:solidFill>
          <a:ln w="6350" cap="sq">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3" name="TextBox 52">
            <a:extLst>
              <a:ext uri="{FF2B5EF4-FFF2-40B4-BE49-F238E27FC236}">
                <a16:creationId xmlns:a16="http://schemas.microsoft.com/office/drawing/2014/main" id="{0BE3D6DF-B090-43AF-BE2A-DC2F36973883}"/>
              </a:ext>
            </a:extLst>
          </p:cNvPr>
          <p:cNvSpPr txBox="1"/>
          <p:nvPr/>
        </p:nvSpPr>
        <p:spPr>
          <a:xfrm>
            <a:off x="1010358" y="4448197"/>
            <a:ext cx="5779353"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nl-NL" sz="2000">
                <a:cs typeface="+mn-cs"/>
              </a:rPr>
              <a:t>Kijk of leraren samenwerken en elkaars lessen bezoeken</a:t>
            </a:r>
            <a:endParaRPr lang="en-US" sz="2000">
              <a:cs typeface="+mn-cs"/>
            </a:endParaRPr>
          </a:p>
        </p:txBody>
      </p:sp>
      <p:grpSp>
        <p:nvGrpSpPr>
          <p:cNvPr id="54" name="CheckmarkWhite 36">
            <a:extLst>
              <a:ext uri="{FF2B5EF4-FFF2-40B4-BE49-F238E27FC236}">
                <a16:creationId xmlns:a16="http://schemas.microsoft.com/office/drawing/2014/main" id="{5DD7399F-55F3-4A8D-896E-1ABF02C2A519}"/>
              </a:ext>
            </a:extLst>
          </p:cNvPr>
          <p:cNvGrpSpPr>
            <a:grpSpLocks noChangeAspect="1"/>
          </p:cNvGrpSpPr>
          <p:nvPr>
            <p:custDataLst>
              <p:tags r:id="rId8"/>
            </p:custDataLst>
          </p:nvPr>
        </p:nvGrpSpPr>
        <p:grpSpPr>
          <a:xfrm>
            <a:off x="533770" y="4419205"/>
            <a:ext cx="365760" cy="365760"/>
            <a:chOff x="1016000" y="1016000"/>
            <a:chExt cx="396228" cy="396228"/>
          </a:xfrm>
        </p:grpSpPr>
        <p:sp>
          <p:nvSpPr>
            <p:cNvPr id="55" name="Oval 54">
              <a:extLst>
                <a:ext uri="{FF2B5EF4-FFF2-40B4-BE49-F238E27FC236}">
                  <a16:creationId xmlns:a16="http://schemas.microsoft.com/office/drawing/2014/main" id="{1D907DB4-CA56-410B-BAE3-829DBCADBF8A}"/>
                </a:ext>
              </a:extLst>
            </p:cNvPr>
            <p:cNvSpPr/>
            <p:nvPr/>
          </p:nvSpPr>
          <p:spPr>
            <a:xfrm>
              <a:off x="1016000" y="1016000"/>
              <a:ext cx="396228" cy="396228"/>
            </a:xfrm>
            <a:prstGeom prst="ellipse">
              <a:avLst/>
            </a:prstGeom>
            <a:solidFill>
              <a:schemeClr val="bg1"/>
            </a:solidFill>
            <a:ln w="6350" cap="sq">
              <a:solidFill>
                <a:srgbClr val="00B05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6" name="Freeform: Shape 55">
              <a:extLst>
                <a:ext uri="{FF2B5EF4-FFF2-40B4-BE49-F238E27FC236}">
                  <a16:creationId xmlns:a16="http://schemas.microsoft.com/office/drawing/2014/main" id="{1169B085-E871-4430-9A67-DB03DBDAEAD9}"/>
                </a:ext>
              </a:extLst>
            </p:cNvPr>
            <p:cNvSpPr>
              <a:spLocks noChangeAspect="1"/>
            </p:cNvSpPr>
            <p:nvPr/>
          </p:nvSpPr>
          <p:spPr>
            <a:xfrm>
              <a:off x="1132776" y="1123650"/>
              <a:ext cx="175990" cy="182743"/>
            </a:xfrm>
            <a:custGeom>
              <a:avLst/>
              <a:gdLst/>
              <a:ahLst/>
              <a:cxnLst/>
              <a:rect l="0" t="0" r="0" b="0"/>
              <a:pathLst>
                <a:path w="176263" h="183026">
                  <a:moveTo>
                    <a:pt x="66335" y="183025"/>
                  </a:moveTo>
                  <a:lnTo>
                    <a:pt x="65208" y="183025"/>
                  </a:lnTo>
                  <a:lnTo>
                    <a:pt x="64121" y="182624"/>
                  </a:lnTo>
                  <a:lnTo>
                    <a:pt x="63276" y="181858"/>
                  </a:lnTo>
                  <a:lnTo>
                    <a:pt x="2093" y="127518"/>
                  </a:lnTo>
                  <a:lnTo>
                    <a:pt x="201" y="125827"/>
                  </a:lnTo>
                  <a:lnTo>
                    <a:pt x="0" y="122889"/>
                  </a:lnTo>
                  <a:lnTo>
                    <a:pt x="1691" y="120997"/>
                  </a:lnTo>
                  <a:lnTo>
                    <a:pt x="3381" y="119065"/>
                  </a:lnTo>
                  <a:lnTo>
                    <a:pt x="6319" y="118904"/>
                  </a:lnTo>
                  <a:lnTo>
                    <a:pt x="8211" y="120596"/>
                  </a:lnTo>
                  <a:lnTo>
                    <a:pt x="65248" y="171230"/>
                  </a:lnTo>
                  <a:lnTo>
                    <a:pt x="167004" y="2898"/>
                  </a:lnTo>
                  <a:lnTo>
                    <a:pt x="168332" y="725"/>
                  </a:lnTo>
                  <a:lnTo>
                    <a:pt x="171190" y="0"/>
                  </a:lnTo>
                  <a:lnTo>
                    <a:pt x="173364" y="1329"/>
                  </a:lnTo>
                  <a:lnTo>
                    <a:pt x="175537" y="2657"/>
                  </a:lnTo>
                  <a:lnTo>
                    <a:pt x="176262" y="5514"/>
                  </a:lnTo>
                  <a:lnTo>
                    <a:pt x="174933" y="7687"/>
                  </a:lnTo>
                  <a:lnTo>
                    <a:pt x="70279" y="180811"/>
                  </a:lnTo>
                  <a:lnTo>
                    <a:pt x="69555" y="181978"/>
                  </a:lnTo>
                  <a:lnTo>
                    <a:pt x="68387" y="182784"/>
                  </a:lnTo>
                  <a:lnTo>
                    <a:pt x="67020" y="182986"/>
                  </a:lnTo>
                  <a:lnTo>
                    <a:pt x="66777" y="183025"/>
                  </a:lnTo>
                  <a:lnTo>
                    <a:pt x="66576" y="183025"/>
                  </a:lnTo>
                  <a:close/>
                </a:path>
              </a:pathLst>
            </a:custGeom>
            <a:solidFill>
              <a:schemeClr val="accent1"/>
            </a:solidFill>
            <a:ln w="6350" cap="sq">
              <a:solidFill>
                <a:srgbClr val="00B05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grpSp>
      <p:cxnSp>
        <p:nvCxnSpPr>
          <p:cNvPr id="11" name="Straight Connector 10">
            <a:extLst>
              <a:ext uri="{FF2B5EF4-FFF2-40B4-BE49-F238E27FC236}">
                <a16:creationId xmlns:a16="http://schemas.microsoft.com/office/drawing/2014/main" id="{EAFBA672-794F-4C1A-88F6-80BB24D1EE89}"/>
              </a:ext>
            </a:extLst>
          </p:cNvPr>
          <p:cNvCxnSpPr>
            <a:stCxn id="50" idx="1"/>
            <a:endCxn id="50" idx="5"/>
          </p:cNvCxnSpPr>
          <p:nvPr/>
        </p:nvCxnSpPr>
        <p:spPr>
          <a:xfrm>
            <a:off x="587334" y="3474751"/>
            <a:ext cx="258632" cy="258632"/>
          </a:xfrm>
          <a:prstGeom prst="line">
            <a:avLst/>
          </a:prstGeom>
          <a:solidFill>
            <a:schemeClr val="bg1"/>
          </a:solidFill>
          <a:ln w="6350" cap="sq">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cxnSp>
      <p:cxnSp>
        <p:nvCxnSpPr>
          <p:cNvPr id="37" name="Straight Connector 36">
            <a:extLst>
              <a:ext uri="{FF2B5EF4-FFF2-40B4-BE49-F238E27FC236}">
                <a16:creationId xmlns:a16="http://schemas.microsoft.com/office/drawing/2014/main" id="{36AED5C6-E62C-4C9B-8733-8D7F900ADA92}"/>
              </a:ext>
            </a:extLst>
          </p:cNvPr>
          <p:cNvCxnSpPr>
            <a:cxnSpLocks/>
          </p:cNvCxnSpPr>
          <p:nvPr/>
        </p:nvCxnSpPr>
        <p:spPr>
          <a:xfrm flipH="1">
            <a:off x="554736" y="3287938"/>
            <a:ext cx="1108252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132EA503-6611-4A99-9F3A-B9FA4EA4F896}"/>
              </a:ext>
            </a:extLst>
          </p:cNvPr>
          <p:cNvSpPr txBox="1"/>
          <p:nvPr/>
        </p:nvSpPr>
        <p:spPr>
          <a:xfrm>
            <a:off x="5681133" y="1351764"/>
            <a:ext cx="5956131" cy="100027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nl-NL" sz="2000">
                <a:cs typeface="+mn-cs"/>
              </a:rPr>
              <a:t>Werk intensief samen aan onderwijs: doelen stellen, samen lessen voorbereiden en elkaars lessen bezoeken</a:t>
            </a:r>
            <a:endParaRPr lang="en-US" sz="2000">
              <a:cs typeface="+mn-cs"/>
            </a:endParaRPr>
          </a:p>
          <a:p>
            <a:r>
              <a:rPr lang="en-US" sz="2000" err="1">
                <a:cs typeface="+mn-cs"/>
              </a:rPr>
              <a:t>Vraag</a:t>
            </a:r>
            <a:r>
              <a:rPr lang="en-US" sz="2000">
                <a:cs typeface="+mn-cs"/>
              </a:rPr>
              <a:t> </a:t>
            </a:r>
            <a:r>
              <a:rPr lang="en-US" sz="2000" err="1">
                <a:cs typeface="+mn-cs"/>
              </a:rPr>
              <a:t>leerlingen</a:t>
            </a:r>
            <a:r>
              <a:rPr lang="en-US" sz="2000">
                <a:cs typeface="+mn-cs"/>
              </a:rPr>
              <a:t> om feedback</a:t>
            </a:r>
          </a:p>
        </p:txBody>
      </p:sp>
      <p:grpSp>
        <p:nvGrpSpPr>
          <p:cNvPr id="46" name="CheckmarkWhite 36">
            <a:extLst>
              <a:ext uri="{FF2B5EF4-FFF2-40B4-BE49-F238E27FC236}">
                <a16:creationId xmlns:a16="http://schemas.microsoft.com/office/drawing/2014/main" id="{5EF3DA5C-BAFB-44E1-A411-E3A00B14D570}"/>
              </a:ext>
            </a:extLst>
          </p:cNvPr>
          <p:cNvGrpSpPr>
            <a:grpSpLocks noChangeAspect="1"/>
          </p:cNvGrpSpPr>
          <p:nvPr>
            <p:custDataLst>
              <p:tags r:id="rId9"/>
            </p:custDataLst>
          </p:nvPr>
        </p:nvGrpSpPr>
        <p:grpSpPr>
          <a:xfrm>
            <a:off x="5123359" y="1351764"/>
            <a:ext cx="365760" cy="365760"/>
            <a:chOff x="1016000" y="1016000"/>
            <a:chExt cx="396228" cy="396228"/>
          </a:xfrm>
        </p:grpSpPr>
        <p:sp>
          <p:nvSpPr>
            <p:cNvPr id="47" name="Oval 46">
              <a:extLst>
                <a:ext uri="{FF2B5EF4-FFF2-40B4-BE49-F238E27FC236}">
                  <a16:creationId xmlns:a16="http://schemas.microsoft.com/office/drawing/2014/main" id="{86CBE4EB-C5C7-44F6-96DD-F54E0AC20B77}"/>
                </a:ext>
              </a:extLst>
            </p:cNvPr>
            <p:cNvSpPr/>
            <p:nvPr/>
          </p:nvSpPr>
          <p:spPr>
            <a:xfrm>
              <a:off x="1016000" y="1016000"/>
              <a:ext cx="396228" cy="396228"/>
            </a:xfrm>
            <a:prstGeom prst="ellipse">
              <a:avLst/>
            </a:prstGeom>
            <a:solidFill>
              <a:schemeClr val="bg1"/>
            </a:solidFill>
            <a:ln w="6350" cap="sq">
              <a:solidFill>
                <a:srgbClr val="00B05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9" name="Freeform: Shape 48">
              <a:extLst>
                <a:ext uri="{FF2B5EF4-FFF2-40B4-BE49-F238E27FC236}">
                  <a16:creationId xmlns:a16="http://schemas.microsoft.com/office/drawing/2014/main" id="{9AC1051E-212E-4D9E-A983-0014C47AE00C}"/>
                </a:ext>
              </a:extLst>
            </p:cNvPr>
            <p:cNvSpPr>
              <a:spLocks noChangeAspect="1"/>
            </p:cNvSpPr>
            <p:nvPr/>
          </p:nvSpPr>
          <p:spPr>
            <a:xfrm>
              <a:off x="1132776" y="1123650"/>
              <a:ext cx="175990" cy="182743"/>
            </a:xfrm>
            <a:custGeom>
              <a:avLst/>
              <a:gdLst/>
              <a:ahLst/>
              <a:cxnLst/>
              <a:rect l="0" t="0" r="0" b="0"/>
              <a:pathLst>
                <a:path w="176263" h="183026">
                  <a:moveTo>
                    <a:pt x="66335" y="183025"/>
                  </a:moveTo>
                  <a:lnTo>
                    <a:pt x="65208" y="183025"/>
                  </a:lnTo>
                  <a:lnTo>
                    <a:pt x="64121" y="182624"/>
                  </a:lnTo>
                  <a:lnTo>
                    <a:pt x="63276" y="181858"/>
                  </a:lnTo>
                  <a:lnTo>
                    <a:pt x="2093" y="127518"/>
                  </a:lnTo>
                  <a:lnTo>
                    <a:pt x="201" y="125827"/>
                  </a:lnTo>
                  <a:lnTo>
                    <a:pt x="0" y="122889"/>
                  </a:lnTo>
                  <a:lnTo>
                    <a:pt x="1691" y="120997"/>
                  </a:lnTo>
                  <a:lnTo>
                    <a:pt x="3381" y="119065"/>
                  </a:lnTo>
                  <a:lnTo>
                    <a:pt x="6319" y="118904"/>
                  </a:lnTo>
                  <a:lnTo>
                    <a:pt x="8211" y="120596"/>
                  </a:lnTo>
                  <a:lnTo>
                    <a:pt x="65248" y="171230"/>
                  </a:lnTo>
                  <a:lnTo>
                    <a:pt x="167004" y="2898"/>
                  </a:lnTo>
                  <a:lnTo>
                    <a:pt x="168332" y="725"/>
                  </a:lnTo>
                  <a:lnTo>
                    <a:pt x="171190" y="0"/>
                  </a:lnTo>
                  <a:lnTo>
                    <a:pt x="173364" y="1329"/>
                  </a:lnTo>
                  <a:lnTo>
                    <a:pt x="175537" y="2657"/>
                  </a:lnTo>
                  <a:lnTo>
                    <a:pt x="176262" y="5514"/>
                  </a:lnTo>
                  <a:lnTo>
                    <a:pt x="174933" y="7687"/>
                  </a:lnTo>
                  <a:lnTo>
                    <a:pt x="70279" y="180811"/>
                  </a:lnTo>
                  <a:lnTo>
                    <a:pt x="69555" y="181978"/>
                  </a:lnTo>
                  <a:lnTo>
                    <a:pt x="68387" y="182784"/>
                  </a:lnTo>
                  <a:lnTo>
                    <a:pt x="67020" y="182986"/>
                  </a:lnTo>
                  <a:lnTo>
                    <a:pt x="66777" y="183025"/>
                  </a:lnTo>
                  <a:lnTo>
                    <a:pt x="66576" y="183025"/>
                  </a:lnTo>
                  <a:close/>
                </a:path>
              </a:pathLst>
            </a:custGeom>
            <a:solidFill>
              <a:schemeClr val="accent1"/>
            </a:solidFill>
            <a:ln w="6350" cap="sq">
              <a:solidFill>
                <a:srgbClr val="00B05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grpSp>
      <p:grpSp>
        <p:nvGrpSpPr>
          <p:cNvPr id="57" name="CheckmarkWhite 36">
            <a:extLst>
              <a:ext uri="{FF2B5EF4-FFF2-40B4-BE49-F238E27FC236}">
                <a16:creationId xmlns:a16="http://schemas.microsoft.com/office/drawing/2014/main" id="{14DE2667-1645-4E86-90A1-136771582717}"/>
              </a:ext>
            </a:extLst>
          </p:cNvPr>
          <p:cNvGrpSpPr>
            <a:grpSpLocks noChangeAspect="1"/>
          </p:cNvGrpSpPr>
          <p:nvPr>
            <p:custDataLst>
              <p:tags r:id="rId10"/>
            </p:custDataLst>
          </p:nvPr>
        </p:nvGrpSpPr>
        <p:grpSpPr>
          <a:xfrm>
            <a:off x="5123359" y="2040127"/>
            <a:ext cx="365760" cy="365760"/>
            <a:chOff x="1016002" y="1015999"/>
            <a:chExt cx="396229" cy="396228"/>
          </a:xfrm>
        </p:grpSpPr>
        <p:sp>
          <p:nvSpPr>
            <p:cNvPr id="58" name="Oval 57">
              <a:extLst>
                <a:ext uri="{FF2B5EF4-FFF2-40B4-BE49-F238E27FC236}">
                  <a16:creationId xmlns:a16="http://schemas.microsoft.com/office/drawing/2014/main" id="{27F89FC9-742D-4EEB-B880-145D6D20B749}"/>
                </a:ext>
              </a:extLst>
            </p:cNvPr>
            <p:cNvSpPr/>
            <p:nvPr/>
          </p:nvSpPr>
          <p:spPr>
            <a:xfrm>
              <a:off x="1016002" y="1015999"/>
              <a:ext cx="396229" cy="396228"/>
            </a:xfrm>
            <a:prstGeom prst="ellipse">
              <a:avLst/>
            </a:prstGeom>
            <a:solidFill>
              <a:schemeClr val="bg1"/>
            </a:solidFill>
            <a:ln w="6350" cap="sq">
              <a:solidFill>
                <a:srgbClr val="00B05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9" name="Freeform: Shape 58">
              <a:extLst>
                <a:ext uri="{FF2B5EF4-FFF2-40B4-BE49-F238E27FC236}">
                  <a16:creationId xmlns:a16="http://schemas.microsoft.com/office/drawing/2014/main" id="{8A11B634-BFBE-4533-AFC2-D2E59EA0AB9C}"/>
                </a:ext>
              </a:extLst>
            </p:cNvPr>
            <p:cNvSpPr>
              <a:spLocks noChangeAspect="1"/>
            </p:cNvSpPr>
            <p:nvPr/>
          </p:nvSpPr>
          <p:spPr>
            <a:xfrm>
              <a:off x="1132775" y="1123650"/>
              <a:ext cx="175990" cy="182743"/>
            </a:xfrm>
            <a:custGeom>
              <a:avLst/>
              <a:gdLst/>
              <a:ahLst/>
              <a:cxnLst/>
              <a:rect l="0" t="0" r="0" b="0"/>
              <a:pathLst>
                <a:path w="176263" h="183026">
                  <a:moveTo>
                    <a:pt x="66335" y="183025"/>
                  </a:moveTo>
                  <a:lnTo>
                    <a:pt x="65208" y="183025"/>
                  </a:lnTo>
                  <a:lnTo>
                    <a:pt x="64121" y="182624"/>
                  </a:lnTo>
                  <a:lnTo>
                    <a:pt x="63276" y="181858"/>
                  </a:lnTo>
                  <a:lnTo>
                    <a:pt x="2093" y="127518"/>
                  </a:lnTo>
                  <a:lnTo>
                    <a:pt x="201" y="125827"/>
                  </a:lnTo>
                  <a:lnTo>
                    <a:pt x="0" y="122889"/>
                  </a:lnTo>
                  <a:lnTo>
                    <a:pt x="1691" y="120997"/>
                  </a:lnTo>
                  <a:lnTo>
                    <a:pt x="3381" y="119065"/>
                  </a:lnTo>
                  <a:lnTo>
                    <a:pt x="6319" y="118904"/>
                  </a:lnTo>
                  <a:lnTo>
                    <a:pt x="8211" y="120596"/>
                  </a:lnTo>
                  <a:lnTo>
                    <a:pt x="65248" y="171230"/>
                  </a:lnTo>
                  <a:lnTo>
                    <a:pt x="167004" y="2898"/>
                  </a:lnTo>
                  <a:lnTo>
                    <a:pt x="168332" y="725"/>
                  </a:lnTo>
                  <a:lnTo>
                    <a:pt x="171190" y="0"/>
                  </a:lnTo>
                  <a:lnTo>
                    <a:pt x="173364" y="1329"/>
                  </a:lnTo>
                  <a:lnTo>
                    <a:pt x="175537" y="2657"/>
                  </a:lnTo>
                  <a:lnTo>
                    <a:pt x="176262" y="5514"/>
                  </a:lnTo>
                  <a:lnTo>
                    <a:pt x="174933" y="7687"/>
                  </a:lnTo>
                  <a:lnTo>
                    <a:pt x="70279" y="180811"/>
                  </a:lnTo>
                  <a:lnTo>
                    <a:pt x="69555" y="181978"/>
                  </a:lnTo>
                  <a:lnTo>
                    <a:pt x="68387" y="182784"/>
                  </a:lnTo>
                  <a:lnTo>
                    <a:pt x="67020" y="182986"/>
                  </a:lnTo>
                  <a:lnTo>
                    <a:pt x="66777" y="183025"/>
                  </a:lnTo>
                  <a:lnTo>
                    <a:pt x="66576" y="183025"/>
                  </a:lnTo>
                  <a:close/>
                </a:path>
              </a:pathLst>
            </a:custGeom>
            <a:solidFill>
              <a:schemeClr val="accent1"/>
            </a:solidFill>
            <a:ln w="6350" cap="sq">
              <a:solidFill>
                <a:srgbClr val="00B05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grpSp>
      <p:sp>
        <p:nvSpPr>
          <p:cNvPr id="61" name="TextBox 60">
            <a:extLst>
              <a:ext uri="{FF2B5EF4-FFF2-40B4-BE49-F238E27FC236}">
                <a16:creationId xmlns:a16="http://schemas.microsoft.com/office/drawing/2014/main" id="{9B052EC3-EA57-48DE-8D58-54196889A0C6}"/>
              </a:ext>
            </a:extLst>
          </p:cNvPr>
          <p:cNvSpPr txBox="1"/>
          <p:nvPr/>
        </p:nvSpPr>
        <p:spPr>
          <a:xfrm>
            <a:off x="5681133" y="2539136"/>
            <a:ext cx="5956131" cy="61555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nl-NL" sz="2000">
                <a:cs typeface="+mn-cs"/>
              </a:rPr>
              <a:t>Dring als beginnende leraar aan op intensieve begeleiding en een vaste groep leerlingen</a:t>
            </a:r>
            <a:endParaRPr lang="en-US" sz="2000">
              <a:cs typeface="+mn-cs"/>
            </a:endParaRPr>
          </a:p>
        </p:txBody>
      </p:sp>
      <p:grpSp>
        <p:nvGrpSpPr>
          <p:cNvPr id="62" name="CheckmarkWhite 36">
            <a:extLst>
              <a:ext uri="{FF2B5EF4-FFF2-40B4-BE49-F238E27FC236}">
                <a16:creationId xmlns:a16="http://schemas.microsoft.com/office/drawing/2014/main" id="{E794D292-7217-4132-8E02-711F05CFB3E1}"/>
              </a:ext>
            </a:extLst>
          </p:cNvPr>
          <p:cNvGrpSpPr>
            <a:grpSpLocks noChangeAspect="1"/>
          </p:cNvGrpSpPr>
          <p:nvPr>
            <p:custDataLst>
              <p:tags r:id="rId11"/>
            </p:custDataLst>
          </p:nvPr>
        </p:nvGrpSpPr>
        <p:grpSpPr>
          <a:xfrm>
            <a:off x="5123359" y="2664032"/>
            <a:ext cx="365760" cy="365760"/>
            <a:chOff x="1016000" y="1016000"/>
            <a:chExt cx="396228" cy="396228"/>
          </a:xfrm>
        </p:grpSpPr>
        <p:sp>
          <p:nvSpPr>
            <p:cNvPr id="63" name="Oval 62">
              <a:extLst>
                <a:ext uri="{FF2B5EF4-FFF2-40B4-BE49-F238E27FC236}">
                  <a16:creationId xmlns:a16="http://schemas.microsoft.com/office/drawing/2014/main" id="{230A4931-702A-4E54-8978-7DE7A94165AB}"/>
                </a:ext>
              </a:extLst>
            </p:cNvPr>
            <p:cNvSpPr/>
            <p:nvPr/>
          </p:nvSpPr>
          <p:spPr>
            <a:xfrm>
              <a:off x="1016000" y="1016000"/>
              <a:ext cx="396228" cy="396228"/>
            </a:xfrm>
            <a:prstGeom prst="ellipse">
              <a:avLst/>
            </a:prstGeom>
            <a:solidFill>
              <a:schemeClr val="bg1"/>
            </a:solidFill>
            <a:ln w="6350" cap="sq">
              <a:solidFill>
                <a:srgbClr val="00B05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4" name="Freeform: Shape 63">
              <a:extLst>
                <a:ext uri="{FF2B5EF4-FFF2-40B4-BE49-F238E27FC236}">
                  <a16:creationId xmlns:a16="http://schemas.microsoft.com/office/drawing/2014/main" id="{A7459F09-13AA-4A5D-AAE2-7E52AEB90875}"/>
                </a:ext>
              </a:extLst>
            </p:cNvPr>
            <p:cNvSpPr>
              <a:spLocks noChangeAspect="1"/>
            </p:cNvSpPr>
            <p:nvPr/>
          </p:nvSpPr>
          <p:spPr>
            <a:xfrm>
              <a:off x="1132776" y="1123650"/>
              <a:ext cx="175990" cy="182743"/>
            </a:xfrm>
            <a:custGeom>
              <a:avLst/>
              <a:gdLst/>
              <a:ahLst/>
              <a:cxnLst/>
              <a:rect l="0" t="0" r="0" b="0"/>
              <a:pathLst>
                <a:path w="176263" h="183026">
                  <a:moveTo>
                    <a:pt x="66335" y="183025"/>
                  </a:moveTo>
                  <a:lnTo>
                    <a:pt x="65208" y="183025"/>
                  </a:lnTo>
                  <a:lnTo>
                    <a:pt x="64121" y="182624"/>
                  </a:lnTo>
                  <a:lnTo>
                    <a:pt x="63276" y="181858"/>
                  </a:lnTo>
                  <a:lnTo>
                    <a:pt x="2093" y="127518"/>
                  </a:lnTo>
                  <a:lnTo>
                    <a:pt x="201" y="125827"/>
                  </a:lnTo>
                  <a:lnTo>
                    <a:pt x="0" y="122889"/>
                  </a:lnTo>
                  <a:lnTo>
                    <a:pt x="1691" y="120997"/>
                  </a:lnTo>
                  <a:lnTo>
                    <a:pt x="3381" y="119065"/>
                  </a:lnTo>
                  <a:lnTo>
                    <a:pt x="6319" y="118904"/>
                  </a:lnTo>
                  <a:lnTo>
                    <a:pt x="8211" y="120596"/>
                  </a:lnTo>
                  <a:lnTo>
                    <a:pt x="65248" y="171230"/>
                  </a:lnTo>
                  <a:lnTo>
                    <a:pt x="167004" y="2898"/>
                  </a:lnTo>
                  <a:lnTo>
                    <a:pt x="168332" y="725"/>
                  </a:lnTo>
                  <a:lnTo>
                    <a:pt x="171190" y="0"/>
                  </a:lnTo>
                  <a:lnTo>
                    <a:pt x="173364" y="1329"/>
                  </a:lnTo>
                  <a:lnTo>
                    <a:pt x="175537" y="2657"/>
                  </a:lnTo>
                  <a:lnTo>
                    <a:pt x="176262" y="5514"/>
                  </a:lnTo>
                  <a:lnTo>
                    <a:pt x="174933" y="7687"/>
                  </a:lnTo>
                  <a:lnTo>
                    <a:pt x="70279" y="180811"/>
                  </a:lnTo>
                  <a:lnTo>
                    <a:pt x="69555" y="181978"/>
                  </a:lnTo>
                  <a:lnTo>
                    <a:pt x="68387" y="182784"/>
                  </a:lnTo>
                  <a:lnTo>
                    <a:pt x="67020" y="182986"/>
                  </a:lnTo>
                  <a:lnTo>
                    <a:pt x="66777" y="183025"/>
                  </a:lnTo>
                  <a:lnTo>
                    <a:pt x="66576" y="183025"/>
                  </a:lnTo>
                  <a:close/>
                </a:path>
              </a:pathLst>
            </a:custGeom>
            <a:solidFill>
              <a:schemeClr val="accent1"/>
            </a:solidFill>
            <a:ln w="6350" cap="sq">
              <a:solidFill>
                <a:srgbClr val="00B05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grpSp>
      <p:sp>
        <p:nvSpPr>
          <p:cNvPr id="65" name="TextBox 64">
            <a:extLst>
              <a:ext uri="{FF2B5EF4-FFF2-40B4-BE49-F238E27FC236}">
                <a16:creationId xmlns:a16="http://schemas.microsoft.com/office/drawing/2014/main" id="{E192DF8E-9707-43E4-8530-5447BF0962F7}"/>
              </a:ext>
            </a:extLst>
          </p:cNvPr>
          <p:cNvSpPr txBox="1">
            <a:spLocks/>
          </p:cNvSpPr>
          <p:nvPr/>
        </p:nvSpPr>
        <p:spPr>
          <a:xfrm>
            <a:off x="2354673" y="1399468"/>
            <a:ext cx="1946394" cy="86177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800" err="1">
                <a:cs typeface="+mn-cs"/>
              </a:rPr>
              <a:t>Leraren</a:t>
            </a:r>
            <a:r>
              <a:rPr lang="en-US" sz="2800">
                <a:cs typeface="+mn-cs"/>
              </a:rPr>
              <a:t> </a:t>
            </a:r>
            <a:r>
              <a:rPr lang="en-US" sz="2800" err="1">
                <a:cs typeface="+mn-cs"/>
              </a:rPr>
              <a:t>en</a:t>
            </a:r>
            <a:r>
              <a:rPr lang="en-US" sz="2800">
                <a:cs typeface="+mn-cs"/>
              </a:rPr>
              <a:t> </a:t>
            </a:r>
            <a:r>
              <a:rPr lang="en-US" sz="2800" err="1">
                <a:cs typeface="+mn-cs"/>
              </a:rPr>
              <a:t>schoolleiders</a:t>
            </a:r>
            <a:endParaRPr lang="en-US" sz="2800">
              <a:cs typeface="+mn-cs"/>
            </a:endParaRPr>
          </a:p>
        </p:txBody>
      </p:sp>
      <p:grpSp>
        <p:nvGrpSpPr>
          <p:cNvPr id="7" name="Group 6">
            <a:extLst>
              <a:ext uri="{FF2B5EF4-FFF2-40B4-BE49-F238E27FC236}">
                <a16:creationId xmlns:a16="http://schemas.microsoft.com/office/drawing/2014/main" id="{4449869A-13B9-4BEB-BBCC-052A6EC346CD}"/>
              </a:ext>
            </a:extLst>
          </p:cNvPr>
          <p:cNvGrpSpPr>
            <a:grpSpLocks/>
          </p:cNvGrpSpPr>
          <p:nvPr/>
        </p:nvGrpSpPr>
        <p:grpSpPr>
          <a:xfrm>
            <a:off x="7735864" y="3421187"/>
            <a:ext cx="1475657" cy="1475657"/>
            <a:chOff x="7735863" y="4241509"/>
            <a:chExt cx="1633464" cy="1633464"/>
          </a:xfrm>
        </p:grpSpPr>
        <p:sp>
          <p:nvSpPr>
            <p:cNvPr id="67" name="Oval 66">
              <a:extLst>
                <a:ext uri="{FF2B5EF4-FFF2-40B4-BE49-F238E27FC236}">
                  <a16:creationId xmlns:a16="http://schemas.microsoft.com/office/drawing/2014/main" id="{6250255E-C44F-4477-A16E-715B1EA27B1D}"/>
                </a:ext>
              </a:extLst>
            </p:cNvPr>
            <p:cNvSpPr>
              <a:spLocks noChangeAspect="1"/>
            </p:cNvSpPr>
            <p:nvPr/>
          </p:nvSpPr>
          <p:spPr>
            <a:xfrm>
              <a:off x="7735863" y="4241509"/>
              <a:ext cx="1633464" cy="1633464"/>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69" name="Graphic 68">
              <a:extLst>
                <a:ext uri="{FF2B5EF4-FFF2-40B4-BE49-F238E27FC236}">
                  <a16:creationId xmlns:a16="http://schemas.microsoft.com/office/drawing/2014/main" id="{D07DDDD0-4214-44A0-8F55-9196733A992C}"/>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8046874" y="4552520"/>
              <a:ext cx="1011442" cy="1011442"/>
            </a:xfrm>
            <a:prstGeom prst="rect">
              <a:avLst/>
            </a:prstGeom>
          </p:spPr>
        </p:pic>
      </p:grpSp>
      <p:grpSp>
        <p:nvGrpSpPr>
          <p:cNvPr id="19" name="Group 18">
            <a:extLst>
              <a:ext uri="{FF2B5EF4-FFF2-40B4-BE49-F238E27FC236}">
                <a16:creationId xmlns:a16="http://schemas.microsoft.com/office/drawing/2014/main" id="{02F33107-1529-413F-96E0-BF5A87148528}"/>
              </a:ext>
            </a:extLst>
          </p:cNvPr>
          <p:cNvGrpSpPr>
            <a:grpSpLocks/>
          </p:cNvGrpSpPr>
          <p:nvPr/>
        </p:nvGrpSpPr>
        <p:grpSpPr>
          <a:xfrm>
            <a:off x="587335" y="1399469"/>
            <a:ext cx="1475657" cy="1475657"/>
            <a:chOff x="587334" y="1399468"/>
            <a:chExt cx="1633464" cy="1633464"/>
          </a:xfrm>
        </p:grpSpPr>
        <p:pic>
          <p:nvPicPr>
            <p:cNvPr id="70" name="Graphic 69" descr="Confused person">
              <a:extLst>
                <a:ext uri="{FF2B5EF4-FFF2-40B4-BE49-F238E27FC236}">
                  <a16:creationId xmlns:a16="http://schemas.microsoft.com/office/drawing/2014/main" id="{33D9F974-E261-42C0-A647-94398D04B2F0}"/>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700279" y="1574387"/>
              <a:ext cx="1317851" cy="1317851"/>
            </a:xfrm>
            <a:prstGeom prst="rect">
              <a:avLst/>
            </a:prstGeom>
          </p:spPr>
        </p:pic>
        <p:sp>
          <p:nvSpPr>
            <p:cNvPr id="71" name="Oval 70">
              <a:extLst>
                <a:ext uri="{FF2B5EF4-FFF2-40B4-BE49-F238E27FC236}">
                  <a16:creationId xmlns:a16="http://schemas.microsoft.com/office/drawing/2014/main" id="{47CCDB7E-F95D-4E96-8CF1-9CC8F7419E25}"/>
                </a:ext>
              </a:extLst>
            </p:cNvPr>
            <p:cNvSpPr>
              <a:spLocks noChangeAspect="1"/>
            </p:cNvSpPr>
            <p:nvPr/>
          </p:nvSpPr>
          <p:spPr>
            <a:xfrm>
              <a:off x="587334" y="1399468"/>
              <a:ext cx="1633464" cy="1633464"/>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73" name="Graphic 72">
              <a:extLst>
                <a:ext uri="{FF2B5EF4-FFF2-40B4-BE49-F238E27FC236}">
                  <a16:creationId xmlns:a16="http://schemas.microsoft.com/office/drawing/2014/main" id="{9C3E555D-798B-4D19-B173-83E18F4798CC}"/>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868743" y="1680877"/>
              <a:ext cx="1070646" cy="1070646"/>
            </a:xfrm>
            <a:prstGeom prst="rect">
              <a:avLst/>
            </a:prstGeom>
          </p:spPr>
        </p:pic>
      </p:grpSp>
    </p:spTree>
    <p:extLst>
      <p:ext uri="{BB962C8B-B14F-4D97-AF65-F5344CB8AC3E}">
        <p14:creationId xmlns:p14="http://schemas.microsoft.com/office/powerpoint/2010/main" val="315240913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8EAC6729-A219-4B83-97F9-4D38B4C53A88}"/>
              </a:ext>
            </a:extLst>
          </p:cNvPr>
          <p:cNvGraphicFramePr>
            <a:graphicFrameLocks noChangeAspect="1"/>
          </p:cNvGraphicFramePr>
          <p:nvPr>
            <p:custDataLst>
              <p:tags r:id="rId2"/>
            </p:custDataLst>
            <p:extLst>
              <p:ext uri="{D42A27DB-BD31-4B8C-83A1-F6EECF244321}">
                <p14:modId xmlns:p14="http://schemas.microsoft.com/office/powerpoint/2010/main" val="3179199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43" name="think-cell Slide" r:id="rId12" imgW="395" imgH="394" progId="TCLayout.ActiveDocument.1">
                  <p:embed/>
                </p:oleObj>
              </mc:Choice>
              <mc:Fallback>
                <p:oleObj name="think-cell Slide" r:id="rId12" imgW="395" imgH="394" progId="TCLayout.ActiveDocument.1">
                  <p:embed/>
                  <p:pic>
                    <p:nvPicPr>
                      <p:cNvPr id="5" name="Object 6" hidden="1">
                        <a:extLst>
                          <a:ext uri="{FF2B5EF4-FFF2-40B4-BE49-F238E27FC236}">
                            <a16:creationId xmlns:a16="http://schemas.microsoft.com/office/drawing/2014/main" id="{8EAC6729-A219-4B83-97F9-4D38B4C53A88}"/>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2" name="Rectangle 1" hidden="1">
            <a:extLst>
              <a:ext uri="{FF2B5EF4-FFF2-40B4-BE49-F238E27FC236}">
                <a16:creationId xmlns:a16="http://schemas.microsoft.com/office/drawing/2014/main" id="{71C9BC9F-A62C-4E65-B513-09D1FB570FEA}"/>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nl-NL" sz="2500" b="1" err="1">
              <a:solidFill>
                <a:schemeClr val="bg1"/>
              </a:solidFill>
              <a:latin typeface="Calibri" panose="020F0502020204030204" pitchFamily="34" charset="0"/>
              <a:ea typeface="+mj-ea"/>
              <a:cs typeface="+mj-cs"/>
              <a:sym typeface="Calibri" panose="020F0502020204030204" pitchFamily="34" charset="0"/>
            </a:endParaRPr>
          </a:p>
        </p:txBody>
      </p:sp>
      <p:sp>
        <p:nvSpPr>
          <p:cNvPr id="2" name="2. Slide Title">
            <a:extLst>
              <a:ext uri="{FF2B5EF4-FFF2-40B4-BE49-F238E27FC236}">
                <a16:creationId xmlns:a16="http://schemas.microsoft.com/office/drawing/2014/main" id="{983569A8-2A4B-49A8-B389-7B15933311BE}"/>
              </a:ext>
            </a:extLst>
          </p:cNvPr>
          <p:cNvSpPr>
            <a:spLocks noGrp="1"/>
          </p:cNvSpPr>
          <p:nvPr>
            <p:ph type="title"/>
            <p:custDataLst>
              <p:tags r:id="rId4"/>
            </p:custDataLst>
          </p:nvPr>
        </p:nvSpPr>
        <p:spPr>
          <a:xfrm>
            <a:off x="554736" y="134291"/>
            <a:ext cx="11082528" cy="769441"/>
          </a:xfrm>
          <a:noFill/>
          <a:ln/>
          <a:extLst>
            <a:ext uri="{909E8E84-426E-40DD-AFC4-6F175D3DCCD1}">
              <a14:hiddenFill xmlns:a14="http://schemas.microsoft.com/office/drawing/2010/main">
                <a:solidFill>
                  <a:srgbClr val="FFFFFF"/>
                </a:solidFill>
              </a14:hiddenFill>
            </a:ext>
          </a:extLst>
        </p:spPr>
        <p:txBody>
          <a:bodyPr wrap="square" anchor="b" anchorCtr="0">
            <a:noAutofit/>
          </a:bodyPr>
          <a:lstStyle/>
          <a:p>
            <a:r>
              <a:rPr lang="nl-NL"/>
              <a:t>Wat kunnen ouders en verontruste burgers doen om een verbetercultuur te stimuleren?</a:t>
            </a:r>
            <a:endParaRPr lang="en-US"/>
          </a:p>
        </p:txBody>
      </p:sp>
      <p:sp>
        <p:nvSpPr>
          <p:cNvPr id="29" name="TextBox 28">
            <a:extLst>
              <a:ext uri="{FF2B5EF4-FFF2-40B4-BE49-F238E27FC236}">
                <a16:creationId xmlns:a16="http://schemas.microsoft.com/office/drawing/2014/main" id="{082371E8-1F73-4043-9B00-6C21F5BC828B}"/>
              </a:ext>
            </a:extLst>
          </p:cNvPr>
          <p:cNvSpPr txBox="1">
            <a:spLocks/>
          </p:cNvSpPr>
          <p:nvPr/>
        </p:nvSpPr>
        <p:spPr>
          <a:xfrm>
            <a:off x="9518398" y="4939785"/>
            <a:ext cx="2032036" cy="86177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800" err="1">
                <a:cs typeface="+mn-cs"/>
              </a:rPr>
              <a:t>Verontruste</a:t>
            </a:r>
            <a:r>
              <a:rPr lang="en-US" sz="2800">
                <a:cs typeface="+mn-cs"/>
              </a:rPr>
              <a:t> burgers</a:t>
            </a:r>
          </a:p>
        </p:txBody>
      </p:sp>
      <p:grpSp>
        <p:nvGrpSpPr>
          <p:cNvPr id="10" name="Group 9">
            <a:extLst>
              <a:ext uri="{FF2B5EF4-FFF2-40B4-BE49-F238E27FC236}">
                <a16:creationId xmlns:a16="http://schemas.microsoft.com/office/drawing/2014/main" id="{6BDB561E-6451-4E30-9141-79632041B08F}"/>
              </a:ext>
            </a:extLst>
          </p:cNvPr>
          <p:cNvGrpSpPr/>
          <p:nvPr/>
        </p:nvGrpSpPr>
        <p:grpSpPr>
          <a:xfrm>
            <a:off x="533770" y="5413102"/>
            <a:ext cx="6255941" cy="365760"/>
            <a:chOff x="533770" y="5578528"/>
            <a:chExt cx="6255941" cy="365760"/>
          </a:xfrm>
        </p:grpSpPr>
        <p:sp>
          <p:nvSpPr>
            <p:cNvPr id="16" name="TextBox 15">
              <a:extLst>
                <a:ext uri="{FF2B5EF4-FFF2-40B4-BE49-F238E27FC236}">
                  <a16:creationId xmlns:a16="http://schemas.microsoft.com/office/drawing/2014/main" id="{BF738FE8-2615-4A64-9FE7-8E2590F5E395}"/>
                </a:ext>
              </a:extLst>
            </p:cNvPr>
            <p:cNvSpPr txBox="1"/>
            <p:nvPr/>
          </p:nvSpPr>
          <p:spPr>
            <a:xfrm>
              <a:off x="1010358" y="5607520"/>
              <a:ext cx="5779353"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nl-NL" sz="2000"/>
                <a:t>Ga met anderen over kansenongelijkheid in gesprek</a:t>
              </a:r>
              <a:endParaRPr lang="en-US" sz="2000"/>
            </a:p>
          </p:txBody>
        </p:sp>
        <p:grpSp>
          <p:nvGrpSpPr>
            <p:cNvPr id="38" name="CheckmarkWhite 36">
              <a:extLst>
                <a:ext uri="{FF2B5EF4-FFF2-40B4-BE49-F238E27FC236}">
                  <a16:creationId xmlns:a16="http://schemas.microsoft.com/office/drawing/2014/main" id="{4BAA9745-A115-40D7-A8D9-9DACA33A729C}"/>
                </a:ext>
              </a:extLst>
            </p:cNvPr>
            <p:cNvGrpSpPr>
              <a:grpSpLocks noChangeAspect="1"/>
            </p:cNvGrpSpPr>
            <p:nvPr>
              <p:custDataLst>
                <p:tags r:id="rId10"/>
              </p:custDataLst>
            </p:nvPr>
          </p:nvGrpSpPr>
          <p:grpSpPr>
            <a:xfrm>
              <a:off x="533770" y="5578528"/>
              <a:ext cx="365760" cy="365760"/>
              <a:chOff x="1016000" y="1016000"/>
              <a:chExt cx="396228" cy="396228"/>
            </a:xfrm>
          </p:grpSpPr>
          <p:sp>
            <p:nvSpPr>
              <p:cNvPr id="39" name="Oval 38">
                <a:extLst>
                  <a:ext uri="{FF2B5EF4-FFF2-40B4-BE49-F238E27FC236}">
                    <a16:creationId xmlns:a16="http://schemas.microsoft.com/office/drawing/2014/main" id="{4C678F71-CD7F-459F-B9B5-28E17CF4FB72}"/>
                  </a:ext>
                </a:extLst>
              </p:cNvPr>
              <p:cNvSpPr/>
              <p:nvPr/>
            </p:nvSpPr>
            <p:spPr>
              <a:xfrm>
                <a:off x="1016000" y="1016000"/>
                <a:ext cx="396228" cy="396228"/>
              </a:xfrm>
              <a:prstGeom prst="ellipse">
                <a:avLst/>
              </a:prstGeom>
              <a:solidFill>
                <a:schemeClr val="bg1"/>
              </a:solidFill>
              <a:ln w="6350" cap="sq">
                <a:solidFill>
                  <a:srgbClr val="00B05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0" name="Freeform: Shape 39">
                <a:extLst>
                  <a:ext uri="{FF2B5EF4-FFF2-40B4-BE49-F238E27FC236}">
                    <a16:creationId xmlns:a16="http://schemas.microsoft.com/office/drawing/2014/main" id="{CE33ED2D-D995-400A-92F2-3AA55C117595}"/>
                  </a:ext>
                </a:extLst>
              </p:cNvPr>
              <p:cNvSpPr>
                <a:spLocks noChangeAspect="1"/>
              </p:cNvSpPr>
              <p:nvPr/>
            </p:nvSpPr>
            <p:spPr>
              <a:xfrm>
                <a:off x="1132776" y="1123650"/>
                <a:ext cx="175990" cy="182743"/>
              </a:xfrm>
              <a:custGeom>
                <a:avLst/>
                <a:gdLst/>
                <a:ahLst/>
                <a:cxnLst/>
                <a:rect l="0" t="0" r="0" b="0"/>
                <a:pathLst>
                  <a:path w="176263" h="183026">
                    <a:moveTo>
                      <a:pt x="66335" y="183025"/>
                    </a:moveTo>
                    <a:lnTo>
                      <a:pt x="65208" y="183025"/>
                    </a:lnTo>
                    <a:lnTo>
                      <a:pt x="64121" y="182624"/>
                    </a:lnTo>
                    <a:lnTo>
                      <a:pt x="63276" y="181858"/>
                    </a:lnTo>
                    <a:lnTo>
                      <a:pt x="2093" y="127518"/>
                    </a:lnTo>
                    <a:lnTo>
                      <a:pt x="201" y="125827"/>
                    </a:lnTo>
                    <a:lnTo>
                      <a:pt x="0" y="122889"/>
                    </a:lnTo>
                    <a:lnTo>
                      <a:pt x="1691" y="120997"/>
                    </a:lnTo>
                    <a:lnTo>
                      <a:pt x="3381" y="119065"/>
                    </a:lnTo>
                    <a:lnTo>
                      <a:pt x="6319" y="118904"/>
                    </a:lnTo>
                    <a:lnTo>
                      <a:pt x="8211" y="120596"/>
                    </a:lnTo>
                    <a:lnTo>
                      <a:pt x="65248" y="171230"/>
                    </a:lnTo>
                    <a:lnTo>
                      <a:pt x="167004" y="2898"/>
                    </a:lnTo>
                    <a:lnTo>
                      <a:pt x="168332" y="725"/>
                    </a:lnTo>
                    <a:lnTo>
                      <a:pt x="171190" y="0"/>
                    </a:lnTo>
                    <a:lnTo>
                      <a:pt x="173364" y="1329"/>
                    </a:lnTo>
                    <a:lnTo>
                      <a:pt x="175537" y="2657"/>
                    </a:lnTo>
                    <a:lnTo>
                      <a:pt x="176262" y="5514"/>
                    </a:lnTo>
                    <a:lnTo>
                      <a:pt x="174933" y="7687"/>
                    </a:lnTo>
                    <a:lnTo>
                      <a:pt x="70279" y="180811"/>
                    </a:lnTo>
                    <a:lnTo>
                      <a:pt x="69555" y="181978"/>
                    </a:lnTo>
                    <a:lnTo>
                      <a:pt x="68387" y="182784"/>
                    </a:lnTo>
                    <a:lnTo>
                      <a:pt x="67020" y="182986"/>
                    </a:lnTo>
                    <a:lnTo>
                      <a:pt x="66777" y="183025"/>
                    </a:lnTo>
                    <a:lnTo>
                      <a:pt x="66576" y="183025"/>
                    </a:lnTo>
                    <a:close/>
                  </a:path>
                </a:pathLst>
              </a:custGeom>
              <a:solidFill>
                <a:schemeClr val="accent1"/>
              </a:solidFill>
              <a:ln w="6350" cap="sq">
                <a:solidFill>
                  <a:srgbClr val="00B05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grpSp>
      </p:grpSp>
      <p:grpSp>
        <p:nvGrpSpPr>
          <p:cNvPr id="13" name="Group 12">
            <a:extLst>
              <a:ext uri="{FF2B5EF4-FFF2-40B4-BE49-F238E27FC236}">
                <a16:creationId xmlns:a16="http://schemas.microsoft.com/office/drawing/2014/main" id="{50AD112B-BD76-4C49-9521-22A06FA2FFAC}"/>
              </a:ext>
            </a:extLst>
          </p:cNvPr>
          <p:cNvGrpSpPr/>
          <p:nvPr/>
        </p:nvGrpSpPr>
        <p:grpSpPr>
          <a:xfrm>
            <a:off x="533770" y="5867125"/>
            <a:ext cx="6255941" cy="365760"/>
            <a:chOff x="533770" y="6104574"/>
            <a:chExt cx="6255941" cy="365760"/>
          </a:xfrm>
        </p:grpSpPr>
        <p:sp>
          <p:nvSpPr>
            <p:cNvPr id="53" name="TextBox 52">
              <a:extLst>
                <a:ext uri="{FF2B5EF4-FFF2-40B4-BE49-F238E27FC236}">
                  <a16:creationId xmlns:a16="http://schemas.microsoft.com/office/drawing/2014/main" id="{0BE3D6DF-B090-43AF-BE2A-DC2F36973883}"/>
                </a:ext>
              </a:extLst>
            </p:cNvPr>
            <p:cNvSpPr txBox="1"/>
            <p:nvPr/>
          </p:nvSpPr>
          <p:spPr>
            <a:xfrm>
              <a:off x="1010358" y="6133566"/>
              <a:ext cx="5779353"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nl-NL" sz="2000"/>
                <a:t>Deel deze presentatie</a:t>
              </a:r>
              <a:endParaRPr lang="en-US" sz="2000"/>
            </a:p>
          </p:txBody>
        </p:sp>
        <p:grpSp>
          <p:nvGrpSpPr>
            <p:cNvPr id="54" name="CheckmarkWhite 36">
              <a:extLst>
                <a:ext uri="{FF2B5EF4-FFF2-40B4-BE49-F238E27FC236}">
                  <a16:creationId xmlns:a16="http://schemas.microsoft.com/office/drawing/2014/main" id="{5DD7399F-55F3-4A8D-896E-1ABF02C2A519}"/>
                </a:ext>
              </a:extLst>
            </p:cNvPr>
            <p:cNvGrpSpPr>
              <a:grpSpLocks noChangeAspect="1"/>
            </p:cNvGrpSpPr>
            <p:nvPr>
              <p:custDataLst>
                <p:tags r:id="rId9"/>
              </p:custDataLst>
            </p:nvPr>
          </p:nvGrpSpPr>
          <p:grpSpPr>
            <a:xfrm>
              <a:off x="533770" y="6104574"/>
              <a:ext cx="365760" cy="365760"/>
              <a:chOff x="1016000" y="1016000"/>
              <a:chExt cx="396228" cy="396228"/>
            </a:xfrm>
          </p:grpSpPr>
          <p:sp>
            <p:nvSpPr>
              <p:cNvPr id="55" name="Oval 54">
                <a:extLst>
                  <a:ext uri="{FF2B5EF4-FFF2-40B4-BE49-F238E27FC236}">
                    <a16:creationId xmlns:a16="http://schemas.microsoft.com/office/drawing/2014/main" id="{1D907DB4-CA56-410B-BAE3-829DBCADBF8A}"/>
                  </a:ext>
                </a:extLst>
              </p:cNvPr>
              <p:cNvSpPr/>
              <p:nvPr/>
            </p:nvSpPr>
            <p:spPr>
              <a:xfrm>
                <a:off x="1016000" y="1016000"/>
                <a:ext cx="396228" cy="396228"/>
              </a:xfrm>
              <a:prstGeom prst="ellipse">
                <a:avLst/>
              </a:prstGeom>
              <a:solidFill>
                <a:schemeClr val="bg1"/>
              </a:solidFill>
              <a:ln w="6350" cap="sq">
                <a:solidFill>
                  <a:srgbClr val="00B05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6" name="Freeform: Shape 55">
                <a:extLst>
                  <a:ext uri="{FF2B5EF4-FFF2-40B4-BE49-F238E27FC236}">
                    <a16:creationId xmlns:a16="http://schemas.microsoft.com/office/drawing/2014/main" id="{1169B085-E871-4430-9A67-DB03DBDAEAD9}"/>
                  </a:ext>
                </a:extLst>
              </p:cNvPr>
              <p:cNvSpPr>
                <a:spLocks noChangeAspect="1"/>
              </p:cNvSpPr>
              <p:nvPr/>
            </p:nvSpPr>
            <p:spPr>
              <a:xfrm>
                <a:off x="1132776" y="1123650"/>
                <a:ext cx="175990" cy="182743"/>
              </a:xfrm>
              <a:custGeom>
                <a:avLst/>
                <a:gdLst/>
                <a:ahLst/>
                <a:cxnLst/>
                <a:rect l="0" t="0" r="0" b="0"/>
                <a:pathLst>
                  <a:path w="176263" h="183026">
                    <a:moveTo>
                      <a:pt x="66335" y="183025"/>
                    </a:moveTo>
                    <a:lnTo>
                      <a:pt x="65208" y="183025"/>
                    </a:lnTo>
                    <a:lnTo>
                      <a:pt x="64121" y="182624"/>
                    </a:lnTo>
                    <a:lnTo>
                      <a:pt x="63276" y="181858"/>
                    </a:lnTo>
                    <a:lnTo>
                      <a:pt x="2093" y="127518"/>
                    </a:lnTo>
                    <a:lnTo>
                      <a:pt x="201" y="125827"/>
                    </a:lnTo>
                    <a:lnTo>
                      <a:pt x="0" y="122889"/>
                    </a:lnTo>
                    <a:lnTo>
                      <a:pt x="1691" y="120997"/>
                    </a:lnTo>
                    <a:lnTo>
                      <a:pt x="3381" y="119065"/>
                    </a:lnTo>
                    <a:lnTo>
                      <a:pt x="6319" y="118904"/>
                    </a:lnTo>
                    <a:lnTo>
                      <a:pt x="8211" y="120596"/>
                    </a:lnTo>
                    <a:lnTo>
                      <a:pt x="65248" y="171230"/>
                    </a:lnTo>
                    <a:lnTo>
                      <a:pt x="167004" y="2898"/>
                    </a:lnTo>
                    <a:lnTo>
                      <a:pt x="168332" y="725"/>
                    </a:lnTo>
                    <a:lnTo>
                      <a:pt x="171190" y="0"/>
                    </a:lnTo>
                    <a:lnTo>
                      <a:pt x="173364" y="1329"/>
                    </a:lnTo>
                    <a:lnTo>
                      <a:pt x="175537" y="2657"/>
                    </a:lnTo>
                    <a:lnTo>
                      <a:pt x="176262" y="5514"/>
                    </a:lnTo>
                    <a:lnTo>
                      <a:pt x="174933" y="7687"/>
                    </a:lnTo>
                    <a:lnTo>
                      <a:pt x="70279" y="180811"/>
                    </a:lnTo>
                    <a:lnTo>
                      <a:pt x="69555" y="181978"/>
                    </a:lnTo>
                    <a:lnTo>
                      <a:pt x="68387" y="182784"/>
                    </a:lnTo>
                    <a:lnTo>
                      <a:pt x="67020" y="182986"/>
                    </a:lnTo>
                    <a:lnTo>
                      <a:pt x="66777" y="183025"/>
                    </a:lnTo>
                    <a:lnTo>
                      <a:pt x="66576" y="183025"/>
                    </a:lnTo>
                    <a:close/>
                  </a:path>
                </a:pathLst>
              </a:custGeom>
              <a:solidFill>
                <a:schemeClr val="accent1"/>
              </a:solidFill>
              <a:ln w="6350" cap="sq">
                <a:solidFill>
                  <a:srgbClr val="00B05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grpSp>
      </p:grpSp>
      <p:grpSp>
        <p:nvGrpSpPr>
          <p:cNvPr id="14" name="Group 13">
            <a:extLst>
              <a:ext uri="{FF2B5EF4-FFF2-40B4-BE49-F238E27FC236}">
                <a16:creationId xmlns:a16="http://schemas.microsoft.com/office/drawing/2014/main" id="{14880813-790B-4959-8227-022C304C853F}"/>
              </a:ext>
            </a:extLst>
          </p:cNvPr>
          <p:cNvGrpSpPr/>
          <p:nvPr/>
        </p:nvGrpSpPr>
        <p:grpSpPr>
          <a:xfrm>
            <a:off x="533770" y="4959083"/>
            <a:ext cx="6255941" cy="365760"/>
            <a:chOff x="533770" y="5045423"/>
            <a:chExt cx="6255941" cy="365760"/>
          </a:xfrm>
        </p:grpSpPr>
        <p:grpSp>
          <p:nvGrpSpPr>
            <p:cNvPr id="12" name="Group 11">
              <a:extLst>
                <a:ext uri="{FF2B5EF4-FFF2-40B4-BE49-F238E27FC236}">
                  <a16:creationId xmlns:a16="http://schemas.microsoft.com/office/drawing/2014/main" id="{E7A89036-0ED8-4E67-9ED9-359B05C2849A}"/>
                </a:ext>
              </a:extLst>
            </p:cNvPr>
            <p:cNvGrpSpPr/>
            <p:nvPr/>
          </p:nvGrpSpPr>
          <p:grpSpPr>
            <a:xfrm>
              <a:off x="533770" y="5045423"/>
              <a:ext cx="6255941" cy="365760"/>
              <a:chOff x="533770" y="5045423"/>
              <a:chExt cx="6255941" cy="365760"/>
            </a:xfrm>
          </p:grpSpPr>
          <p:sp>
            <p:nvSpPr>
              <p:cNvPr id="48" name="TextBox 47">
                <a:extLst>
                  <a:ext uri="{FF2B5EF4-FFF2-40B4-BE49-F238E27FC236}">
                    <a16:creationId xmlns:a16="http://schemas.microsoft.com/office/drawing/2014/main" id="{487D3BBD-7BD3-48A5-83BD-917F30F52F54}"/>
                  </a:ext>
                </a:extLst>
              </p:cNvPr>
              <p:cNvSpPr txBox="1"/>
              <p:nvPr/>
            </p:nvSpPr>
            <p:spPr>
              <a:xfrm>
                <a:off x="1010358" y="5074415"/>
                <a:ext cx="5779353"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nl-NL" sz="2000"/>
                  <a:t>Wacht op veranderingen vanuit Den Haag</a:t>
                </a:r>
                <a:endParaRPr lang="en-US" sz="2000"/>
              </a:p>
            </p:txBody>
          </p:sp>
          <p:sp>
            <p:nvSpPr>
              <p:cNvPr id="50" name="Oval 49">
                <a:extLst>
                  <a:ext uri="{FF2B5EF4-FFF2-40B4-BE49-F238E27FC236}">
                    <a16:creationId xmlns:a16="http://schemas.microsoft.com/office/drawing/2014/main" id="{EBA77CDE-0C6C-44C3-9A68-8649869E3A6F}"/>
                  </a:ext>
                </a:extLst>
              </p:cNvPr>
              <p:cNvSpPr/>
              <p:nvPr/>
            </p:nvSpPr>
            <p:spPr>
              <a:xfrm>
                <a:off x="533770" y="5045423"/>
                <a:ext cx="365760" cy="365760"/>
              </a:xfrm>
              <a:prstGeom prst="ellipse">
                <a:avLst/>
              </a:prstGeom>
              <a:solidFill>
                <a:schemeClr val="bg1"/>
              </a:solidFill>
              <a:ln w="6350" cap="sq">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grpSp>
        <p:cxnSp>
          <p:nvCxnSpPr>
            <p:cNvPr id="11" name="Straight Connector 10">
              <a:extLst>
                <a:ext uri="{FF2B5EF4-FFF2-40B4-BE49-F238E27FC236}">
                  <a16:creationId xmlns:a16="http://schemas.microsoft.com/office/drawing/2014/main" id="{EAFBA672-794F-4C1A-88F6-80BB24D1EE89}"/>
                </a:ext>
              </a:extLst>
            </p:cNvPr>
            <p:cNvCxnSpPr>
              <a:cxnSpLocks/>
              <a:stCxn id="50" idx="1"/>
              <a:endCxn id="50" idx="5"/>
            </p:cNvCxnSpPr>
            <p:nvPr/>
          </p:nvCxnSpPr>
          <p:spPr>
            <a:xfrm>
              <a:off x="587334" y="5098987"/>
              <a:ext cx="258632" cy="258632"/>
            </a:xfrm>
            <a:prstGeom prst="line">
              <a:avLst/>
            </a:prstGeom>
            <a:solidFill>
              <a:schemeClr val="bg1"/>
            </a:solidFill>
            <a:ln w="6350" cap="sq">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cxnSp>
      </p:grpSp>
      <p:cxnSp>
        <p:nvCxnSpPr>
          <p:cNvPr id="37" name="Straight Connector 36">
            <a:extLst>
              <a:ext uri="{FF2B5EF4-FFF2-40B4-BE49-F238E27FC236}">
                <a16:creationId xmlns:a16="http://schemas.microsoft.com/office/drawing/2014/main" id="{36AED5C6-E62C-4C9B-8733-8D7F900ADA92}"/>
              </a:ext>
            </a:extLst>
          </p:cNvPr>
          <p:cNvCxnSpPr>
            <a:cxnSpLocks/>
          </p:cNvCxnSpPr>
          <p:nvPr/>
        </p:nvCxnSpPr>
        <p:spPr>
          <a:xfrm flipH="1">
            <a:off x="554736" y="4870824"/>
            <a:ext cx="1108252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132EA503-6611-4A99-9F3A-B9FA4EA4F896}"/>
              </a:ext>
            </a:extLst>
          </p:cNvPr>
          <p:cNvSpPr txBox="1">
            <a:spLocks/>
          </p:cNvSpPr>
          <p:nvPr/>
        </p:nvSpPr>
        <p:spPr>
          <a:xfrm>
            <a:off x="5599947" y="1351764"/>
            <a:ext cx="6034841" cy="61555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nl-NL" sz="2000"/>
              <a:t>Stel jezelf de vraag hoe goed het onderwijs op de school van je kinderen écht is</a:t>
            </a:r>
            <a:endParaRPr lang="en-US" sz="2000"/>
          </a:p>
        </p:txBody>
      </p:sp>
      <p:grpSp>
        <p:nvGrpSpPr>
          <p:cNvPr id="46" name="CheckmarkWhite 36">
            <a:extLst>
              <a:ext uri="{FF2B5EF4-FFF2-40B4-BE49-F238E27FC236}">
                <a16:creationId xmlns:a16="http://schemas.microsoft.com/office/drawing/2014/main" id="{5EF3DA5C-BAFB-44E1-A411-E3A00B14D570}"/>
              </a:ext>
            </a:extLst>
          </p:cNvPr>
          <p:cNvGrpSpPr>
            <a:grpSpLocks noChangeAspect="1"/>
          </p:cNvGrpSpPr>
          <p:nvPr>
            <p:custDataLst>
              <p:tags r:id="rId5"/>
            </p:custDataLst>
          </p:nvPr>
        </p:nvGrpSpPr>
        <p:grpSpPr>
          <a:xfrm>
            <a:off x="5123359" y="1351764"/>
            <a:ext cx="365760" cy="365760"/>
            <a:chOff x="1016000" y="1016000"/>
            <a:chExt cx="396228" cy="396228"/>
          </a:xfrm>
        </p:grpSpPr>
        <p:sp>
          <p:nvSpPr>
            <p:cNvPr id="47" name="Oval 46">
              <a:extLst>
                <a:ext uri="{FF2B5EF4-FFF2-40B4-BE49-F238E27FC236}">
                  <a16:creationId xmlns:a16="http://schemas.microsoft.com/office/drawing/2014/main" id="{86CBE4EB-C5C7-44F6-96DD-F54E0AC20B77}"/>
                </a:ext>
              </a:extLst>
            </p:cNvPr>
            <p:cNvSpPr/>
            <p:nvPr/>
          </p:nvSpPr>
          <p:spPr>
            <a:xfrm>
              <a:off x="1016000" y="1016000"/>
              <a:ext cx="396228" cy="396228"/>
            </a:xfrm>
            <a:prstGeom prst="ellipse">
              <a:avLst/>
            </a:prstGeom>
            <a:solidFill>
              <a:schemeClr val="bg1"/>
            </a:solidFill>
            <a:ln w="6350" cap="sq">
              <a:solidFill>
                <a:srgbClr val="00B05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9" name="Freeform: Shape 48">
              <a:extLst>
                <a:ext uri="{FF2B5EF4-FFF2-40B4-BE49-F238E27FC236}">
                  <a16:creationId xmlns:a16="http://schemas.microsoft.com/office/drawing/2014/main" id="{9AC1051E-212E-4D9E-A983-0014C47AE00C}"/>
                </a:ext>
              </a:extLst>
            </p:cNvPr>
            <p:cNvSpPr>
              <a:spLocks noChangeAspect="1"/>
            </p:cNvSpPr>
            <p:nvPr/>
          </p:nvSpPr>
          <p:spPr>
            <a:xfrm>
              <a:off x="1132776" y="1123650"/>
              <a:ext cx="175990" cy="182743"/>
            </a:xfrm>
            <a:custGeom>
              <a:avLst/>
              <a:gdLst/>
              <a:ahLst/>
              <a:cxnLst/>
              <a:rect l="0" t="0" r="0" b="0"/>
              <a:pathLst>
                <a:path w="176263" h="183026">
                  <a:moveTo>
                    <a:pt x="66335" y="183025"/>
                  </a:moveTo>
                  <a:lnTo>
                    <a:pt x="65208" y="183025"/>
                  </a:lnTo>
                  <a:lnTo>
                    <a:pt x="64121" y="182624"/>
                  </a:lnTo>
                  <a:lnTo>
                    <a:pt x="63276" y="181858"/>
                  </a:lnTo>
                  <a:lnTo>
                    <a:pt x="2093" y="127518"/>
                  </a:lnTo>
                  <a:lnTo>
                    <a:pt x="201" y="125827"/>
                  </a:lnTo>
                  <a:lnTo>
                    <a:pt x="0" y="122889"/>
                  </a:lnTo>
                  <a:lnTo>
                    <a:pt x="1691" y="120997"/>
                  </a:lnTo>
                  <a:lnTo>
                    <a:pt x="3381" y="119065"/>
                  </a:lnTo>
                  <a:lnTo>
                    <a:pt x="6319" y="118904"/>
                  </a:lnTo>
                  <a:lnTo>
                    <a:pt x="8211" y="120596"/>
                  </a:lnTo>
                  <a:lnTo>
                    <a:pt x="65248" y="171230"/>
                  </a:lnTo>
                  <a:lnTo>
                    <a:pt x="167004" y="2898"/>
                  </a:lnTo>
                  <a:lnTo>
                    <a:pt x="168332" y="725"/>
                  </a:lnTo>
                  <a:lnTo>
                    <a:pt x="171190" y="0"/>
                  </a:lnTo>
                  <a:lnTo>
                    <a:pt x="173364" y="1329"/>
                  </a:lnTo>
                  <a:lnTo>
                    <a:pt x="175537" y="2657"/>
                  </a:lnTo>
                  <a:lnTo>
                    <a:pt x="176262" y="5514"/>
                  </a:lnTo>
                  <a:lnTo>
                    <a:pt x="174933" y="7687"/>
                  </a:lnTo>
                  <a:lnTo>
                    <a:pt x="70279" y="180811"/>
                  </a:lnTo>
                  <a:lnTo>
                    <a:pt x="69555" y="181978"/>
                  </a:lnTo>
                  <a:lnTo>
                    <a:pt x="68387" y="182784"/>
                  </a:lnTo>
                  <a:lnTo>
                    <a:pt x="67020" y="182986"/>
                  </a:lnTo>
                  <a:lnTo>
                    <a:pt x="66777" y="183025"/>
                  </a:lnTo>
                  <a:lnTo>
                    <a:pt x="66576" y="183025"/>
                  </a:lnTo>
                  <a:close/>
                </a:path>
              </a:pathLst>
            </a:custGeom>
            <a:solidFill>
              <a:schemeClr val="accent1"/>
            </a:solidFill>
            <a:ln w="6350" cap="sq">
              <a:solidFill>
                <a:srgbClr val="00B05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grpSp>
      <p:grpSp>
        <p:nvGrpSpPr>
          <p:cNvPr id="8" name="Group 7">
            <a:extLst>
              <a:ext uri="{FF2B5EF4-FFF2-40B4-BE49-F238E27FC236}">
                <a16:creationId xmlns:a16="http://schemas.microsoft.com/office/drawing/2014/main" id="{14B5006C-D687-4F92-BC4A-5429B5E2BBE9}"/>
              </a:ext>
            </a:extLst>
          </p:cNvPr>
          <p:cNvGrpSpPr/>
          <p:nvPr/>
        </p:nvGrpSpPr>
        <p:grpSpPr>
          <a:xfrm>
            <a:off x="5123359" y="2055576"/>
            <a:ext cx="6511429" cy="615553"/>
            <a:chOff x="5123359" y="2103900"/>
            <a:chExt cx="6511429" cy="615553"/>
          </a:xfrm>
        </p:grpSpPr>
        <p:grpSp>
          <p:nvGrpSpPr>
            <p:cNvPr id="101" name="Group 100">
              <a:extLst>
                <a:ext uri="{FF2B5EF4-FFF2-40B4-BE49-F238E27FC236}">
                  <a16:creationId xmlns:a16="http://schemas.microsoft.com/office/drawing/2014/main" id="{3D512AA0-C3AF-4077-9B9F-DC13E7B310C9}"/>
                </a:ext>
              </a:extLst>
            </p:cNvPr>
            <p:cNvGrpSpPr/>
            <p:nvPr/>
          </p:nvGrpSpPr>
          <p:grpSpPr>
            <a:xfrm>
              <a:off x="5123359" y="2103900"/>
              <a:ext cx="365760" cy="365760"/>
              <a:chOff x="6432643" y="2188785"/>
              <a:chExt cx="365760" cy="365760"/>
            </a:xfrm>
          </p:grpSpPr>
          <p:sp>
            <p:nvSpPr>
              <p:cNvPr id="102" name="Oval 101">
                <a:extLst>
                  <a:ext uri="{FF2B5EF4-FFF2-40B4-BE49-F238E27FC236}">
                    <a16:creationId xmlns:a16="http://schemas.microsoft.com/office/drawing/2014/main" id="{3D0859C1-14FD-4B7F-816A-5540950076F7}"/>
                  </a:ext>
                </a:extLst>
              </p:cNvPr>
              <p:cNvSpPr/>
              <p:nvPr/>
            </p:nvSpPr>
            <p:spPr>
              <a:xfrm>
                <a:off x="6432643" y="2188785"/>
                <a:ext cx="365760" cy="365760"/>
              </a:xfrm>
              <a:prstGeom prst="ellipse">
                <a:avLst/>
              </a:prstGeom>
              <a:solidFill>
                <a:schemeClr val="bg1"/>
              </a:solidFill>
              <a:ln w="6350" cap="sq">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cxnSp>
            <p:nvCxnSpPr>
              <p:cNvPr id="103" name="Straight Connector 102">
                <a:extLst>
                  <a:ext uri="{FF2B5EF4-FFF2-40B4-BE49-F238E27FC236}">
                    <a16:creationId xmlns:a16="http://schemas.microsoft.com/office/drawing/2014/main" id="{B8C96100-6995-416F-9CEF-2D177355A134}"/>
                  </a:ext>
                </a:extLst>
              </p:cNvPr>
              <p:cNvCxnSpPr>
                <a:stCxn id="102" idx="1"/>
                <a:endCxn id="102" idx="5"/>
              </p:cNvCxnSpPr>
              <p:nvPr/>
            </p:nvCxnSpPr>
            <p:spPr>
              <a:xfrm>
                <a:off x="6486207" y="2242349"/>
                <a:ext cx="258632" cy="258632"/>
              </a:xfrm>
              <a:prstGeom prst="line">
                <a:avLst/>
              </a:prstGeom>
              <a:solidFill>
                <a:schemeClr val="bg1"/>
              </a:solidFill>
              <a:ln w="6350" cap="sq">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cxnSp>
        </p:grpSp>
        <p:sp>
          <p:nvSpPr>
            <p:cNvPr id="52" name="TextBox 51">
              <a:extLst>
                <a:ext uri="{FF2B5EF4-FFF2-40B4-BE49-F238E27FC236}">
                  <a16:creationId xmlns:a16="http://schemas.microsoft.com/office/drawing/2014/main" id="{6A782C74-03FC-4495-8CCC-9C7EF9265570}"/>
                </a:ext>
              </a:extLst>
            </p:cNvPr>
            <p:cNvSpPr txBox="1">
              <a:spLocks/>
            </p:cNvSpPr>
            <p:nvPr/>
          </p:nvSpPr>
          <p:spPr>
            <a:xfrm>
              <a:off x="5599947" y="2103900"/>
              <a:ext cx="6034841" cy="61555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nl-NL" sz="2000"/>
                <a:t>Geloof dat een mooi nieuw gebouw, computers of ipads een teken zijn van goed onderwijs</a:t>
              </a:r>
              <a:endParaRPr lang="en-US" sz="2000"/>
            </a:p>
          </p:txBody>
        </p:sp>
      </p:grpSp>
      <p:grpSp>
        <p:nvGrpSpPr>
          <p:cNvPr id="7" name="Group 6">
            <a:extLst>
              <a:ext uri="{FF2B5EF4-FFF2-40B4-BE49-F238E27FC236}">
                <a16:creationId xmlns:a16="http://schemas.microsoft.com/office/drawing/2014/main" id="{45DEC4B8-D4DD-4F60-833F-7C6B2F2FDC60}"/>
              </a:ext>
            </a:extLst>
          </p:cNvPr>
          <p:cNvGrpSpPr/>
          <p:nvPr/>
        </p:nvGrpSpPr>
        <p:grpSpPr>
          <a:xfrm>
            <a:off x="5123359" y="2759388"/>
            <a:ext cx="6511429" cy="615553"/>
            <a:chOff x="5123359" y="2807302"/>
            <a:chExt cx="6511429" cy="615553"/>
          </a:xfrm>
        </p:grpSpPr>
        <p:sp>
          <p:nvSpPr>
            <p:cNvPr id="61" name="TextBox 60">
              <a:extLst>
                <a:ext uri="{FF2B5EF4-FFF2-40B4-BE49-F238E27FC236}">
                  <a16:creationId xmlns:a16="http://schemas.microsoft.com/office/drawing/2014/main" id="{9B052EC3-EA57-48DE-8D58-54196889A0C6}"/>
                </a:ext>
              </a:extLst>
            </p:cNvPr>
            <p:cNvSpPr txBox="1">
              <a:spLocks/>
            </p:cNvSpPr>
            <p:nvPr/>
          </p:nvSpPr>
          <p:spPr>
            <a:xfrm>
              <a:off x="5599947" y="2807302"/>
              <a:ext cx="6034841" cy="61555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nl-NL" sz="2000"/>
                <a:t>Vraag leraren wat zij doen om beter te worden, behalve ‘op cursus gaan’</a:t>
              </a:r>
              <a:endParaRPr lang="en-US" sz="2000"/>
            </a:p>
          </p:txBody>
        </p:sp>
        <p:grpSp>
          <p:nvGrpSpPr>
            <p:cNvPr id="62" name="CheckmarkWhite 36">
              <a:extLst>
                <a:ext uri="{FF2B5EF4-FFF2-40B4-BE49-F238E27FC236}">
                  <a16:creationId xmlns:a16="http://schemas.microsoft.com/office/drawing/2014/main" id="{E794D292-7217-4132-8E02-711F05CFB3E1}"/>
                </a:ext>
              </a:extLst>
            </p:cNvPr>
            <p:cNvGrpSpPr>
              <a:grpSpLocks noChangeAspect="1"/>
            </p:cNvGrpSpPr>
            <p:nvPr>
              <p:custDataLst>
                <p:tags r:id="rId8"/>
              </p:custDataLst>
            </p:nvPr>
          </p:nvGrpSpPr>
          <p:grpSpPr>
            <a:xfrm>
              <a:off x="5123359" y="2807302"/>
              <a:ext cx="365760" cy="365760"/>
              <a:chOff x="1016000" y="1016000"/>
              <a:chExt cx="396228" cy="396228"/>
            </a:xfrm>
          </p:grpSpPr>
          <p:sp>
            <p:nvSpPr>
              <p:cNvPr id="63" name="Oval 62">
                <a:extLst>
                  <a:ext uri="{FF2B5EF4-FFF2-40B4-BE49-F238E27FC236}">
                    <a16:creationId xmlns:a16="http://schemas.microsoft.com/office/drawing/2014/main" id="{230A4931-702A-4E54-8978-7DE7A94165AB}"/>
                  </a:ext>
                </a:extLst>
              </p:cNvPr>
              <p:cNvSpPr/>
              <p:nvPr/>
            </p:nvSpPr>
            <p:spPr>
              <a:xfrm>
                <a:off x="1016000" y="1016000"/>
                <a:ext cx="396228" cy="396228"/>
              </a:xfrm>
              <a:prstGeom prst="ellipse">
                <a:avLst/>
              </a:prstGeom>
              <a:solidFill>
                <a:schemeClr val="bg1"/>
              </a:solidFill>
              <a:ln w="6350" cap="sq">
                <a:solidFill>
                  <a:srgbClr val="00B05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4" name="Freeform: Shape 63">
                <a:extLst>
                  <a:ext uri="{FF2B5EF4-FFF2-40B4-BE49-F238E27FC236}">
                    <a16:creationId xmlns:a16="http://schemas.microsoft.com/office/drawing/2014/main" id="{A7459F09-13AA-4A5D-AAE2-7E52AEB90875}"/>
                  </a:ext>
                </a:extLst>
              </p:cNvPr>
              <p:cNvSpPr>
                <a:spLocks noChangeAspect="1"/>
              </p:cNvSpPr>
              <p:nvPr/>
            </p:nvSpPr>
            <p:spPr>
              <a:xfrm>
                <a:off x="1132776" y="1123650"/>
                <a:ext cx="175990" cy="182743"/>
              </a:xfrm>
              <a:custGeom>
                <a:avLst/>
                <a:gdLst/>
                <a:ahLst/>
                <a:cxnLst/>
                <a:rect l="0" t="0" r="0" b="0"/>
                <a:pathLst>
                  <a:path w="176263" h="183026">
                    <a:moveTo>
                      <a:pt x="66335" y="183025"/>
                    </a:moveTo>
                    <a:lnTo>
                      <a:pt x="65208" y="183025"/>
                    </a:lnTo>
                    <a:lnTo>
                      <a:pt x="64121" y="182624"/>
                    </a:lnTo>
                    <a:lnTo>
                      <a:pt x="63276" y="181858"/>
                    </a:lnTo>
                    <a:lnTo>
                      <a:pt x="2093" y="127518"/>
                    </a:lnTo>
                    <a:lnTo>
                      <a:pt x="201" y="125827"/>
                    </a:lnTo>
                    <a:lnTo>
                      <a:pt x="0" y="122889"/>
                    </a:lnTo>
                    <a:lnTo>
                      <a:pt x="1691" y="120997"/>
                    </a:lnTo>
                    <a:lnTo>
                      <a:pt x="3381" y="119065"/>
                    </a:lnTo>
                    <a:lnTo>
                      <a:pt x="6319" y="118904"/>
                    </a:lnTo>
                    <a:lnTo>
                      <a:pt x="8211" y="120596"/>
                    </a:lnTo>
                    <a:lnTo>
                      <a:pt x="65248" y="171230"/>
                    </a:lnTo>
                    <a:lnTo>
                      <a:pt x="167004" y="2898"/>
                    </a:lnTo>
                    <a:lnTo>
                      <a:pt x="168332" y="725"/>
                    </a:lnTo>
                    <a:lnTo>
                      <a:pt x="171190" y="0"/>
                    </a:lnTo>
                    <a:lnTo>
                      <a:pt x="173364" y="1329"/>
                    </a:lnTo>
                    <a:lnTo>
                      <a:pt x="175537" y="2657"/>
                    </a:lnTo>
                    <a:lnTo>
                      <a:pt x="176262" y="5514"/>
                    </a:lnTo>
                    <a:lnTo>
                      <a:pt x="174933" y="7687"/>
                    </a:lnTo>
                    <a:lnTo>
                      <a:pt x="70279" y="180811"/>
                    </a:lnTo>
                    <a:lnTo>
                      <a:pt x="69555" y="181978"/>
                    </a:lnTo>
                    <a:lnTo>
                      <a:pt x="68387" y="182784"/>
                    </a:lnTo>
                    <a:lnTo>
                      <a:pt x="67020" y="182986"/>
                    </a:lnTo>
                    <a:lnTo>
                      <a:pt x="66777" y="183025"/>
                    </a:lnTo>
                    <a:lnTo>
                      <a:pt x="66576" y="183025"/>
                    </a:lnTo>
                    <a:close/>
                  </a:path>
                </a:pathLst>
              </a:custGeom>
              <a:solidFill>
                <a:schemeClr val="accent1"/>
              </a:solidFill>
              <a:ln w="6350" cap="sq">
                <a:solidFill>
                  <a:srgbClr val="00B05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grpSp>
      </p:grpSp>
      <p:grpSp>
        <p:nvGrpSpPr>
          <p:cNvPr id="4" name="Group 3">
            <a:extLst>
              <a:ext uri="{FF2B5EF4-FFF2-40B4-BE49-F238E27FC236}">
                <a16:creationId xmlns:a16="http://schemas.microsoft.com/office/drawing/2014/main" id="{E12BC928-790D-4AF8-8277-4C8B4DFA28D6}"/>
              </a:ext>
            </a:extLst>
          </p:cNvPr>
          <p:cNvGrpSpPr/>
          <p:nvPr/>
        </p:nvGrpSpPr>
        <p:grpSpPr>
          <a:xfrm>
            <a:off x="5123359" y="4167012"/>
            <a:ext cx="6511429" cy="615553"/>
            <a:chOff x="5123359" y="4235740"/>
            <a:chExt cx="6511429" cy="615553"/>
          </a:xfrm>
        </p:grpSpPr>
        <p:sp>
          <p:nvSpPr>
            <p:cNvPr id="80" name="TextBox 79">
              <a:extLst>
                <a:ext uri="{FF2B5EF4-FFF2-40B4-BE49-F238E27FC236}">
                  <a16:creationId xmlns:a16="http://schemas.microsoft.com/office/drawing/2014/main" id="{63C939B0-9405-4C01-987A-AEEB94A4EE94}"/>
                </a:ext>
              </a:extLst>
            </p:cNvPr>
            <p:cNvSpPr txBox="1">
              <a:spLocks/>
            </p:cNvSpPr>
            <p:nvPr/>
          </p:nvSpPr>
          <p:spPr>
            <a:xfrm>
              <a:off x="5599947" y="4235740"/>
              <a:ext cx="6034841" cy="61555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nl-NL" sz="2000">
                  <a:cs typeface="+mn-cs"/>
                </a:rPr>
                <a:t>Ga met de MR met de schoolleiding in gesprek: wat doet de school om een verbetercultuur te creëren?</a:t>
              </a:r>
              <a:endParaRPr lang="en-US" sz="2000">
                <a:cs typeface="+mn-cs"/>
              </a:endParaRPr>
            </a:p>
          </p:txBody>
        </p:sp>
        <p:grpSp>
          <p:nvGrpSpPr>
            <p:cNvPr id="81" name="CheckmarkWhite 36">
              <a:extLst>
                <a:ext uri="{FF2B5EF4-FFF2-40B4-BE49-F238E27FC236}">
                  <a16:creationId xmlns:a16="http://schemas.microsoft.com/office/drawing/2014/main" id="{9AB2FC09-2CED-48BE-83E3-4AD8599B8FBA}"/>
                </a:ext>
              </a:extLst>
            </p:cNvPr>
            <p:cNvGrpSpPr>
              <a:grpSpLocks noChangeAspect="1"/>
            </p:cNvGrpSpPr>
            <p:nvPr>
              <p:custDataLst>
                <p:tags r:id="rId7"/>
              </p:custDataLst>
            </p:nvPr>
          </p:nvGrpSpPr>
          <p:grpSpPr>
            <a:xfrm>
              <a:off x="5123359" y="4235740"/>
              <a:ext cx="365760" cy="365760"/>
              <a:chOff x="1016000" y="1016000"/>
              <a:chExt cx="396228" cy="396228"/>
            </a:xfrm>
          </p:grpSpPr>
          <p:sp>
            <p:nvSpPr>
              <p:cNvPr id="82" name="Oval 81">
                <a:extLst>
                  <a:ext uri="{FF2B5EF4-FFF2-40B4-BE49-F238E27FC236}">
                    <a16:creationId xmlns:a16="http://schemas.microsoft.com/office/drawing/2014/main" id="{C6C5F79E-EC8A-4C5E-853D-71FA2713293D}"/>
                  </a:ext>
                </a:extLst>
              </p:cNvPr>
              <p:cNvSpPr/>
              <p:nvPr/>
            </p:nvSpPr>
            <p:spPr>
              <a:xfrm>
                <a:off x="1016000" y="1016000"/>
                <a:ext cx="396228" cy="396228"/>
              </a:xfrm>
              <a:prstGeom prst="ellipse">
                <a:avLst/>
              </a:prstGeom>
              <a:solidFill>
                <a:schemeClr val="bg1"/>
              </a:solidFill>
              <a:ln w="6350" cap="sq">
                <a:solidFill>
                  <a:srgbClr val="00B05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83" name="Freeform: Shape 82">
                <a:extLst>
                  <a:ext uri="{FF2B5EF4-FFF2-40B4-BE49-F238E27FC236}">
                    <a16:creationId xmlns:a16="http://schemas.microsoft.com/office/drawing/2014/main" id="{0C40AEE2-A31F-429E-83BA-C82827FE9A52}"/>
                  </a:ext>
                </a:extLst>
              </p:cNvPr>
              <p:cNvSpPr>
                <a:spLocks noChangeAspect="1"/>
              </p:cNvSpPr>
              <p:nvPr/>
            </p:nvSpPr>
            <p:spPr>
              <a:xfrm>
                <a:off x="1132776" y="1123650"/>
                <a:ext cx="175990" cy="182743"/>
              </a:xfrm>
              <a:custGeom>
                <a:avLst/>
                <a:gdLst/>
                <a:ahLst/>
                <a:cxnLst/>
                <a:rect l="0" t="0" r="0" b="0"/>
                <a:pathLst>
                  <a:path w="176263" h="183026">
                    <a:moveTo>
                      <a:pt x="66335" y="183025"/>
                    </a:moveTo>
                    <a:lnTo>
                      <a:pt x="65208" y="183025"/>
                    </a:lnTo>
                    <a:lnTo>
                      <a:pt x="64121" y="182624"/>
                    </a:lnTo>
                    <a:lnTo>
                      <a:pt x="63276" y="181858"/>
                    </a:lnTo>
                    <a:lnTo>
                      <a:pt x="2093" y="127518"/>
                    </a:lnTo>
                    <a:lnTo>
                      <a:pt x="201" y="125827"/>
                    </a:lnTo>
                    <a:lnTo>
                      <a:pt x="0" y="122889"/>
                    </a:lnTo>
                    <a:lnTo>
                      <a:pt x="1691" y="120997"/>
                    </a:lnTo>
                    <a:lnTo>
                      <a:pt x="3381" y="119065"/>
                    </a:lnTo>
                    <a:lnTo>
                      <a:pt x="6319" y="118904"/>
                    </a:lnTo>
                    <a:lnTo>
                      <a:pt x="8211" y="120596"/>
                    </a:lnTo>
                    <a:lnTo>
                      <a:pt x="65248" y="171230"/>
                    </a:lnTo>
                    <a:lnTo>
                      <a:pt x="167004" y="2898"/>
                    </a:lnTo>
                    <a:lnTo>
                      <a:pt x="168332" y="725"/>
                    </a:lnTo>
                    <a:lnTo>
                      <a:pt x="171190" y="0"/>
                    </a:lnTo>
                    <a:lnTo>
                      <a:pt x="173364" y="1329"/>
                    </a:lnTo>
                    <a:lnTo>
                      <a:pt x="175537" y="2657"/>
                    </a:lnTo>
                    <a:lnTo>
                      <a:pt x="176262" y="5514"/>
                    </a:lnTo>
                    <a:lnTo>
                      <a:pt x="174933" y="7687"/>
                    </a:lnTo>
                    <a:lnTo>
                      <a:pt x="70279" y="180811"/>
                    </a:lnTo>
                    <a:lnTo>
                      <a:pt x="69555" y="181978"/>
                    </a:lnTo>
                    <a:lnTo>
                      <a:pt x="68387" y="182784"/>
                    </a:lnTo>
                    <a:lnTo>
                      <a:pt x="67020" y="182986"/>
                    </a:lnTo>
                    <a:lnTo>
                      <a:pt x="66777" y="183025"/>
                    </a:lnTo>
                    <a:lnTo>
                      <a:pt x="66576" y="183025"/>
                    </a:lnTo>
                    <a:close/>
                  </a:path>
                </a:pathLst>
              </a:custGeom>
              <a:solidFill>
                <a:schemeClr val="accent1"/>
              </a:solidFill>
              <a:ln w="6350" cap="sq">
                <a:solidFill>
                  <a:srgbClr val="00B05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grpSp>
      </p:grpSp>
      <p:grpSp>
        <p:nvGrpSpPr>
          <p:cNvPr id="6" name="Group 5">
            <a:extLst>
              <a:ext uri="{FF2B5EF4-FFF2-40B4-BE49-F238E27FC236}">
                <a16:creationId xmlns:a16="http://schemas.microsoft.com/office/drawing/2014/main" id="{EFA3142B-8F23-474A-82CB-3B8623219DA5}"/>
              </a:ext>
            </a:extLst>
          </p:cNvPr>
          <p:cNvGrpSpPr/>
          <p:nvPr/>
        </p:nvGrpSpPr>
        <p:grpSpPr>
          <a:xfrm>
            <a:off x="5123359" y="3463200"/>
            <a:ext cx="6511429" cy="615553"/>
            <a:chOff x="5123359" y="3529746"/>
            <a:chExt cx="6511429" cy="615553"/>
          </a:xfrm>
        </p:grpSpPr>
        <p:sp>
          <p:nvSpPr>
            <p:cNvPr id="85" name="TextBox 84">
              <a:extLst>
                <a:ext uri="{FF2B5EF4-FFF2-40B4-BE49-F238E27FC236}">
                  <a16:creationId xmlns:a16="http://schemas.microsoft.com/office/drawing/2014/main" id="{6E9A866F-6F9E-4964-83DD-17FB6384FD66}"/>
                </a:ext>
              </a:extLst>
            </p:cNvPr>
            <p:cNvSpPr txBox="1">
              <a:spLocks/>
            </p:cNvSpPr>
            <p:nvPr/>
          </p:nvSpPr>
          <p:spPr>
            <a:xfrm>
              <a:off x="5599947" y="3529746"/>
              <a:ext cx="6034841" cy="61555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nl-NL" sz="2000">
                  <a:cs typeface="+mn-cs"/>
                </a:rPr>
                <a:t>Kijk of de schoolleider actief aan de slag is met het onderwijs in de klas</a:t>
              </a:r>
              <a:endParaRPr lang="en-US" sz="2000">
                <a:cs typeface="+mn-cs"/>
              </a:endParaRPr>
            </a:p>
          </p:txBody>
        </p:sp>
        <p:grpSp>
          <p:nvGrpSpPr>
            <p:cNvPr id="86" name="CheckmarkWhite 36">
              <a:extLst>
                <a:ext uri="{FF2B5EF4-FFF2-40B4-BE49-F238E27FC236}">
                  <a16:creationId xmlns:a16="http://schemas.microsoft.com/office/drawing/2014/main" id="{BD7D4789-9078-4C57-B149-D24F78CC7265}"/>
                </a:ext>
              </a:extLst>
            </p:cNvPr>
            <p:cNvGrpSpPr>
              <a:grpSpLocks noChangeAspect="1"/>
            </p:cNvGrpSpPr>
            <p:nvPr>
              <p:custDataLst>
                <p:tags r:id="rId6"/>
              </p:custDataLst>
            </p:nvPr>
          </p:nvGrpSpPr>
          <p:grpSpPr>
            <a:xfrm>
              <a:off x="5123359" y="3529746"/>
              <a:ext cx="365760" cy="365760"/>
              <a:chOff x="1016000" y="1016000"/>
              <a:chExt cx="396228" cy="396228"/>
            </a:xfrm>
          </p:grpSpPr>
          <p:sp>
            <p:nvSpPr>
              <p:cNvPr id="87" name="Oval 86">
                <a:extLst>
                  <a:ext uri="{FF2B5EF4-FFF2-40B4-BE49-F238E27FC236}">
                    <a16:creationId xmlns:a16="http://schemas.microsoft.com/office/drawing/2014/main" id="{41968655-EAED-4806-8B48-D419FE40B5AE}"/>
                  </a:ext>
                </a:extLst>
              </p:cNvPr>
              <p:cNvSpPr/>
              <p:nvPr/>
            </p:nvSpPr>
            <p:spPr>
              <a:xfrm>
                <a:off x="1016000" y="1016000"/>
                <a:ext cx="396228" cy="396228"/>
              </a:xfrm>
              <a:prstGeom prst="ellipse">
                <a:avLst/>
              </a:prstGeom>
              <a:solidFill>
                <a:schemeClr val="bg1"/>
              </a:solidFill>
              <a:ln w="6350" cap="sq">
                <a:solidFill>
                  <a:srgbClr val="00B05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88" name="Freeform: Shape 87">
                <a:extLst>
                  <a:ext uri="{FF2B5EF4-FFF2-40B4-BE49-F238E27FC236}">
                    <a16:creationId xmlns:a16="http://schemas.microsoft.com/office/drawing/2014/main" id="{06B48788-979A-40D5-AB3C-D2B355225768}"/>
                  </a:ext>
                </a:extLst>
              </p:cNvPr>
              <p:cNvSpPr>
                <a:spLocks noChangeAspect="1"/>
              </p:cNvSpPr>
              <p:nvPr/>
            </p:nvSpPr>
            <p:spPr>
              <a:xfrm>
                <a:off x="1132776" y="1123650"/>
                <a:ext cx="175990" cy="182743"/>
              </a:xfrm>
              <a:custGeom>
                <a:avLst/>
                <a:gdLst/>
                <a:ahLst/>
                <a:cxnLst/>
                <a:rect l="0" t="0" r="0" b="0"/>
                <a:pathLst>
                  <a:path w="176263" h="183026">
                    <a:moveTo>
                      <a:pt x="66335" y="183025"/>
                    </a:moveTo>
                    <a:lnTo>
                      <a:pt x="65208" y="183025"/>
                    </a:lnTo>
                    <a:lnTo>
                      <a:pt x="64121" y="182624"/>
                    </a:lnTo>
                    <a:lnTo>
                      <a:pt x="63276" y="181858"/>
                    </a:lnTo>
                    <a:lnTo>
                      <a:pt x="2093" y="127518"/>
                    </a:lnTo>
                    <a:lnTo>
                      <a:pt x="201" y="125827"/>
                    </a:lnTo>
                    <a:lnTo>
                      <a:pt x="0" y="122889"/>
                    </a:lnTo>
                    <a:lnTo>
                      <a:pt x="1691" y="120997"/>
                    </a:lnTo>
                    <a:lnTo>
                      <a:pt x="3381" y="119065"/>
                    </a:lnTo>
                    <a:lnTo>
                      <a:pt x="6319" y="118904"/>
                    </a:lnTo>
                    <a:lnTo>
                      <a:pt x="8211" y="120596"/>
                    </a:lnTo>
                    <a:lnTo>
                      <a:pt x="65248" y="171230"/>
                    </a:lnTo>
                    <a:lnTo>
                      <a:pt x="167004" y="2898"/>
                    </a:lnTo>
                    <a:lnTo>
                      <a:pt x="168332" y="725"/>
                    </a:lnTo>
                    <a:lnTo>
                      <a:pt x="171190" y="0"/>
                    </a:lnTo>
                    <a:lnTo>
                      <a:pt x="173364" y="1329"/>
                    </a:lnTo>
                    <a:lnTo>
                      <a:pt x="175537" y="2657"/>
                    </a:lnTo>
                    <a:lnTo>
                      <a:pt x="176262" y="5514"/>
                    </a:lnTo>
                    <a:lnTo>
                      <a:pt x="174933" y="7687"/>
                    </a:lnTo>
                    <a:lnTo>
                      <a:pt x="70279" y="180811"/>
                    </a:lnTo>
                    <a:lnTo>
                      <a:pt x="69555" y="181978"/>
                    </a:lnTo>
                    <a:lnTo>
                      <a:pt x="68387" y="182784"/>
                    </a:lnTo>
                    <a:lnTo>
                      <a:pt x="67020" y="182986"/>
                    </a:lnTo>
                    <a:lnTo>
                      <a:pt x="66777" y="183025"/>
                    </a:lnTo>
                    <a:lnTo>
                      <a:pt x="66576" y="183025"/>
                    </a:lnTo>
                    <a:close/>
                  </a:path>
                </a:pathLst>
              </a:custGeom>
              <a:solidFill>
                <a:schemeClr val="accent1"/>
              </a:solidFill>
              <a:ln w="6350" cap="sq">
                <a:solidFill>
                  <a:srgbClr val="00B05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grpSp>
      </p:grpSp>
      <p:grpSp>
        <p:nvGrpSpPr>
          <p:cNvPr id="15" name="Group 14">
            <a:extLst>
              <a:ext uri="{FF2B5EF4-FFF2-40B4-BE49-F238E27FC236}">
                <a16:creationId xmlns:a16="http://schemas.microsoft.com/office/drawing/2014/main" id="{0DC5B117-9FFD-4216-8137-39876EC50F10}"/>
              </a:ext>
            </a:extLst>
          </p:cNvPr>
          <p:cNvGrpSpPr>
            <a:grpSpLocks/>
          </p:cNvGrpSpPr>
          <p:nvPr/>
        </p:nvGrpSpPr>
        <p:grpSpPr>
          <a:xfrm>
            <a:off x="7735863" y="4939785"/>
            <a:ext cx="1475657" cy="1475657"/>
            <a:chOff x="7735863" y="4966644"/>
            <a:chExt cx="1633464" cy="1633464"/>
          </a:xfrm>
        </p:grpSpPr>
        <p:pic>
          <p:nvPicPr>
            <p:cNvPr id="66" name="Graphic 65" descr="Confused person">
              <a:extLst>
                <a:ext uri="{FF2B5EF4-FFF2-40B4-BE49-F238E27FC236}">
                  <a16:creationId xmlns:a16="http://schemas.microsoft.com/office/drawing/2014/main" id="{0F03D912-1B05-445E-B8D1-FAEE12AF642C}"/>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7746749" y="5141563"/>
              <a:ext cx="1317851" cy="1317851"/>
            </a:xfrm>
            <a:prstGeom prst="rect">
              <a:avLst/>
            </a:prstGeom>
          </p:spPr>
        </p:pic>
        <p:sp>
          <p:nvSpPr>
            <p:cNvPr id="105" name="Oval 104">
              <a:extLst>
                <a:ext uri="{FF2B5EF4-FFF2-40B4-BE49-F238E27FC236}">
                  <a16:creationId xmlns:a16="http://schemas.microsoft.com/office/drawing/2014/main" id="{5819E2B6-7EDD-43E1-B503-F77BB710F651}"/>
                </a:ext>
              </a:extLst>
            </p:cNvPr>
            <p:cNvSpPr>
              <a:spLocks/>
            </p:cNvSpPr>
            <p:nvPr/>
          </p:nvSpPr>
          <p:spPr>
            <a:xfrm>
              <a:off x="7735863" y="4966644"/>
              <a:ext cx="1633464" cy="1633464"/>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107" name="Graphic 106" descr="Confused person">
              <a:extLst>
                <a:ext uri="{FF2B5EF4-FFF2-40B4-BE49-F238E27FC236}">
                  <a16:creationId xmlns:a16="http://schemas.microsoft.com/office/drawing/2014/main" id="{38DDBA6A-753D-4461-B1D9-2EA8ADA5154D}"/>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7893669" y="5134477"/>
              <a:ext cx="1317851" cy="1317851"/>
            </a:xfrm>
            <a:prstGeom prst="rect">
              <a:avLst/>
            </a:prstGeom>
          </p:spPr>
        </p:pic>
      </p:grpSp>
      <p:sp>
        <p:nvSpPr>
          <p:cNvPr id="51" name="TextBox 50">
            <a:extLst>
              <a:ext uri="{FF2B5EF4-FFF2-40B4-BE49-F238E27FC236}">
                <a16:creationId xmlns:a16="http://schemas.microsoft.com/office/drawing/2014/main" id="{3A67CDA9-3659-48A9-9AC0-0AC6FA414FEF}"/>
              </a:ext>
            </a:extLst>
          </p:cNvPr>
          <p:cNvSpPr txBox="1">
            <a:spLocks/>
          </p:cNvSpPr>
          <p:nvPr/>
        </p:nvSpPr>
        <p:spPr>
          <a:xfrm>
            <a:off x="2354673" y="1399468"/>
            <a:ext cx="1946394"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800" dirty="0">
                <a:cs typeface="+mn-cs"/>
              </a:rPr>
              <a:t>Ouders</a:t>
            </a:r>
          </a:p>
        </p:txBody>
      </p:sp>
      <p:grpSp>
        <p:nvGrpSpPr>
          <p:cNvPr id="17" name="Group 16">
            <a:extLst>
              <a:ext uri="{FF2B5EF4-FFF2-40B4-BE49-F238E27FC236}">
                <a16:creationId xmlns:a16="http://schemas.microsoft.com/office/drawing/2014/main" id="{9F17382E-0B63-4AEE-A597-7E7B0AAFEC8D}"/>
              </a:ext>
            </a:extLst>
          </p:cNvPr>
          <p:cNvGrpSpPr>
            <a:grpSpLocks/>
          </p:cNvGrpSpPr>
          <p:nvPr/>
        </p:nvGrpSpPr>
        <p:grpSpPr>
          <a:xfrm>
            <a:off x="587335" y="1399469"/>
            <a:ext cx="1475657" cy="1475657"/>
            <a:chOff x="587334" y="1399468"/>
            <a:chExt cx="1633464" cy="1633464"/>
          </a:xfrm>
        </p:grpSpPr>
        <p:pic>
          <p:nvPicPr>
            <p:cNvPr id="58" name="Graphic 57" descr="Confused person">
              <a:extLst>
                <a:ext uri="{FF2B5EF4-FFF2-40B4-BE49-F238E27FC236}">
                  <a16:creationId xmlns:a16="http://schemas.microsoft.com/office/drawing/2014/main" id="{F9102C6A-F4C3-42AF-9C0B-E4D9C0905A23}"/>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700279" y="1574387"/>
              <a:ext cx="1317851" cy="1317851"/>
            </a:xfrm>
            <a:prstGeom prst="rect">
              <a:avLst/>
            </a:prstGeom>
          </p:spPr>
        </p:pic>
        <p:sp>
          <p:nvSpPr>
            <p:cNvPr id="59" name="Oval 58">
              <a:extLst>
                <a:ext uri="{FF2B5EF4-FFF2-40B4-BE49-F238E27FC236}">
                  <a16:creationId xmlns:a16="http://schemas.microsoft.com/office/drawing/2014/main" id="{E1A3E03B-9F8B-4274-A3BB-7FA1FE94CF95}"/>
                </a:ext>
              </a:extLst>
            </p:cNvPr>
            <p:cNvSpPr>
              <a:spLocks/>
            </p:cNvSpPr>
            <p:nvPr/>
          </p:nvSpPr>
          <p:spPr>
            <a:xfrm>
              <a:off x="587334" y="1399468"/>
              <a:ext cx="1633464" cy="1633464"/>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67" name="Graphic 66">
              <a:extLst>
                <a:ext uri="{FF2B5EF4-FFF2-40B4-BE49-F238E27FC236}">
                  <a16:creationId xmlns:a16="http://schemas.microsoft.com/office/drawing/2014/main" id="{75643124-55AF-4B02-9D60-5D83C3853229}"/>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868093" y="1680227"/>
              <a:ext cx="1071946" cy="1071946"/>
            </a:xfrm>
            <a:prstGeom prst="rect">
              <a:avLst/>
            </a:prstGeom>
          </p:spPr>
        </p:pic>
      </p:grpSp>
    </p:spTree>
    <p:extLst>
      <p:ext uri="{BB962C8B-B14F-4D97-AF65-F5344CB8AC3E}">
        <p14:creationId xmlns:p14="http://schemas.microsoft.com/office/powerpoint/2010/main" val="274096276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8EAC6729-A219-4B83-97F9-4D38B4C53A8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67" name="think-cell Slide" r:id="rId5" imgW="395" imgH="394" progId="TCLayout.ActiveDocument.1">
                  <p:embed/>
                </p:oleObj>
              </mc:Choice>
              <mc:Fallback>
                <p:oleObj name="think-cell Slide" r:id="rId5" imgW="395" imgH="394" progId="TCLayout.ActiveDocument.1">
                  <p:embed/>
                  <p:pic>
                    <p:nvPicPr>
                      <p:cNvPr id="5" name="Object 6" hidden="1">
                        <a:extLst>
                          <a:ext uri="{FF2B5EF4-FFF2-40B4-BE49-F238E27FC236}">
                            <a16:creationId xmlns:a16="http://schemas.microsoft.com/office/drawing/2014/main" id="{8EAC6729-A219-4B83-97F9-4D38B4C53A8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2" name="Rectangle 1" hidden="1">
            <a:extLst>
              <a:ext uri="{FF2B5EF4-FFF2-40B4-BE49-F238E27FC236}">
                <a16:creationId xmlns:a16="http://schemas.microsoft.com/office/drawing/2014/main" id="{71C9BC9F-A62C-4E65-B513-09D1FB570FEA}"/>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nl-NL" sz="2500" b="1" err="1">
              <a:solidFill>
                <a:schemeClr val="bg1"/>
              </a:solidFill>
              <a:latin typeface="Calibri" panose="020F0502020204030204" pitchFamily="34" charset="0"/>
              <a:ea typeface="+mj-ea"/>
              <a:cs typeface="+mj-cs"/>
              <a:sym typeface="Calibri" panose="020F0502020204030204" pitchFamily="34" charset="0"/>
            </a:endParaRPr>
          </a:p>
        </p:txBody>
      </p:sp>
      <p:sp>
        <p:nvSpPr>
          <p:cNvPr id="57" name="Afgeronde rechthoek 2">
            <a:extLst>
              <a:ext uri="{FF2B5EF4-FFF2-40B4-BE49-F238E27FC236}">
                <a16:creationId xmlns:a16="http://schemas.microsoft.com/office/drawing/2014/main" id="{A0610112-938D-455E-8A34-FD5D3C81D81D}"/>
              </a:ext>
            </a:extLst>
          </p:cNvPr>
          <p:cNvSpPr>
            <a:spLocks noChangeAspect="1"/>
          </p:cNvSpPr>
          <p:nvPr/>
        </p:nvSpPr>
        <p:spPr>
          <a:xfrm>
            <a:off x="2042583" y="1715678"/>
            <a:ext cx="7546433" cy="4213926"/>
          </a:xfrm>
          <a:prstGeom prst="roundRect">
            <a:avLst/>
          </a:prstGeom>
          <a:solidFill>
            <a:schemeClr val="bg1"/>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457189">
              <a:defRPr/>
            </a:pPr>
            <a:r>
              <a:rPr lang="nl-NL" sz="4000" b="1">
                <a:solidFill>
                  <a:srgbClr val="000000"/>
                </a:solidFill>
                <a:latin typeface="Arial"/>
                <a:cs typeface="Arial"/>
              </a:rPr>
              <a:t>Kansenongelijkheid?</a:t>
            </a:r>
          </a:p>
          <a:p>
            <a:pPr algn="ctr" defTabSz="457189">
              <a:defRPr/>
            </a:pPr>
            <a:endParaRPr lang="nl-NL" sz="4000" b="1">
              <a:solidFill>
                <a:srgbClr val="000000"/>
              </a:solidFill>
              <a:latin typeface="Arial"/>
              <a:cs typeface="Arial"/>
            </a:endParaRPr>
          </a:p>
          <a:p>
            <a:pPr algn="ctr" defTabSz="457189">
              <a:defRPr/>
            </a:pPr>
            <a:r>
              <a:rPr lang="nl-NL" sz="4000" b="1" i="1">
                <a:solidFill>
                  <a:srgbClr val="000000"/>
                </a:solidFill>
                <a:latin typeface="Arial"/>
                <a:cs typeface="Arial"/>
              </a:rPr>
              <a:t>Wat ga jij er aan doen?</a:t>
            </a:r>
            <a:endParaRPr lang="nl-NL" sz="4000" i="1">
              <a:solidFill>
                <a:srgbClr val="000000"/>
              </a:solidFill>
              <a:latin typeface="Arial"/>
              <a:cs typeface="Arial"/>
            </a:endParaRPr>
          </a:p>
        </p:txBody>
      </p:sp>
    </p:spTree>
    <p:extLst>
      <p:ext uri="{BB962C8B-B14F-4D97-AF65-F5344CB8AC3E}">
        <p14:creationId xmlns:p14="http://schemas.microsoft.com/office/powerpoint/2010/main" val="52714820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5B77759-8F01-1B41-A9AC-E9B19792A941}"/>
              </a:ext>
            </a:extLst>
          </p:cNvPr>
          <p:cNvSpPr>
            <a:spLocks noGrp="1"/>
          </p:cNvSpPr>
          <p:nvPr>
            <p:ph type="title"/>
          </p:nvPr>
        </p:nvSpPr>
        <p:spPr/>
        <p:txBody>
          <a:bodyPr/>
          <a:lstStyle/>
          <a:p>
            <a:endParaRPr lang="nl-NL"/>
          </a:p>
        </p:txBody>
      </p:sp>
      <p:pic>
        <p:nvPicPr>
          <p:cNvPr id="8" name="Tijdelijke aanduiding voor inhoud 6">
            <a:extLst>
              <a:ext uri="{FF2B5EF4-FFF2-40B4-BE49-F238E27FC236}">
                <a16:creationId xmlns:a16="http://schemas.microsoft.com/office/drawing/2014/main" id="{41307E79-F602-514C-B946-6ED8E4D8D2F0}"/>
              </a:ext>
            </a:extLst>
          </p:cNvPr>
          <p:cNvPicPr>
            <a:picLocks noChangeAspect="1"/>
          </p:cNvPicPr>
          <p:nvPr/>
        </p:nvPicPr>
        <p:blipFill>
          <a:blip r:embed="rId2"/>
          <a:stretch>
            <a:fillRect/>
          </a:stretch>
        </p:blipFill>
        <p:spPr>
          <a:xfrm>
            <a:off x="0" y="-220718"/>
            <a:ext cx="12943490" cy="7979811"/>
          </a:xfrm>
          <a:prstGeom prst="rect">
            <a:avLst/>
          </a:prstGeom>
        </p:spPr>
      </p:pic>
      <p:sp>
        <p:nvSpPr>
          <p:cNvPr id="10" name="Tijdelijke aanduiding voor inhoud 9">
            <a:extLst>
              <a:ext uri="{FF2B5EF4-FFF2-40B4-BE49-F238E27FC236}">
                <a16:creationId xmlns:a16="http://schemas.microsoft.com/office/drawing/2014/main" id="{034FDA64-26BD-FA48-A6DC-01073AB71221}"/>
              </a:ext>
            </a:extLst>
          </p:cNvPr>
          <p:cNvSpPr>
            <a:spLocks noGrp="1"/>
          </p:cNvSpPr>
          <p:nvPr>
            <p:ph idx="1"/>
          </p:nvPr>
        </p:nvSpPr>
        <p:spPr/>
        <p:txBody>
          <a:bodyPr/>
          <a:lstStyle/>
          <a:p>
            <a:endParaRPr lang="nl-NL"/>
          </a:p>
        </p:txBody>
      </p:sp>
    </p:spTree>
    <p:extLst>
      <p:ext uri="{BB962C8B-B14F-4D97-AF65-F5344CB8AC3E}">
        <p14:creationId xmlns:p14="http://schemas.microsoft.com/office/powerpoint/2010/main" val="238682316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ECB1FF-A05B-6848-8C9A-42D5F8FCEAA9}"/>
              </a:ext>
            </a:extLst>
          </p:cNvPr>
          <p:cNvSpPr>
            <a:spLocks noGrp="1"/>
          </p:cNvSpPr>
          <p:nvPr>
            <p:ph type="title"/>
          </p:nvPr>
        </p:nvSpPr>
        <p:spPr/>
        <p:txBody>
          <a:bodyPr/>
          <a:lstStyle/>
          <a:p>
            <a:endParaRPr lang="nl-NL"/>
          </a:p>
        </p:txBody>
      </p:sp>
      <p:sp>
        <p:nvSpPr>
          <p:cNvPr id="3" name="Tijdelijke aanduiding voor inhoud 2">
            <a:extLst>
              <a:ext uri="{FF2B5EF4-FFF2-40B4-BE49-F238E27FC236}">
                <a16:creationId xmlns:a16="http://schemas.microsoft.com/office/drawing/2014/main" id="{54FE02F4-C02E-5C45-B4E5-903EFA18F2B0}"/>
              </a:ext>
            </a:extLst>
          </p:cNvPr>
          <p:cNvSpPr>
            <a:spLocks noGrp="1"/>
          </p:cNvSpPr>
          <p:nvPr>
            <p:ph idx="1"/>
          </p:nvPr>
        </p:nvSpPr>
        <p:spPr>
          <a:xfrm>
            <a:off x="2502933" y="1918551"/>
            <a:ext cx="7186134" cy="3954929"/>
          </a:xfrm>
        </p:spPr>
        <p:txBody>
          <a:bodyPr/>
          <a:lstStyle/>
          <a:p>
            <a:pPr algn="ctr"/>
            <a:r>
              <a:rPr lang="nl-NL" sz="3600" b="1">
                <a:solidFill>
                  <a:schemeClr val="accent3">
                    <a:lumMod val="75000"/>
                  </a:schemeClr>
                </a:solidFill>
                <a:latin typeface="Avenir Next" panose="020B0503020202020204" pitchFamily="34" charset="0"/>
              </a:rPr>
              <a:t>Q &amp; A </a:t>
            </a:r>
          </a:p>
          <a:p>
            <a:pPr algn="ctr"/>
            <a:endParaRPr lang="nl-NL" sz="3600" b="1">
              <a:solidFill>
                <a:schemeClr val="accent3">
                  <a:lumMod val="75000"/>
                </a:schemeClr>
              </a:solidFill>
              <a:latin typeface="Avenir Next" panose="020B0503020202020204" pitchFamily="34" charset="0"/>
            </a:endParaRPr>
          </a:p>
          <a:p>
            <a:pPr algn="ctr"/>
            <a:r>
              <a:rPr lang="nl-NL" sz="3600">
                <a:solidFill>
                  <a:schemeClr val="accent3">
                    <a:lumMod val="75000"/>
                  </a:schemeClr>
                </a:solidFill>
                <a:latin typeface="Avenir Next" panose="020B0503020202020204" pitchFamily="34" charset="0"/>
              </a:rPr>
              <a:t>Jaap </a:t>
            </a:r>
            <a:r>
              <a:rPr lang="nl-NL" sz="3600" err="1">
                <a:solidFill>
                  <a:schemeClr val="accent3">
                    <a:lumMod val="75000"/>
                  </a:schemeClr>
                </a:solidFill>
                <a:latin typeface="Avenir Next" panose="020B0503020202020204" pitchFamily="34" charset="0"/>
              </a:rPr>
              <a:t>Versfelt</a:t>
            </a:r>
            <a:r>
              <a:rPr lang="nl-NL" sz="3600">
                <a:solidFill>
                  <a:schemeClr val="accent3">
                    <a:lumMod val="75000"/>
                  </a:schemeClr>
                </a:solidFill>
                <a:latin typeface="Avenir Next" panose="020B0503020202020204" pitchFamily="34" charset="0"/>
              </a:rPr>
              <a:t> en Rob Martens</a:t>
            </a:r>
            <a:br>
              <a:rPr lang="nl-NL" sz="3600">
                <a:solidFill>
                  <a:schemeClr val="accent3">
                    <a:lumMod val="75000"/>
                  </a:schemeClr>
                </a:solidFill>
                <a:latin typeface="Avenir Next" panose="020B0503020202020204" pitchFamily="34" charset="0"/>
              </a:rPr>
            </a:br>
            <a:endParaRPr lang="nl-NL" sz="3600">
              <a:solidFill>
                <a:schemeClr val="accent3">
                  <a:lumMod val="75000"/>
                </a:schemeClr>
              </a:solidFill>
              <a:latin typeface="Avenir Next" panose="020B0503020202020204" pitchFamily="34" charset="0"/>
            </a:endParaRPr>
          </a:p>
          <a:p>
            <a:pPr algn="ctr"/>
            <a:r>
              <a:rPr lang="nl-NL" sz="2800" i="1">
                <a:solidFill>
                  <a:schemeClr val="accent3">
                    <a:lumMod val="75000"/>
                  </a:schemeClr>
                </a:solidFill>
                <a:latin typeface="Avenir Next" panose="020B0503020202020204" pitchFamily="34" charset="0"/>
              </a:rPr>
              <a:t>met vragen uit de chat </a:t>
            </a:r>
          </a:p>
          <a:p>
            <a:pPr algn="ctr"/>
            <a:endParaRPr lang="nl-NL" sz="3600" b="1">
              <a:solidFill>
                <a:schemeClr val="accent3">
                  <a:lumMod val="75000"/>
                </a:schemeClr>
              </a:solidFill>
              <a:latin typeface="Avenir Next" panose="020B0503020202020204" pitchFamily="34" charset="0"/>
            </a:endParaRPr>
          </a:p>
          <a:p>
            <a:endParaRPr lang="nl-NL"/>
          </a:p>
        </p:txBody>
      </p:sp>
      <p:sp>
        <p:nvSpPr>
          <p:cNvPr id="4" name="Tekstvak 3">
            <a:extLst>
              <a:ext uri="{FF2B5EF4-FFF2-40B4-BE49-F238E27FC236}">
                <a16:creationId xmlns:a16="http://schemas.microsoft.com/office/drawing/2014/main" id="{D70609D5-5884-4740-9CEE-19BC26055953}"/>
              </a:ext>
            </a:extLst>
          </p:cNvPr>
          <p:cNvSpPr txBox="1"/>
          <p:nvPr/>
        </p:nvSpPr>
        <p:spPr>
          <a:xfrm>
            <a:off x="3389586" y="2963917"/>
            <a:ext cx="914400"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nl-NL" sz="1600"/>
          </a:p>
        </p:txBody>
      </p:sp>
      <p:pic>
        <p:nvPicPr>
          <p:cNvPr id="5" name="Afbeelding 4">
            <a:extLst>
              <a:ext uri="{FF2B5EF4-FFF2-40B4-BE49-F238E27FC236}">
                <a16:creationId xmlns:a16="http://schemas.microsoft.com/office/drawing/2014/main" id="{CD9E11B3-8B3D-C748-B290-D2AE037242E1}"/>
              </a:ext>
            </a:extLst>
          </p:cNvPr>
          <p:cNvPicPr>
            <a:picLocks noChangeAspect="1"/>
          </p:cNvPicPr>
          <p:nvPr/>
        </p:nvPicPr>
        <p:blipFill>
          <a:blip r:embed="rId2"/>
          <a:stretch>
            <a:fillRect/>
          </a:stretch>
        </p:blipFill>
        <p:spPr>
          <a:xfrm>
            <a:off x="7457351" y="327111"/>
            <a:ext cx="4539916" cy="820817"/>
          </a:xfrm>
          <a:prstGeom prst="rect">
            <a:avLst/>
          </a:prstGeom>
        </p:spPr>
      </p:pic>
    </p:spTree>
    <p:extLst>
      <p:ext uri="{BB962C8B-B14F-4D97-AF65-F5344CB8AC3E}">
        <p14:creationId xmlns:p14="http://schemas.microsoft.com/office/powerpoint/2010/main" val="314817253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DC4D687-CEF4-B348-9318-8BB6EE51A573}"/>
              </a:ext>
            </a:extLst>
          </p:cNvPr>
          <p:cNvSpPr>
            <a:spLocks noGrp="1"/>
          </p:cNvSpPr>
          <p:nvPr>
            <p:ph type="title"/>
          </p:nvPr>
        </p:nvSpPr>
        <p:spPr/>
        <p:txBody>
          <a:bodyPr/>
          <a:lstStyle/>
          <a:p>
            <a:r>
              <a:rPr lang="nl-NL"/>
              <a:t>Nawoord </a:t>
            </a:r>
          </a:p>
        </p:txBody>
      </p:sp>
      <p:sp>
        <p:nvSpPr>
          <p:cNvPr id="3" name="Tijdelijke aanduiding voor inhoud 2">
            <a:extLst>
              <a:ext uri="{FF2B5EF4-FFF2-40B4-BE49-F238E27FC236}">
                <a16:creationId xmlns:a16="http://schemas.microsoft.com/office/drawing/2014/main" id="{2B8F1B9C-E380-7145-879B-C8D8135BC456}"/>
              </a:ext>
            </a:extLst>
          </p:cNvPr>
          <p:cNvSpPr>
            <a:spLocks noGrp="1"/>
          </p:cNvSpPr>
          <p:nvPr>
            <p:ph idx="1"/>
          </p:nvPr>
        </p:nvSpPr>
        <p:spPr>
          <a:xfrm>
            <a:off x="554736" y="2438814"/>
            <a:ext cx="10528425" cy="2062103"/>
          </a:xfrm>
        </p:spPr>
        <p:txBody>
          <a:bodyPr/>
          <a:lstStyle/>
          <a:p>
            <a:pPr algn="ctr"/>
            <a:r>
              <a:rPr lang="nl-NL" sz="3600" b="1">
                <a:solidFill>
                  <a:schemeClr val="accent3">
                    <a:lumMod val="75000"/>
                  </a:schemeClr>
                </a:solidFill>
                <a:latin typeface="Avenir Next" panose="020B0503020202020204" pitchFamily="34" charset="0"/>
              </a:rPr>
              <a:t>Luc Stevens</a:t>
            </a:r>
            <a:endParaRPr lang="nl-NL" sz="3600">
              <a:solidFill>
                <a:schemeClr val="accent3">
                  <a:lumMod val="75000"/>
                </a:schemeClr>
              </a:solidFill>
              <a:latin typeface="Avenir Next" panose="020B0503020202020204" pitchFamily="34" charset="0"/>
            </a:endParaRPr>
          </a:p>
          <a:p>
            <a:pPr algn="ctr"/>
            <a:r>
              <a:rPr lang="nl-NL" sz="2800" i="1" err="1">
                <a:solidFill>
                  <a:schemeClr val="accent3">
                    <a:lumMod val="75000"/>
                  </a:schemeClr>
                </a:solidFill>
                <a:latin typeface="Avenir Next" panose="020B0503020202020204" pitchFamily="34" charset="0"/>
              </a:rPr>
              <a:t>founding</a:t>
            </a:r>
            <a:r>
              <a:rPr lang="nl-NL" sz="2800" i="1">
                <a:solidFill>
                  <a:schemeClr val="accent3">
                    <a:lumMod val="75000"/>
                  </a:schemeClr>
                </a:solidFill>
                <a:latin typeface="Avenir Next" panose="020B0503020202020204" pitchFamily="34" charset="0"/>
              </a:rPr>
              <a:t> </a:t>
            </a:r>
            <a:r>
              <a:rPr lang="nl-NL" sz="2800" i="1" err="1">
                <a:solidFill>
                  <a:schemeClr val="accent3">
                    <a:lumMod val="75000"/>
                  </a:schemeClr>
                </a:solidFill>
                <a:latin typeface="Avenir Next" panose="020B0503020202020204" pitchFamily="34" charset="0"/>
              </a:rPr>
              <a:t>father</a:t>
            </a:r>
            <a:r>
              <a:rPr lang="nl-NL" sz="2800" i="1">
                <a:solidFill>
                  <a:schemeClr val="accent3">
                    <a:lumMod val="75000"/>
                  </a:schemeClr>
                </a:solidFill>
                <a:latin typeface="Avenir Next" panose="020B0503020202020204" pitchFamily="34" charset="0"/>
              </a:rPr>
              <a:t> </a:t>
            </a:r>
            <a:r>
              <a:rPr lang="nl-NL" sz="2800">
                <a:solidFill>
                  <a:schemeClr val="accent3">
                    <a:lumMod val="75000"/>
                  </a:schemeClr>
                </a:solidFill>
                <a:latin typeface="Avenir Next" panose="020B0503020202020204" pitchFamily="34" charset="0"/>
              </a:rPr>
              <a:t>stichting NIVOZ</a:t>
            </a:r>
            <a:br>
              <a:rPr lang="nl-NL" sz="3600">
                <a:solidFill>
                  <a:schemeClr val="accent3">
                    <a:lumMod val="75000"/>
                  </a:schemeClr>
                </a:solidFill>
                <a:latin typeface="Avenir Next" panose="020B0503020202020204" pitchFamily="34" charset="0"/>
              </a:rPr>
            </a:br>
            <a:endParaRPr lang="nl-NL" sz="3600">
              <a:solidFill>
                <a:schemeClr val="accent3">
                  <a:lumMod val="75000"/>
                </a:schemeClr>
              </a:solidFill>
              <a:latin typeface="Avenir Next" panose="020B0503020202020204" pitchFamily="34" charset="0"/>
            </a:endParaRPr>
          </a:p>
          <a:p>
            <a:pPr algn="ctr"/>
            <a:r>
              <a:rPr lang="nl-NL" sz="2400">
                <a:solidFill>
                  <a:schemeClr val="accent3">
                    <a:lumMod val="75000"/>
                  </a:schemeClr>
                </a:solidFill>
                <a:latin typeface="Avenir Next" panose="020B0503020202020204" pitchFamily="34" charset="0"/>
              </a:rPr>
              <a:t>Nederlands Instituut voor Onderwijs en Opvoedingszaken</a:t>
            </a:r>
          </a:p>
        </p:txBody>
      </p:sp>
      <p:pic>
        <p:nvPicPr>
          <p:cNvPr id="4" name="Afbeelding 3">
            <a:extLst>
              <a:ext uri="{FF2B5EF4-FFF2-40B4-BE49-F238E27FC236}">
                <a16:creationId xmlns:a16="http://schemas.microsoft.com/office/drawing/2014/main" id="{7695CF1D-4D7D-FC4C-A76B-18C2F0299EFE}"/>
              </a:ext>
            </a:extLst>
          </p:cNvPr>
          <p:cNvPicPr>
            <a:picLocks noChangeAspect="1"/>
          </p:cNvPicPr>
          <p:nvPr/>
        </p:nvPicPr>
        <p:blipFill>
          <a:blip r:embed="rId2"/>
          <a:stretch>
            <a:fillRect/>
          </a:stretch>
        </p:blipFill>
        <p:spPr>
          <a:xfrm>
            <a:off x="7473117" y="327111"/>
            <a:ext cx="4539916" cy="820817"/>
          </a:xfrm>
          <a:prstGeom prst="rect">
            <a:avLst/>
          </a:prstGeom>
        </p:spPr>
      </p:pic>
    </p:spTree>
    <p:extLst>
      <p:ext uri="{BB962C8B-B14F-4D97-AF65-F5344CB8AC3E}">
        <p14:creationId xmlns:p14="http://schemas.microsoft.com/office/powerpoint/2010/main" val="303672128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ECB1FF-A05B-6848-8C9A-42D5F8FCEAA9}"/>
              </a:ext>
            </a:extLst>
          </p:cNvPr>
          <p:cNvSpPr>
            <a:spLocks noGrp="1"/>
          </p:cNvSpPr>
          <p:nvPr>
            <p:ph type="title"/>
          </p:nvPr>
        </p:nvSpPr>
        <p:spPr/>
        <p:txBody>
          <a:bodyPr/>
          <a:lstStyle/>
          <a:p>
            <a:endParaRPr lang="nl-NL"/>
          </a:p>
        </p:txBody>
      </p:sp>
      <p:pic>
        <p:nvPicPr>
          <p:cNvPr id="6" name="Tijdelijke aanduiding voor inhoud 5">
            <a:extLst>
              <a:ext uri="{FF2B5EF4-FFF2-40B4-BE49-F238E27FC236}">
                <a16:creationId xmlns:a16="http://schemas.microsoft.com/office/drawing/2014/main" id="{BA1A5BD2-3B3D-3C42-BF33-E1DB3B85B90F}"/>
              </a:ext>
            </a:extLst>
          </p:cNvPr>
          <p:cNvPicPr>
            <a:picLocks noGrp="1" noChangeAspect="1"/>
          </p:cNvPicPr>
          <p:nvPr>
            <p:ph idx="1"/>
          </p:nvPr>
        </p:nvPicPr>
        <p:blipFill>
          <a:blip r:embed="rId2"/>
          <a:stretch>
            <a:fillRect/>
          </a:stretch>
        </p:blipFill>
        <p:spPr>
          <a:xfrm>
            <a:off x="236483" y="0"/>
            <a:ext cx="11833153" cy="6638903"/>
          </a:xfrm>
        </p:spPr>
      </p:pic>
      <p:sp>
        <p:nvSpPr>
          <p:cNvPr id="4" name="Tekstvak 3">
            <a:extLst>
              <a:ext uri="{FF2B5EF4-FFF2-40B4-BE49-F238E27FC236}">
                <a16:creationId xmlns:a16="http://schemas.microsoft.com/office/drawing/2014/main" id="{D70609D5-5884-4740-9CEE-19BC26055953}"/>
              </a:ext>
            </a:extLst>
          </p:cNvPr>
          <p:cNvSpPr txBox="1"/>
          <p:nvPr/>
        </p:nvSpPr>
        <p:spPr>
          <a:xfrm>
            <a:off x="3389586" y="2963917"/>
            <a:ext cx="914400"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nl-NL" sz="1600"/>
          </a:p>
        </p:txBody>
      </p:sp>
    </p:spTree>
    <p:extLst>
      <p:ext uri="{BB962C8B-B14F-4D97-AF65-F5344CB8AC3E}">
        <p14:creationId xmlns:p14="http://schemas.microsoft.com/office/powerpoint/2010/main" val="259167847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86589F3-7EE7-8D4B-94B2-1D95DBC8DA8B}"/>
              </a:ext>
            </a:extLst>
          </p:cNvPr>
          <p:cNvSpPr>
            <a:spLocks noGrp="1"/>
          </p:cNvSpPr>
          <p:nvPr>
            <p:ph type="title"/>
          </p:nvPr>
        </p:nvSpPr>
        <p:spPr/>
        <p:txBody>
          <a:bodyPr/>
          <a:lstStyle/>
          <a:p>
            <a:endParaRPr lang="nl-NL"/>
          </a:p>
        </p:txBody>
      </p:sp>
      <p:pic>
        <p:nvPicPr>
          <p:cNvPr id="5" name="Tijdelijke aanduiding voor inhoud 4">
            <a:extLst>
              <a:ext uri="{FF2B5EF4-FFF2-40B4-BE49-F238E27FC236}">
                <a16:creationId xmlns:a16="http://schemas.microsoft.com/office/drawing/2014/main" id="{48DF23BF-9C6C-6F42-82C2-A26BF92A6A40}"/>
              </a:ext>
            </a:extLst>
          </p:cNvPr>
          <p:cNvPicPr>
            <a:picLocks noGrp="1" noChangeAspect="1"/>
          </p:cNvPicPr>
          <p:nvPr>
            <p:ph idx="1"/>
          </p:nvPr>
        </p:nvPicPr>
        <p:blipFill>
          <a:blip r:embed="rId2"/>
          <a:stretch>
            <a:fillRect/>
          </a:stretch>
        </p:blipFill>
        <p:spPr>
          <a:xfrm>
            <a:off x="-1" y="-1"/>
            <a:ext cx="12044855" cy="6805097"/>
          </a:xfrm>
        </p:spPr>
      </p:pic>
      <p:pic>
        <p:nvPicPr>
          <p:cNvPr id="6" name="Tijdelijke aanduiding voor inhoud 4">
            <a:extLst>
              <a:ext uri="{FF2B5EF4-FFF2-40B4-BE49-F238E27FC236}">
                <a16:creationId xmlns:a16="http://schemas.microsoft.com/office/drawing/2014/main" id="{08D4D35C-422B-A649-A27C-E876E1150B6B}"/>
              </a:ext>
            </a:extLst>
          </p:cNvPr>
          <p:cNvPicPr>
            <a:picLocks noChangeAspect="1"/>
          </p:cNvPicPr>
          <p:nvPr/>
        </p:nvPicPr>
        <p:blipFill>
          <a:blip r:embed="rId2"/>
          <a:stretch>
            <a:fillRect/>
          </a:stretch>
        </p:blipFill>
        <p:spPr>
          <a:xfrm>
            <a:off x="278523" y="157359"/>
            <a:ext cx="11766331" cy="6647737"/>
          </a:xfrm>
          <a:prstGeom prst="rect">
            <a:avLst/>
          </a:prstGeom>
        </p:spPr>
      </p:pic>
    </p:spTree>
    <p:extLst>
      <p:ext uri="{BB962C8B-B14F-4D97-AF65-F5344CB8AC3E}">
        <p14:creationId xmlns:p14="http://schemas.microsoft.com/office/powerpoint/2010/main" val="42180992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fgeronde rechthoek 2">
            <a:extLst>
              <a:ext uri="{FF2B5EF4-FFF2-40B4-BE49-F238E27FC236}">
                <a16:creationId xmlns:a16="http://schemas.microsoft.com/office/drawing/2014/main" id="{18B4E1BC-927C-D544-8535-8BA02973DA1F}"/>
              </a:ext>
            </a:extLst>
          </p:cNvPr>
          <p:cNvSpPr>
            <a:spLocks noChangeAspect="1"/>
          </p:cNvSpPr>
          <p:nvPr/>
        </p:nvSpPr>
        <p:spPr>
          <a:xfrm>
            <a:off x="1270996" y="1063059"/>
            <a:ext cx="9108835" cy="4731882"/>
          </a:xfrm>
          <a:prstGeom prst="roundRect">
            <a:avLst/>
          </a:prstGeom>
          <a:solidFill>
            <a:schemeClr val="bg1"/>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defTabSz="457189">
              <a:defRPr/>
            </a:pPr>
            <a:r>
              <a:rPr lang="nl-NL" sz="2667" b="1" dirty="0">
                <a:solidFill>
                  <a:srgbClr val="000000"/>
                </a:solidFill>
                <a:latin typeface="Arial"/>
                <a:cs typeface="Arial"/>
              </a:rPr>
              <a:t>Waar heeft de kwaliteit van een leraar het meeste invloed op?</a:t>
            </a:r>
          </a:p>
          <a:p>
            <a:pPr defTabSz="457189">
              <a:defRPr/>
            </a:pPr>
            <a:endParaRPr lang="nl-NL" sz="2667" dirty="0">
              <a:solidFill>
                <a:srgbClr val="000000"/>
              </a:solidFill>
              <a:latin typeface="Arial"/>
              <a:cs typeface="Arial"/>
            </a:endParaRPr>
          </a:p>
          <a:p>
            <a:pPr marL="514350" indent="-514350" defTabSz="457189">
              <a:buAutoNum type="arabicPeriod"/>
              <a:defRPr/>
            </a:pPr>
            <a:r>
              <a:rPr lang="nl-NL" sz="2667" dirty="0">
                <a:solidFill>
                  <a:srgbClr val="000000"/>
                </a:solidFill>
                <a:latin typeface="Arial"/>
                <a:cs typeface="Arial"/>
              </a:rPr>
              <a:t>Kwalificatie</a:t>
            </a:r>
          </a:p>
          <a:p>
            <a:pPr marL="514350" indent="-514350" defTabSz="457189">
              <a:buAutoNum type="arabicPeriod"/>
              <a:defRPr/>
            </a:pPr>
            <a:r>
              <a:rPr lang="nl-NL" sz="2667" dirty="0">
                <a:solidFill>
                  <a:srgbClr val="000000"/>
                </a:solidFill>
                <a:latin typeface="Arial"/>
                <a:cs typeface="Arial"/>
              </a:rPr>
              <a:t>Persoonsvorming</a:t>
            </a:r>
          </a:p>
          <a:p>
            <a:pPr marL="514350" indent="-514350" defTabSz="457189">
              <a:buAutoNum type="arabicPeriod"/>
              <a:defRPr/>
            </a:pPr>
            <a:r>
              <a:rPr lang="nl-NL" sz="2667" dirty="0">
                <a:solidFill>
                  <a:srgbClr val="000000"/>
                </a:solidFill>
                <a:latin typeface="Arial"/>
                <a:cs typeface="Arial"/>
              </a:rPr>
              <a:t>Socialisatie</a:t>
            </a:r>
          </a:p>
          <a:p>
            <a:pPr marL="514350" indent="-514350" defTabSz="457189">
              <a:buAutoNum type="arabicPeriod"/>
              <a:defRPr/>
            </a:pPr>
            <a:r>
              <a:rPr lang="nl-NL" sz="2667" dirty="0">
                <a:solidFill>
                  <a:srgbClr val="000000"/>
                </a:solidFill>
                <a:latin typeface="Arial"/>
                <a:cs typeface="Arial"/>
              </a:rPr>
              <a:t>Alle drie</a:t>
            </a:r>
          </a:p>
          <a:p>
            <a:pPr defTabSz="457189">
              <a:defRPr/>
            </a:pPr>
            <a:endParaRPr lang="nl-NL" sz="2667" i="1" dirty="0">
              <a:solidFill>
                <a:srgbClr val="000000"/>
              </a:solidFill>
              <a:latin typeface="Arial"/>
              <a:cs typeface="Arial"/>
            </a:endParaRPr>
          </a:p>
          <a:p>
            <a:pPr defTabSz="457189">
              <a:defRPr/>
            </a:pPr>
            <a:r>
              <a:rPr lang="nl-NL" sz="2667" i="1" dirty="0">
                <a:solidFill>
                  <a:srgbClr val="000000"/>
                </a:solidFill>
                <a:latin typeface="Arial"/>
                <a:cs typeface="Arial"/>
              </a:rPr>
              <a:t>Pak een papiertje, zet daar met een stift een 1, 2, 3 of 4 op en houd dat ‘vol’ voor de camera</a:t>
            </a:r>
          </a:p>
        </p:txBody>
      </p:sp>
      <p:sp>
        <p:nvSpPr>
          <p:cNvPr id="5" name="Google Shape;160;p29">
            <a:extLst>
              <a:ext uri="{FF2B5EF4-FFF2-40B4-BE49-F238E27FC236}">
                <a16:creationId xmlns:a16="http://schemas.microsoft.com/office/drawing/2014/main" id="{2236B081-6862-41F6-A798-CC20EA42D38D}"/>
              </a:ext>
            </a:extLst>
          </p:cNvPr>
          <p:cNvSpPr txBox="1">
            <a:spLocks/>
          </p:cNvSpPr>
          <p:nvPr/>
        </p:nvSpPr>
        <p:spPr>
          <a:xfrm>
            <a:off x="475200" y="233645"/>
            <a:ext cx="10681200" cy="215600"/>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L="0" indent="0">
              <a:buSzPts val="1400"/>
              <a:buNone/>
              <a:defRPr b="1">
                <a:solidFill>
                  <a:schemeClr val="dk1"/>
                </a:solidFill>
              </a:defRPr>
            </a:lvl1pPr>
            <a:lvl2pPr>
              <a:buSzPts val="1400"/>
              <a:buNone/>
              <a:defRPr sz="1900" b="1">
                <a:solidFill>
                  <a:schemeClr val="dk2"/>
                </a:solidFill>
              </a:defRPr>
            </a:lvl2pPr>
            <a:lvl3pPr>
              <a:buSzPts val="1400"/>
              <a:buNone/>
              <a:defRPr sz="1900" b="1">
                <a:solidFill>
                  <a:schemeClr val="dk2"/>
                </a:solidFill>
              </a:defRPr>
            </a:lvl3pPr>
            <a:lvl4pPr>
              <a:buSzPts val="1400"/>
              <a:buNone/>
              <a:defRPr sz="1900" b="1">
                <a:solidFill>
                  <a:schemeClr val="dk2"/>
                </a:solidFill>
              </a:defRPr>
            </a:lvl4pPr>
            <a:lvl5pPr>
              <a:buSzPts val="1400"/>
              <a:buNone/>
              <a:defRPr sz="1900" b="1">
                <a:solidFill>
                  <a:schemeClr val="dk2"/>
                </a:solidFill>
              </a:defRPr>
            </a:lvl5pPr>
            <a:lvl6pPr>
              <a:buSzPts val="1400"/>
              <a:buNone/>
              <a:defRPr sz="1900" b="1">
                <a:solidFill>
                  <a:schemeClr val="dk2"/>
                </a:solidFill>
              </a:defRPr>
            </a:lvl6pPr>
            <a:lvl7pPr>
              <a:buSzPts val="1400"/>
              <a:buNone/>
              <a:defRPr sz="1900" b="1">
                <a:solidFill>
                  <a:schemeClr val="dk2"/>
                </a:solidFill>
              </a:defRPr>
            </a:lvl7pPr>
            <a:lvl8pPr>
              <a:buSzPts val="1400"/>
              <a:buNone/>
              <a:defRPr sz="1900" b="1">
                <a:solidFill>
                  <a:schemeClr val="dk2"/>
                </a:solidFill>
              </a:defRPr>
            </a:lvl8pPr>
            <a:lvl9pPr>
              <a:buSzPts val="1400"/>
              <a:buNone/>
              <a:defRPr sz="1900" b="1">
                <a:solidFill>
                  <a:schemeClr val="dk2"/>
                </a:solidFill>
              </a:defRPr>
            </a:lvl9pPr>
          </a:lstStyle>
          <a:p>
            <a:endParaRPr lang="nl-NL" sz="2400" dirty="0"/>
          </a:p>
        </p:txBody>
      </p:sp>
    </p:spTree>
    <p:extLst>
      <p:ext uri="{BB962C8B-B14F-4D97-AF65-F5344CB8AC3E}">
        <p14:creationId xmlns:p14="http://schemas.microsoft.com/office/powerpoint/2010/main" val="60823004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B3AC809-1A9D-D44A-B22A-9037AC62568A}"/>
              </a:ext>
            </a:extLst>
          </p:cNvPr>
          <p:cNvSpPr>
            <a:spLocks noGrp="1"/>
          </p:cNvSpPr>
          <p:nvPr>
            <p:ph type="title"/>
          </p:nvPr>
        </p:nvSpPr>
        <p:spPr/>
        <p:txBody>
          <a:bodyPr/>
          <a:lstStyle/>
          <a:p>
            <a:endParaRPr lang="nl-NL"/>
          </a:p>
        </p:txBody>
      </p:sp>
      <p:pic>
        <p:nvPicPr>
          <p:cNvPr id="5" name="Tijdelijke aanduiding voor inhoud 4">
            <a:extLst>
              <a:ext uri="{FF2B5EF4-FFF2-40B4-BE49-F238E27FC236}">
                <a16:creationId xmlns:a16="http://schemas.microsoft.com/office/drawing/2014/main" id="{71572163-B13D-3344-A727-1F6AB17C0388}"/>
              </a:ext>
            </a:extLst>
          </p:cNvPr>
          <p:cNvPicPr>
            <a:picLocks noGrp="1" noChangeAspect="1"/>
          </p:cNvPicPr>
          <p:nvPr>
            <p:ph idx="1"/>
          </p:nvPr>
        </p:nvPicPr>
        <p:blipFill>
          <a:blip r:embed="rId2"/>
          <a:stretch>
            <a:fillRect/>
          </a:stretch>
        </p:blipFill>
        <p:spPr>
          <a:xfrm>
            <a:off x="-401589" y="0"/>
            <a:ext cx="12593589" cy="7793575"/>
          </a:xfrm>
        </p:spPr>
      </p:pic>
    </p:spTree>
    <p:extLst>
      <p:ext uri="{BB962C8B-B14F-4D97-AF65-F5344CB8AC3E}">
        <p14:creationId xmlns:p14="http://schemas.microsoft.com/office/powerpoint/2010/main" val="3695488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hthoek 5">
            <a:extLst>
              <a:ext uri="{FF2B5EF4-FFF2-40B4-BE49-F238E27FC236}">
                <a16:creationId xmlns:a16="http://schemas.microsoft.com/office/drawing/2014/main" id="{0C14EA2B-538C-4664-BE2B-032EE3B85ECD}"/>
              </a:ext>
            </a:extLst>
          </p:cNvPr>
          <p:cNvSpPr/>
          <p:nvPr/>
        </p:nvSpPr>
        <p:spPr>
          <a:xfrm>
            <a:off x="0" y="0"/>
            <a:ext cx="12192000" cy="68580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NL" sz="1600" err="1">
              <a:solidFill>
                <a:schemeClr val="bg1"/>
              </a:solidFill>
            </a:endParaRPr>
          </a:p>
        </p:txBody>
      </p:sp>
      <p:pic>
        <p:nvPicPr>
          <p:cNvPr id="3" name="Afbeelding 2" descr="Afbeelding met tekst, binnen&#10;&#10;Automatisch gegenereerde beschrijving">
            <a:extLst>
              <a:ext uri="{FF2B5EF4-FFF2-40B4-BE49-F238E27FC236}">
                <a16:creationId xmlns:a16="http://schemas.microsoft.com/office/drawing/2014/main" id="{7E36FF48-03C6-461B-BFBD-784E73D618F6}"/>
              </a:ext>
            </a:extLst>
          </p:cNvPr>
          <p:cNvPicPr>
            <a:picLocks noChangeAspect="1"/>
          </p:cNvPicPr>
          <p:nvPr/>
        </p:nvPicPr>
        <p:blipFill rotWithShape="1">
          <a:blip r:embed="rId3"/>
          <a:srcRect l="8775" t="17012" r="5405" b="19535"/>
          <a:stretch/>
        </p:blipFill>
        <p:spPr>
          <a:xfrm>
            <a:off x="0" y="0"/>
            <a:ext cx="12192000" cy="6858000"/>
          </a:xfrm>
          <a:prstGeom prst="rect">
            <a:avLst/>
          </a:prstGeom>
        </p:spPr>
      </p:pic>
    </p:spTree>
    <p:extLst>
      <p:ext uri="{BB962C8B-B14F-4D97-AF65-F5344CB8AC3E}">
        <p14:creationId xmlns:p14="http://schemas.microsoft.com/office/powerpoint/2010/main" val="34540436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fgeronde rechthoek 2">
            <a:extLst>
              <a:ext uri="{FF2B5EF4-FFF2-40B4-BE49-F238E27FC236}">
                <a16:creationId xmlns:a16="http://schemas.microsoft.com/office/drawing/2014/main" id="{18B4E1BC-927C-D544-8535-8BA02973DA1F}"/>
              </a:ext>
            </a:extLst>
          </p:cNvPr>
          <p:cNvSpPr>
            <a:spLocks noChangeAspect="1"/>
          </p:cNvSpPr>
          <p:nvPr/>
        </p:nvSpPr>
        <p:spPr>
          <a:xfrm>
            <a:off x="2042583" y="1529905"/>
            <a:ext cx="7546433" cy="3798190"/>
          </a:xfrm>
          <a:prstGeom prst="roundRect">
            <a:avLst/>
          </a:prstGeom>
          <a:solidFill>
            <a:schemeClr val="bg1"/>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defTabSz="457189">
              <a:defRPr/>
            </a:pPr>
            <a:r>
              <a:rPr lang="nl-NL" sz="2667" b="1" dirty="0">
                <a:solidFill>
                  <a:srgbClr val="000000"/>
                </a:solidFill>
                <a:latin typeface="Arial"/>
                <a:cs typeface="Arial"/>
              </a:rPr>
              <a:t>Hoe goed is ons onderwijs in Nederland?</a:t>
            </a:r>
          </a:p>
          <a:p>
            <a:pPr defTabSz="457189">
              <a:defRPr/>
            </a:pPr>
            <a:endParaRPr lang="nl-NL" sz="2667" dirty="0">
              <a:solidFill>
                <a:srgbClr val="000000"/>
              </a:solidFill>
              <a:latin typeface="Arial"/>
              <a:cs typeface="Arial"/>
            </a:endParaRPr>
          </a:p>
          <a:p>
            <a:pPr marL="514350" indent="-514350" defTabSz="457189">
              <a:buAutoNum type="arabicPeriod"/>
              <a:defRPr/>
            </a:pPr>
            <a:r>
              <a:rPr lang="nl-NL" sz="2667" dirty="0">
                <a:solidFill>
                  <a:srgbClr val="000000"/>
                </a:solidFill>
                <a:latin typeface="Arial"/>
                <a:cs typeface="Arial"/>
              </a:rPr>
              <a:t>Wereld topper</a:t>
            </a:r>
          </a:p>
          <a:p>
            <a:pPr marL="514350" indent="-514350" defTabSz="457189">
              <a:buAutoNum type="arabicPeriod"/>
              <a:defRPr/>
            </a:pPr>
            <a:r>
              <a:rPr lang="nl-NL" sz="2667" dirty="0">
                <a:solidFill>
                  <a:srgbClr val="000000"/>
                </a:solidFill>
                <a:latin typeface="Arial"/>
                <a:cs typeface="Arial"/>
              </a:rPr>
              <a:t>Europese topper</a:t>
            </a:r>
          </a:p>
          <a:p>
            <a:pPr marL="514350" indent="-514350" defTabSz="457189">
              <a:buAutoNum type="arabicPeriod"/>
              <a:defRPr/>
            </a:pPr>
            <a:r>
              <a:rPr lang="nl-NL" sz="2667" dirty="0">
                <a:solidFill>
                  <a:srgbClr val="000000"/>
                </a:solidFill>
                <a:latin typeface="Arial"/>
                <a:cs typeface="Arial"/>
              </a:rPr>
              <a:t>Europese middenmoter</a:t>
            </a:r>
          </a:p>
          <a:p>
            <a:pPr marL="514350" indent="-514350" defTabSz="457189">
              <a:buAutoNum type="arabicPeriod"/>
              <a:defRPr/>
            </a:pPr>
            <a:r>
              <a:rPr lang="nl-NL" sz="2667" dirty="0">
                <a:solidFill>
                  <a:srgbClr val="000000"/>
                </a:solidFill>
                <a:latin typeface="Arial"/>
                <a:cs typeface="Arial"/>
              </a:rPr>
              <a:t>Europese achterblijver</a:t>
            </a:r>
          </a:p>
          <a:p>
            <a:pPr defTabSz="457189">
              <a:defRPr/>
            </a:pPr>
            <a:endParaRPr lang="nl-NL" sz="2667" i="1" dirty="0">
              <a:solidFill>
                <a:srgbClr val="000000"/>
              </a:solidFill>
              <a:latin typeface="Arial"/>
              <a:cs typeface="Arial"/>
            </a:endParaRPr>
          </a:p>
          <a:p>
            <a:pPr defTabSz="457189">
              <a:defRPr/>
            </a:pPr>
            <a:r>
              <a:rPr lang="nl-NL" sz="2667" i="1" dirty="0">
                <a:solidFill>
                  <a:srgbClr val="000000"/>
                </a:solidFill>
                <a:latin typeface="Arial"/>
                <a:cs typeface="Arial"/>
              </a:rPr>
              <a:t>Maak je keuze in de poll</a:t>
            </a:r>
          </a:p>
        </p:txBody>
      </p:sp>
      <p:sp>
        <p:nvSpPr>
          <p:cNvPr id="5" name="Google Shape;160;p29">
            <a:extLst>
              <a:ext uri="{FF2B5EF4-FFF2-40B4-BE49-F238E27FC236}">
                <a16:creationId xmlns:a16="http://schemas.microsoft.com/office/drawing/2014/main" id="{2236B081-6862-41F6-A798-CC20EA42D38D}"/>
              </a:ext>
            </a:extLst>
          </p:cNvPr>
          <p:cNvSpPr txBox="1">
            <a:spLocks/>
          </p:cNvSpPr>
          <p:nvPr/>
        </p:nvSpPr>
        <p:spPr>
          <a:xfrm>
            <a:off x="475200" y="233645"/>
            <a:ext cx="10681200" cy="215600"/>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L="0" indent="0">
              <a:buSzPts val="1400"/>
              <a:buNone/>
              <a:defRPr b="1">
                <a:solidFill>
                  <a:schemeClr val="dk1"/>
                </a:solidFill>
              </a:defRPr>
            </a:lvl1pPr>
            <a:lvl2pPr>
              <a:buSzPts val="1400"/>
              <a:buNone/>
              <a:defRPr sz="1900" b="1">
                <a:solidFill>
                  <a:schemeClr val="dk2"/>
                </a:solidFill>
              </a:defRPr>
            </a:lvl2pPr>
            <a:lvl3pPr>
              <a:buSzPts val="1400"/>
              <a:buNone/>
              <a:defRPr sz="1900" b="1">
                <a:solidFill>
                  <a:schemeClr val="dk2"/>
                </a:solidFill>
              </a:defRPr>
            </a:lvl3pPr>
            <a:lvl4pPr>
              <a:buSzPts val="1400"/>
              <a:buNone/>
              <a:defRPr sz="1900" b="1">
                <a:solidFill>
                  <a:schemeClr val="dk2"/>
                </a:solidFill>
              </a:defRPr>
            </a:lvl4pPr>
            <a:lvl5pPr>
              <a:buSzPts val="1400"/>
              <a:buNone/>
              <a:defRPr sz="1900" b="1">
                <a:solidFill>
                  <a:schemeClr val="dk2"/>
                </a:solidFill>
              </a:defRPr>
            </a:lvl5pPr>
            <a:lvl6pPr>
              <a:buSzPts val="1400"/>
              <a:buNone/>
              <a:defRPr sz="1900" b="1">
                <a:solidFill>
                  <a:schemeClr val="dk2"/>
                </a:solidFill>
              </a:defRPr>
            </a:lvl6pPr>
            <a:lvl7pPr>
              <a:buSzPts val="1400"/>
              <a:buNone/>
              <a:defRPr sz="1900" b="1">
                <a:solidFill>
                  <a:schemeClr val="dk2"/>
                </a:solidFill>
              </a:defRPr>
            </a:lvl7pPr>
            <a:lvl8pPr>
              <a:buSzPts val="1400"/>
              <a:buNone/>
              <a:defRPr sz="1900" b="1">
                <a:solidFill>
                  <a:schemeClr val="dk2"/>
                </a:solidFill>
              </a:defRPr>
            </a:lvl8pPr>
            <a:lvl9pPr>
              <a:buSzPts val="1400"/>
              <a:buNone/>
              <a:defRPr sz="1900" b="1">
                <a:solidFill>
                  <a:schemeClr val="dk2"/>
                </a:solidFill>
              </a:defRPr>
            </a:lvl9pPr>
          </a:lstStyle>
          <a:p>
            <a:endParaRPr lang="nl-NL" sz="2400" dirty="0"/>
          </a:p>
        </p:txBody>
      </p:sp>
    </p:spTree>
    <p:extLst>
      <p:ext uri="{BB962C8B-B14F-4D97-AF65-F5344CB8AC3E}">
        <p14:creationId xmlns:p14="http://schemas.microsoft.com/office/powerpoint/2010/main" val="31149917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2" hidden="1">
            <a:extLst>
              <a:ext uri="{FF2B5EF4-FFF2-40B4-BE49-F238E27FC236}">
                <a16:creationId xmlns:a16="http://schemas.microsoft.com/office/drawing/2014/main" id="{3F737729-CF0D-40F2-B27B-BA0A4BAB3921}"/>
              </a:ext>
            </a:extLst>
          </p:cNvPr>
          <p:cNvGraphicFramePr>
            <a:graphicFrameLocks noChangeAspect="1"/>
          </p:cNvGraphicFramePr>
          <p:nvPr>
            <p:custDataLst>
              <p:tags r:id="rId2"/>
            </p:custDataLst>
            <p:extLst>
              <p:ext uri="{D42A27DB-BD31-4B8C-83A1-F6EECF244321}">
                <p14:modId xmlns:p14="http://schemas.microsoft.com/office/powerpoint/2010/main" val="5522448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1" name="think-cell Slide" r:id="rId132" imgW="395" imgH="394" progId="TCLayout.ActiveDocument.1">
                  <p:embed/>
                </p:oleObj>
              </mc:Choice>
              <mc:Fallback>
                <p:oleObj name="think-cell Slide" r:id="rId132" imgW="395" imgH="394" progId="TCLayout.ActiveDocument.1">
                  <p:embed/>
                  <p:pic>
                    <p:nvPicPr>
                      <p:cNvPr id="9" name="Object 2" hidden="1">
                        <a:extLst>
                          <a:ext uri="{FF2B5EF4-FFF2-40B4-BE49-F238E27FC236}">
                            <a16:creationId xmlns:a16="http://schemas.microsoft.com/office/drawing/2014/main" id="{3F737729-CF0D-40F2-B27B-BA0A4BAB3921}"/>
                          </a:ext>
                        </a:extLst>
                      </p:cNvPr>
                      <p:cNvPicPr/>
                      <p:nvPr/>
                    </p:nvPicPr>
                    <p:blipFill>
                      <a:blip r:embed="rId133"/>
                      <a:stretch>
                        <a:fillRect/>
                      </a:stretch>
                    </p:blipFill>
                    <p:spPr>
                      <a:xfrm>
                        <a:off x="1588" y="1588"/>
                        <a:ext cx="1588" cy="1588"/>
                      </a:xfrm>
                      <a:prstGeom prst="rect">
                        <a:avLst/>
                      </a:prstGeom>
                    </p:spPr>
                  </p:pic>
                </p:oleObj>
              </mc:Fallback>
            </mc:AlternateContent>
          </a:graphicData>
        </a:graphic>
      </p:graphicFrame>
      <p:sp>
        <p:nvSpPr>
          <p:cNvPr id="8" name="Rectangle 3" hidden="1">
            <a:extLst>
              <a:ext uri="{FF2B5EF4-FFF2-40B4-BE49-F238E27FC236}">
                <a16:creationId xmlns:a16="http://schemas.microsoft.com/office/drawing/2014/main" id="{BEFE31BA-5280-4C8B-85E3-E245EA7E7D96}"/>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800" dirty="0">
              <a:solidFill>
                <a:schemeClr val="bg1"/>
              </a:solidFill>
              <a:cs typeface="Arial" panose="020B0604020202020204" pitchFamily="34" charset="0"/>
              <a:sym typeface="+mn-lt"/>
            </a:endParaRPr>
          </a:p>
        </p:txBody>
      </p:sp>
      <p:sp>
        <p:nvSpPr>
          <p:cNvPr id="2" name="2. Slide Title">
            <a:extLst>
              <a:ext uri="{FF2B5EF4-FFF2-40B4-BE49-F238E27FC236}">
                <a16:creationId xmlns:a16="http://schemas.microsoft.com/office/drawing/2014/main" id="{D89290E6-8814-48E6-9217-136316A729E6}"/>
              </a:ext>
            </a:extLst>
          </p:cNvPr>
          <p:cNvSpPr>
            <a:spLocks noGrp="1"/>
          </p:cNvSpPr>
          <p:nvPr>
            <p:ph type="title"/>
            <p:custDataLst>
              <p:tags r:id="rId4"/>
            </p:custDataLst>
          </p:nvPr>
        </p:nvSpPr>
        <p:spPr/>
        <p:txBody>
          <a:bodyPr/>
          <a:lstStyle/>
          <a:p>
            <a:r>
              <a:rPr lang="nl-NL" dirty="0"/>
              <a:t>Het Nederlandse onderwijs scoort vergeleken met andere westerse landen redelijk</a:t>
            </a:r>
            <a:endParaRPr lang="en-US" dirty="0"/>
          </a:p>
        </p:txBody>
      </p:sp>
      <p:sp>
        <p:nvSpPr>
          <p:cNvPr id="5" name="TextBox 4">
            <a:extLst>
              <a:ext uri="{FF2B5EF4-FFF2-40B4-BE49-F238E27FC236}">
                <a16:creationId xmlns:a16="http://schemas.microsoft.com/office/drawing/2014/main" id="{8B5519F5-08C8-4BEA-A196-7556E4D8B25E}"/>
              </a:ext>
            </a:extLst>
          </p:cNvPr>
          <p:cNvSpPr txBox="1"/>
          <p:nvPr/>
        </p:nvSpPr>
        <p:spPr>
          <a:xfrm>
            <a:off x="554736" y="1269446"/>
            <a:ext cx="3315589" cy="36933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200" b="1" dirty="0">
                <a:cs typeface="+mn-cs"/>
              </a:rPr>
              <a:t>Niveau leesvaardigheid PISA-2018</a:t>
            </a:r>
            <a:br>
              <a:rPr lang="en-GB" sz="1200" b="1" dirty="0">
                <a:cs typeface="+mn-cs"/>
              </a:rPr>
            </a:br>
            <a:r>
              <a:rPr lang="en-GB" sz="1200" dirty="0">
                <a:cs typeface="+mn-cs"/>
              </a:rPr>
              <a:t>Score, per OESO-land</a:t>
            </a:r>
          </a:p>
        </p:txBody>
      </p:sp>
      <p:sp>
        <p:nvSpPr>
          <p:cNvPr id="137" name="TextBox 136">
            <a:extLst>
              <a:ext uri="{FF2B5EF4-FFF2-40B4-BE49-F238E27FC236}">
                <a16:creationId xmlns:a16="http://schemas.microsoft.com/office/drawing/2014/main" id="{F812CB30-2824-4FE1-A34B-F44DC0045C3D}"/>
              </a:ext>
            </a:extLst>
          </p:cNvPr>
          <p:cNvSpPr txBox="1"/>
          <p:nvPr/>
        </p:nvSpPr>
        <p:spPr>
          <a:xfrm>
            <a:off x="4438206" y="1269446"/>
            <a:ext cx="3315589" cy="36933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200" b="1" dirty="0"/>
              <a:t>Niveau wiskunde PISA-2018</a:t>
            </a:r>
            <a:br>
              <a:rPr lang="en-GB" sz="1200" b="1" dirty="0"/>
            </a:br>
            <a:r>
              <a:rPr lang="en-GB" sz="1200" dirty="0"/>
              <a:t>Score, per OESO-land</a:t>
            </a:r>
          </a:p>
        </p:txBody>
      </p:sp>
      <p:sp>
        <p:nvSpPr>
          <p:cNvPr id="138" name="TextBox 137">
            <a:extLst>
              <a:ext uri="{FF2B5EF4-FFF2-40B4-BE49-F238E27FC236}">
                <a16:creationId xmlns:a16="http://schemas.microsoft.com/office/drawing/2014/main" id="{E8541F57-3019-48FF-A6AD-080178C62A83}"/>
              </a:ext>
            </a:extLst>
          </p:cNvPr>
          <p:cNvSpPr txBox="1"/>
          <p:nvPr/>
        </p:nvSpPr>
        <p:spPr>
          <a:xfrm>
            <a:off x="8321675" y="1269446"/>
            <a:ext cx="3315589" cy="36933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200" b="1" dirty="0"/>
              <a:t>Niveau natuurwetenschappen PISA-2018</a:t>
            </a:r>
            <a:br>
              <a:rPr lang="en-GB" sz="1200" b="1" dirty="0"/>
            </a:br>
            <a:r>
              <a:rPr lang="en-GB" sz="1200" dirty="0"/>
              <a:t>Score, per OESO-land</a:t>
            </a:r>
          </a:p>
        </p:txBody>
      </p:sp>
      <p:graphicFrame>
        <p:nvGraphicFramePr>
          <p:cNvPr id="780" name="Chart 779">
            <a:extLst>
              <a:ext uri="{FF2B5EF4-FFF2-40B4-BE49-F238E27FC236}">
                <a16:creationId xmlns:a16="http://schemas.microsoft.com/office/drawing/2014/main" id="{9AFAE8C2-786F-4FD4-B1DE-B2961531EF10}"/>
              </a:ext>
            </a:extLst>
          </p:cNvPr>
          <p:cNvGraphicFramePr/>
          <p:nvPr>
            <p:custDataLst>
              <p:tags r:id="rId5"/>
            </p:custDataLst>
            <p:extLst>
              <p:ext uri="{D42A27DB-BD31-4B8C-83A1-F6EECF244321}">
                <p14:modId xmlns:p14="http://schemas.microsoft.com/office/powerpoint/2010/main" val="1433150370"/>
              </p:ext>
            </p:extLst>
          </p:nvPr>
        </p:nvGraphicFramePr>
        <p:xfrm>
          <a:off x="5216525" y="1931988"/>
          <a:ext cx="2346325" cy="4454525"/>
        </p:xfrm>
        <a:graphic>
          <a:graphicData uri="http://schemas.openxmlformats.org/drawingml/2006/chart">
            <c:chart xmlns:c="http://schemas.openxmlformats.org/drawingml/2006/chart" xmlns:r="http://schemas.openxmlformats.org/officeDocument/2006/relationships" r:id="rId134"/>
          </a:graphicData>
        </a:graphic>
      </p:graphicFrame>
      <p:sp>
        <p:nvSpPr>
          <p:cNvPr id="689" name="Text Placeholder 4">
            <a:extLst>
              <a:ext uri="{FF2B5EF4-FFF2-40B4-BE49-F238E27FC236}">
                <a16:creationId xmlns:a16="http://schemas.microsoft.com/office/drawing/2014/main" id="{4C1F3293-4EFE-461D-940D-7EE66BAE31C5}"/>
              </a:ext>
            </a:extLst>
          </p:cNvPr>
          <p:cNvSpPr>
            <a:spLocks noGrp="1"/>
          </p:cNvSpPr>
          <p:nvPr>
            <p:custDataLst>
              <p:tags r:id="rId6"/>
            </p:custDataLst>
          </p:nvPr>
        </p:nvSpPr>
        <p:spPr bwMode="gray">
          <a:xfrm>
            <a:off x="6859588" y="1858963"/>
            <a:ext cx="1524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A9A7F21D-08F0-4433-9FE7-5856F563FB34}" type="datetime'''''''''''5''''''0''''0'''''''''''''''">
              <a:rPr lang="en-US" altLang="en-US" sz="800" smtClean="0">
                <a:sym typeface="+mn-lt"/>
              </a:rPr>
              <a:pPr algn="ctr">
                <a:spcBef>
                  <a:spcPct val="0"/>
                </a:spcBef>
                <a:spcAft>
                  <a:spcPct val="0"/>
                </a:spcAft>
              </a:pPr>
              <a:t>500</a:t>
            </a:fld>
            <a:endParaRPr lang="en-US" sz="800" dirty="0">
              <a:sym typeface="+mn-lt"/>
            </a:endParaRPr>
          </a:p>
        </p:txBody>
      </p:sp>
      <p:sp>
        <p:nvSpPr>
          <p:cNvPr id="687" name="Text Placeholder 4">
            <a:extLst>
              <a:ext uri="{FF2B5EF4-FFF2-40B4-BE49-F238E27FC236}">
                <a16:creationId xmlns:a16="http://schemas.microsoft.com/office/drawing/2014/main" id="{4C1F3293-4EFE-461D-940D-7EE66BAE31C5}"/>
              </a:ext>
            </a:extLst>
          </p:cNvPr>
          <p:cNvSpPr>
            <a:spLocks noGrp="1"/>
          </p:cNvSpPr>
          <p:nvPr>
            <p:custDataLst>
              <p:tags r:id="rId7"/>
            </p:custDataLst>
          </p:nvPr>
        </p:nvSpPr>
        <p:spPr bwMode="gray">
          <a:xfrm>
            <a:off x="5768975" y="1858963"/>
            <a:ext cx="1524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92B364AF-4F44-4424-9F58-70FDE59851AC}" type="datetime'''''''''''40''''''''''''''''''''''''''''0'''''''">
              <a:rPr lang="en-US" altLang="en-US" sz="800" smtClean="0">
                <a:sym typeface="+mn-lt"/>
              </a:rPr>
              <a:pPr algn="ctr">
                <a:spcBef>
                  <a:spcPct val="0"/>
                </a:spcBef>
                <a:spcAft>
                  <a:spcPct val="0"/>
                </a:spcAft>
              </a:pPr>
              <a:t>400</a:t>
            </a:fld>
            <a:endParaRPr lang="en-US" sz="800" dirty="0">
              <a:sym typeface="+mn-lt"/>
            </a:endParaRPr>
          </a:p>
        </p:txBody>
      </p:sp>
      <p:sp>
        <p:nvSpPr>
          <p:cNvPr id="707" name="Text Placeholder 4">
            <a:extLst>
              <a:ext uri="{FF2B5EF4-FFF2-40B4-BE49-F238E27FC236}">
                <a16:creationId xmlns:a16="http://schemas.microsoft.com/office/drawing/2014/main" id="{4C1F3293-4EFE-461D-940D-7EE66BAE31C5}"/>
              </a:ext>
            </a:extLst>
          </p:cNvPr>
          <p:cNvSpPr>
            <a:spLocks noGrp="1"/>
          </p:cNvSpPr>
          <p:nvPr>
            <p:custDataLst>
              <p:tags r:id="rId8"/>
            </p:custDataLst>
          </p:nvPr>
        </p:nvSpPr>
        <p:spPr bwMode="gray">
          <a:xfrm>
            <a:off x="6313488" y="1858963"/>
            <a:ext cx="1524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BB3FF3E0-46DF-4B06-AB5F-6AE54C1DDED5}" type="datetime'''''''''''''''4''5''''''''''''''''0'''''''''''''''''">
              <a:rPr lang="en-US" altLang="en-US" sz="800" smtClean="0">
                <a:sym typeface="+mn-lt"/>
              </a:rPr>
              <a:pPr algn="ctr">
                <a:spcBef>
                  <a:spcPct val="0"/>
                </a:spcBef>
                <a:spcAft>
                  <a:spcPct val="0"/>
                </a:spcAft>
              </a:pPr>
              <a:t>450</a:t>
            </a:fld>
            <a:endParaRPr lang="en-US" sz="800" dirty="0">
              <a:sym typeface="+mn-lt"/>
            </a:endParaRPr>
          </a:p>
        </p:txBody>
      </p:sp>
      <p:sp>
        <p:nvSpPr>
          <p:cNvPr id="706" name="Text Placeholder 4">
            <a:extLst>
              <a:ext uri="{FF2B5EF4-FFF2-40B4-BE49-F238E27FC236}">
                <a16:creationId xmlns:a16="http://schemas.microsoft.com/office/drawing/2014/main" id="{4C1F3293-4EFE-461D-940D-7EE66BAE31C5}"/>
              </a:ext>
            </a:extLst>
          </p:cNvPr>
          <p:cNvSpPr>
            <a:spLocks noGrp="1"/>
          </p:cNvSpPr>
          <p:nvPr>
            <p:custDataLst>
              <p:tags r:id="rId9"/>
            </p:custDataLst>
          </p:nvPr>
        </p:nvSpPr>
        <p:spPr bwMode="gray">
          <a:xfrm>
            <a:off x="5222875" y="1858963"/>
            <a:ext cx="1524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2914B6AD-2038-4491-A127-0D1B23D1E177}" type="datetime'''3''''''5''''''''''''''''''0'''''">
              <a:rPr lang="en-US" altLang="en-US" sz="800" smtClean="0">
                <a:sym typeface="+mn-lt"/>
              </a:rPr>
              <a:pPr algn="ctr">
                <a:spcBef>
                  <a:spcPct val="0"/>
                </a:spcBef>
                <a:spcAft>
                  <a:spcPct val="0"/>
                </a:spcAft>
              </a:pPr>
              <a:t>350</a:t>
            </a:fld>
            <a:endParaRPr lang="en-US" sz="800" dirty="0">
              <a:sym typeface="+mn-lt"/>
            </a:endParaRPr>
          </a:p>
        </p:txBody>
      </p:sp>
      <p:sp>
        <p:nvSpPr>
          <p:cNvPr id="708" name="Text Placeholder 4">
            <a:extLst>
              <a:ext uri="{FF2B5EF4-FFF2-40B4-BE49-F238E27FC236}">
                <a16:creationId xmlns:a16="http://schemas.microsoft.com/office/drawing/2014/main" id="{4C1F3293-4EFE-461D-940D-7EE66BAE31C5}"/>
              </a:ext>
            </a:extLst>
          </p:cNvPr>
          <p:cNvSpPr>
            <a:spLocks noGrp="1"/>
          </p:cNvSpPr>
          <p:nvPr>
            <p:custDataLst>
              <p:tags r:id="rId10"/>
            </p:custDataLst>
          </p:nvPr>
        </p:nvSpPr>
        <p:spPr bwMode="gray">
          <a:xfrm>
            <a:off x="7404100" y="1858963"/>
            <a:ext cx="1524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7D335D70-723E-4715-9689-CD2C746D4C21}" type="datetime'''''5''''''''''5''''''''''''''0'''''''''''''''''''''''''''''">
              <a:rPr lang="en-US" altLang="en-US" sz="800" smtClean="0">
                <a:sym typeface="+mn-lt"/>
              </a:rPr>
              <a:pPr algn="ctr">
                <a:spcBef>
                  <a:spcPct val="0"/>
                </a:spcBef>
                <a:spcAft>
                  <a:spcPct val="0"/>
                </a:spcAft>
              </a:pPr>
              <a:t>550</a:t>
            </a:fld>
            <a:endParaRPr lang="en-US" sz="800" dirty="0">
              <a:sym typeface="+mn-lt"/>
            </a:endParaRPr>
          </a:p>
        </p:txBody>
      </p:sp>
      <p:sp>
        <p:nvSpPr>
          <p:cNvPr id="502" name="Text Placeholder 4">
            <a:extLst>
              <a:ext uri="{FF2B5EF4-FFF2-40B4-BE49-F238E27FC236}">
                <a16:creationId xmlns:a16="http://schemas.microsoft.com/office/drawing/2014/main" id="{4C1F3293-4EFE-461D-940D-7EE66BAE31C5}"/>
              </a:ext>
            </a:extLst>
          </p:cNvPr>
          <p:cNvSpPr>
            <a:spLocks noGrp="1"/>
          </p:cNvSpPr>
          <p:nvPr>
            <p:custDataLst>
              <p:tags r:id="rId11"/>
            </p:custDataLst>
          </p:nvPr>
        </p:nvSpPr>
        <p:spPr bwMode="auto">
          <a:xfrm>
            <a:off x="4424363" y="3486150"/>
            <a:ext cx="808038"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64E096D8-B8F0-45C7-95EF-ABC16682B9D7}" type="datetime'''Veren''''i''''''g''''d ''Ko''n''''''''i''n''k''ri''jk'''''">
              <a:rPr lang="en-GB" altLang="en-US" sz="800" smtClean="0">
                <a:sym typeface="+mn-lt"/>
              </a:rPr>
              <a:pPr>
                <a:spcBef>
                  <a:spcPct val="0"/>
                </a:spcBef>
                <a:spcAft>
                  <a:spcPct val="0"/>
                </a:spcAft>
              </a:pPr>
              <a:t>Verenigd Koninkrijk</a:t>
            </a:fld>
            <a:endParaRPr lang="en-GB" sz="800" dirty="0">
              <a:sym typeface="+mn-lt"/>
            </a:endParaRPr>
          </a:p>
        </p:txBody>
      </p:sp>
      <p:sp>
        <p:nvSpPr>
          <p:cNvPr id="488" name="Text Placeholder 4">
            <a:extLst>
              <a:ext uri="{FF2B5EF4-FFF2-40B4-BE49-F238E27FC236}">
                <a16:creationId xmlns:a16="http://schemas.microsoft.com/office/drawing/2014/main" id="{4C1F3293-4EFE-461D-940D-7EE66BAE31C5}"/>
              </a:ext>
            </a:extLst>
          </p:cNvPr>
          <p:cNvSpPr>
            <a:spLocks noGrp="1"/>
          </p:cNvSpPr>
          <p:nvPr>
            <p:custDataLst>
              <p:tags r:id="rId12"/>
            </p:custDataLst>
          </p:nvPr>
        </p:nvSpPr>
        <p:spPr bwMode="auto">
          <a:xfrm>
            <a:off x="4424363" y="2995613"/>
            <a:ext cx="34925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4B205338-26A6-41CB-BDFD-E441E8EFB722}" type="datetime'''''''S''l''o''''''''''''''ve''n''''''''''''''''''''i''ë'">
              <a:rPr lang="en-GB" altLang="en-US" sz="800" smtClean="0"/>
              <a:pPr/>
              <a:t>Slovenië</a:t>
            </a:fld>
            <a:endParaRPr lang="en-GB" sz="800" dirty="0">
              <a:sym typeface="+mn-lt"/>
            </a:endParaRPr>
          </a:p>
        </p:txBody>
      </p:sp>
      <p:sp>
        <p:nvSpPr>
          <p:cNvPr id="478" name="Text Placeholder 4">
            <a:extLst>
              <a:ext uri="{FF2B5EF4-FFF2-40B4-BE49-F238E27FC236}">
                <a16:creationId xmlns:a16="http://schemas.microsoft.com/office/drawing/2014/main" id="{4C1F3293-4EFE-461D-940D-7EE66BAE31C5}"/>
              </a:ext>
            </a:extLst>
          </p:cNvPr>
          <p:cNvSpPr>
            <a:spLocks noGrp="1"/>
          </p:cNvSpPr>
          <p:nvPr>
            <p:custDataLst>
              <p:tags r:id="rId13"/>
            </p:custDataLst>
          </p:nvPr>
        </p:nvSpPr>
        <p:spPr bwMode="auto">
          <a:xfrm>
            <a:off x="4424363" y="2014538"/>
            <a:ext cx="23812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5D744C28-FB96-49C9-AE4D-CCD7B7378951}" type="datetime'''''''''''''''''J''''''''''''''a''pan'''''''''''">
              <a:rPr lang="en-GB" altLang="en-US" sz="800" smtClean="0">
                <a:sym typeface="+mn-lt"/>
              </a:rPr>
              <a:pPr>
                <a:spcBef>
                  <a:spcPct val="0"/>
                </a:spcBef>
                <a:spcAft>
                  <a:spcPct val="0"/>
                </a:spcAft>
              </a:pPr>
              <a:t>Japan</a:t>
            </a:fld>
            <a:endParaRPr lang="en-GB" sz="800" dirty="0">
              <a:sym typeface="+mn-lt"/>
            </a:endParaRPr>
          </a:p>
        </p:txBody>
      </p:sp>
      <p:sp>
        <p:nvSpPr>
          <p:cNvPr id="479" name="Text Placeholder 4">
            <a:extLst>
              <a:ext uri="{FF2B5EF4-FFF2-40B4-BE49-F238E27FC236}">
                <a16:creationId xmlns:a16="http://schemas.microsoft.com/office/drawing/2014/main" id="{4C1F3293-4EFE-461D-940D-7EE66BAE31C5}"/>
              </a:ext>
            </a:extLst>
          </p:cNvPr>
          <p:cNvSpPr>
            <a:spLocks noGrp="1"/>
          </p:cNvSpPr>
          <p:nvPr>
            <p:custDataLst>
              <p:tags r:id="rId14"/>
            </p:custDataLst>
          </p:nvPr>
        </p:nvSpPr>
        <p:spPr bwMode="auto">
          <a:xfrm>
            <a:off x="4424363" y="2136775"/>
            <a:ext cx="452438"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11296CEE-E52F-4988-92BE-4309FA517954}" type="datetime'''Zu''''''i''d''''''''''''''-''''''K''''o''r''''''ea'''''''''">
              <a:rPr lang="en-GB" altLang="en-US" sz="800" smtClean="0"/>
              <a:pPr/>
              <a:t>Zuid-Korea</a:t>
            </a:fld>
            <a:endParaRPr lang="en-GB" sz="800" dirty="0">
              <a:sym typeface="+mn-lt"/>
            </a:endParaRPr>
          </a:p>
        </p:txBody>
      </p:sp>
      <p:sp>
        <p:nvSpPr>
          <p:cNvPr id="519" name="Text Placeholder 4">
            <a:extLst>
              <a:ext uri="{FF2B5EF4-FFF2-40B4-BE49-F238E27FC236}">
                <a16:creationId xmlns:a16="http://schemas.microsoft.com/office/drawing/2014/main" id="{4C1F3293-4EFE-461D-940D-7EE66BAE31C5}"/>
              </a:ext>
            </a:extLst>
          </p:cNvPr>
          <p:cNvSpPr>
            <a:spLocks noGrp="1"/>
          </p:cNvSpPr>
          <p:nvPr>
            <p:custDataLst>
              <p:tags r:id="rId15"/>
            </p:custDataLst>
          </p:nvPr>
        </p:nvSpPr>
        <p:spPr bwMode="auto">
          <a:xfrm>
            <a:off x="4424362" y="5568950"/>
            <a:ext cx="712788"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0A3B9C4D-9BFB-4D9D-8195-CDE5A1B58FC0}" type="datetime'''V''er''''eni''''g''''''de S''tat''''''''''''e''''''''''n'">
              <a:rPr lang="en-GB" altLang="en-US" sz="800" smtClean="0"/>
              <a:pPr/>
              <a:t>Verenigde Staten</a:t>
            </a:fld>
            <a:endParaRPr lang="en-GB" sz="800" dirty="0">
              <a:sym typeface="+mn-lt"/>
            </a:endParaRPr>
          </a:p>
        </p:txBody>
      </p:sp>
      <p:sp>
        <p:nvSpPr>
          <p:cNvPr id="481" name="Text Placeholder 4">
            <a:extLst>
              <a:ext uri="{FF2B5EF4-FFF2-40B4-BE49-F238E27FC236}">
                <a16:creationId xmlns:a16="http://schemas.microsoft.com/office/drawing/2014/main" id="{4C1F3293-4EFE-461D-940D-7EE66BAE31C5}"/>
              </a:ext>
            </a:extLst>
          </p:cNvPr>
          <p:cNvSpPr>
            <a:spLocks noGrp="1"/>
          </p:cNvSpPr>
          <p:nvPr>
            <p:custDataLst>
              <p:tags r:id="rId16"/>
            </p:custDataLst>
          </p:nvPr>
        </p:nvSpPr>
        <p:spPr bwMode="auto">
          <a:xfrm>
            <a:off x="4424363" y="2260600"/>
            <a:ext cx="30321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F4D03381-B8A1-4E45-AAEE-E58F8E246740}" type="datetime'''''''''''''''''''''''''''''''''Est''la''''''''''nd'''''''">
              <a:rPr lang="en-GB" altLang="en-US" sz="800" smtClean="0">
                <a:sym typeface="+mn-lt"/>
              </a:rPr>
              <a:pPr>
                <a:spcBef>
                  <a:spcPct val="0"/>
                </a:spcBef>
                <a:spcAft>
                  <a:spcPct val="0"/>
                </a:spcAft>
              </a:pPr>
              <a:t>Estland</a:t>
            </a:fld>
            <a:endParaRPr lang="en-GB" sz="800" dirty="0">
              <a:sym typeface="+mn-lt"/>
            </a:endParaRPr>
          </a:p>
        </p:txBody>
      </p:sp>
      <p:sp>
        <p:nvSpPr>
          <p:cNvPr id="518" name="Text Placeholder 4">
            <a:extLst>
              <a:ext uri="{FF2B5EF4-FFF2-40B4-BE49-F238E27FC236}">
                <a16:creationId xmlns:a16="http://schemas.microsoft.com/office/drawing/2014/main" id="{4C1F3293-4EFE-461D-940D-7EE66BAE31C5}"/>
              </a:ext>
            </a:extLst>
          </p:cNvPr>
          <p:cNvSpPr>
            <a:spLocks noGrp="1"/>
          </p:cNvSpPr>
          <p:nvPr>
            <p:custDataLst>
              <p:tags r:id="rId17"/>
            </p:custDataLst>
          </p:nvPr>
        </p:nvSpPr>
        <p:spPr bwMode="auto">
          <a:xfrm>
            <a:off x="4424363" y="5446713"/>
            <a:ext cx="401638"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2BDA5315-CCE7-449B-8A2F-FD09318F3E3E}" type="datetime'''''H''o''''''''n''''g''''ar''''i''''''''''''''''''j''''e'''">
              <a:rPr lang="en-GB" altLang="en-US" sz="800" smtClean="0">
                <a:sym typeface="+mn-lt"/>
              </a:rPr>
              <a:pPr>
                <a:spcBef>
                  <a:spcPct val="0"/>
                </a:spcBef>
                <a:spcAft>
                  <a:spcPct val="0"/>
                </a:spcAft>
              </a:pPr>
              <a:t>Hongarije</a:t>
            </a:fld>
            <a:endParaRPr lang="en-GB" sz="800" dirty="0">
              <a:sym typeface="+mn-lt"/>
            </a:endParaRPr>
          </a:p>
        </p:txBody>
      </p:sp>
      <p:sp>
        <p:nvSpPr>
          <p:cNvPr id="482" name="Text Placeholder 4">
            <a:extLst>
              <a:ext uri="{FF2B5EF4-FFF2-40B4-BE49-F238E27FC236}">
                <a16:creationId xmlns:a16="http://schemas.microsoft.com/office/drawing/2014/main" id="{4C1F3293-4EFE-461D-940D-7EE66BAE31C5}"/>
              </a:ext>
            </a:extLst>
          </p:cNvPr>
          <p:cNvSpPr>
            <a:spLocks noGrp="1"/>
          </p:cNvSpPr>
          <p:nvPr>
            <p:custDataLst>
              <p:tags r:id="rId18"/>
            </p:custDataLst>
          </p:nvPr>
        </p:nvSpPr>
        <p:spPr bwMode="auto">
          <a:xfrm>
            <a:off x="4424363" y="2382838"/>
            <a:ext cx="44291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818AAADB-754A-49E1-8C9E-215CCE46D97A}" type="datetime'''N''ed''''''''''''''''e''r''l''''a''''n''''''''d'''''">
              <a:rPr lang="en-GB" altLang="en-US" sz="800" b="1" smtClean="0">
                <a:solidFill>
                  <a:schemeClr val="accent2"/>
                </a:solidFill>
              </a:rPr>
              <a:pPr/>
              <a:t>Nederland</a:t>
            </a:fld>
            <a:endParaRPr lang="en-GB" sz="800" b="1" dirty="0">
              <a:solidFill>
                <a:schemeClr val="accent2"/>
              </a:solidFill>
              <a:sym typeface="+mn-lt"/>
            </a:endParaRPr>
          </a:p>
        </p:txBody>
      </p:sp>
      <p:sp>
        <p:nvSpPr>
          <p:cNvPr id="483" name="Text Placeholder 4">
            <a:extLst>
              <a:ext uri="{FF2B5EF4-FFF2-40B4-BE49-F238E27FC236}">
                <a16:creationId xmlns:a16="http://schemas.microsoft.com/office/drawing/2014/main" id="{4C1F3293-4EFE-461D-940D-7EE66BAE31C5}"/>
              </a:ext>
            </a:extLst>
          </p:cNvPr>
          <p:cNvSpPr>
            <a:spLocks noGrp="1"/>
          </p:cNvSpPr>
          <p:nvPr>
            <p:custDataLst>
              <p:tags r:id="rId19"/>
            </p:custDataLst>
          </p:nvPr>
        </p:nvSpPr>
        <p:spPr bwMode="auto">
          <a:xfrm>
            <a:off x="4424363" y="2505075"/>
            <a:ext cx="23495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21982412-F66F-46BE-9A91-2781449B5B6D}" type="datetime'''''''''''''''''''''''''P''o''''''''''le''''''''n'''''">
              <a:rPr lang="en-GB" altLang="en-US" sz="800" smtClean="0">
                <a:sym typeface="+mn-lt"/>
              </a:rPr>
              <a:pPr>
                <a:spcBef>
                  <a:spcPct val="0"/>
                </a:spcBef>
                <a:spcAft>
                  <a:spcPct val="0"/>
                </a:spcAft>
              </a:pPr>
              <a:t>Polen</a:t>
            </a:fld>
            <a:endParaRPr lang="en-GB" sz="800" dirty="0">
              <a:sym typeface="+mn-lt"/>
            </a:endParaRPr>
          </a:p>
        </p:txBody>
      </p:sp>
      <p:sp>
        <p:nvSpPr>
          <p:cNvPr id="504" name="Text Placeholder 4">
            <a:extLst>
              <a:ext uri="{FF2B5EF4-FFF2-40B4-BE49-F238E27FC236}">
                <a16:creationId xmlns:a16="http://schemas.microsoft.com/office/drawing/2014/main" id="{4C1F3293-4EFE-461D-940D-7EE66BAE31C5}"/>
              </a:ext>
            </a:extLst>
          </p:cNvPr>
          <p:cNvSpPr>
            <a:spLocks noGrp="1"/>
          </p:cNvSpPr>
          <p:nvPr>
            <p:custDataLst>
              <p:tags r:id="rId20"/>
            </p:custDataLst>
          </p:nvPr>
        </p:nvSpPr>
        <p:spPr bwMode="auto">
          <a:xfrm>
            <a:off x="4424363" y="3730625"/>
            <a:ext cx="3937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88DA8530-C863-4EFF-B806-6152D8379960}" type="datetime'''Du''i''''''''''''t''s''''l''''a''''''''''''''''''n''''''d'''">
              <a:rPr lang="en-GB" altLang="en-US" sz="800" smtClean="0">
                <a:sym typeface="+mn-lt"/>
              </a:rPr>
              <a:pPr>
                <a:spcBef>
                  <a:spcPct val="0"/>
                </a:spcBef>
                <a:spcAft>
                  <a:spcPct val="0"/>
                </a:spcAft>
              </a:pPr>
              <a:t>Duitsland</a:t>
            </a:fld>
            <a:endParaRPr lang="en-GB" sz="800" dirty="0">
              <a:sym typeface="+mn-lt"/>
            </a:endParaRPr>
          </a:p>
        </p:txBody>
      </p:sp>
      <p:sp>
        <p:nvSpPr>
          <p:cNvPr id="484" name="Text Placeholder 4">
            <a:extLst>
              <a:ext uri="{FF2B5EF4-FFF2-40B4-BE49-F238E27FC236}">
                <a16:creationId xmlns:a16="http://schemas.microsoft.com/office/drawing/2014/main" id="{4C1F3293-4EFE-461D-940D-7EE66BAE31C5}"/>
              </a:ext>
            </a:extLst>
          </p:cNvPr>
          <p:cNvSpPr>
            <a:spLocks noGrp="1"/>
          </p:cNvSpPr>
          <p:nvPr>
            <p:custDataLst>
              <p:tags r:id="rId21"/>
            </p:custDataLst>
          </p:nvPr>
        </p:nvSpPr>
        <p:spPr bwMode="auto">
          <a:xfrm>
            <a:off x="4424363" y="2627313"/>
            <a:ext cx="484188"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0C2AE486-1DFF-42BA-B820-06EA3744B1A7}" type="datetime'''''''Z''''''''''w''it''''''''se''''r''''''''l''''a''n''''d'''">
              <a:rPr lang="en-GB" altLang="en-US" sz="800" smtClean="0">
                <a:sym typeface="+mn-lt"/>
              </a:rPr>
              <a:pPr>
                <a:spcBef>
                  <a:spcPct val="0"/>
                </a:spcBef>
                <a:spcAft>
                  <a:spcPct val="0"/>
                </a:spcAft>
              </a:pPr>
              <a:t>Zwitserland</a:t>
            </a:fld>
            <a:endParaRPr lang="en-GB" sz="800" dirty="0">
              <a:sym typeface="+mn-lt"/>
            </a:endParaRPr>
          </a:p>
        </p:txBody>
      </p:sp>
      <p:sp>
        <p:nvSpPr>
          <p:cNvPr id="505" name="Text Placeholder 4">
            <a:extLst>
              <a:ext uri="{FF2B5EF4-FFF2-40B4-BE49-F238E27FC236}">
                <a16:creationId xmlns:a16="http://schemas.microsoft.com/office/drawing/2014/main" id="{4C1F3293-4EFE-461D-940D-7EE66BAE31C5}"/>
              </a:ext>
            </a:extLst>
          </p:cNvPr>
          <p:cNvSpPr>
            <a:spLocks noGrp="1"/>
          </p:cNvSpPr>
          <p:nvPr>
            <p:custDataLst>
              <p:tags r:id="rId22"/>
            </p:custDataLst>
          </p:nvPr>
        </p:nvSpPr>
        <p:spPr bwMode="auto">
          <a:xfrm>
            <a:off x="4424363" y="3852863"/>
            <a:ext cx="2921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BC9719F8-384B-432A-B78D-6AB729878B64}" type="datetime'I''''e''''''''''r''''''''''''''''''l''''a''''n''''d'''''''''''">
              <a:rPr lang="en-GB" altLang="en-US" sz="800" smtClean="0"/>
              <a:pPr/>
              <a:t>Ierland</a:t>
            </a:fld>
            <a:endParaRPr lang="en-GB" sz="800" dirty="0">
              <a:sym typeface="+mn-lt"/>
            </a:endParaRPr>
          </a:p>
        </p:txBody>
      </p:sp>
      <p:sp>
        <p:nvSpPr>
          <p:cNvPr id="485" name="Text Placeholder 4">
            <a:extLst>
              <a:ext uri="{FF2B5EF4-FFF2-40B4-BE49-F238E27FC236}">
                <a16:creationId xmlns:a16="http://schemas.microsoft.com/office/drawing/2014/main" id="{4C1F3293-4EFE-461D-940D-7EE66BAE31C5}"/>
              </a:ext>
            </a:extLst>
          </p:cNvPr>
          <p:cNvSpPr>
            <a:spLocks noGrp="1"/>
          </p:cNvSpPr>
          <p:nvPr>
            <p:custDataLst>
              <p:tags r:id="rId23"/>
            </p:custDataLst>
          </p:nvPr>
        </p:nvSpPr>
        <p:spPr bwMode="auto">
          <a:xfrm>
            <a:off x="4424363" y="2749550"/>
            <a:ext cx="30956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D3EF1DE9-A85F-4B92-9C72-A4E3C87FBACD}" type="datetime'C''an''''''''''''''''a''d''''''''''''''''''''a'''''">
              <a:rPr lang="en-GB" altLang="en-US" sz="800" smtClean="0">
                <a:sym typeface="+mn-lt"/>
              </a:rPr>
              <a:pPr>
                <a:spcBef>
                  <a:spcPct val="0"/>
                </a:spcBef>
                <a:spcAft>
                  <a:spcPct val="0"/>
                </a:spcAft>
              </a:pPr>
              <a:t>Canada</a:t>
            </a:fld>
            <a:endParaRPr lang="en-GB" sz="800" dirty="0">
              <a:sym typeface="+mn-lt"/>
            </a:endParaRPr>
          </a:p>
        </p:txBody>
      </p:sp>
      <p:sp>
        <p:nvSpPr>
          <p:cNvPr id="507" name="Text Placeholder 4">
            <a:extLst>
              <a:ext uri="{FF2B5EF4-FFF2-40B4-BE49-F238E27FC236}">
                <a16:creationId xmlns:a16="http://schemas.microsoft.com/office/drawing/2014/main" id="{4C1F3293-4EFE-461D-940D-7EE66BAE31C5}"/>
              </a:ext>
            </a:extLst>
          </p:cNvPr>
          <p:cNvSpPr>
            <a:spLocks noGrp="1"/>
          </p:cNvSpPr>
          <p:nvPr>
            <p:custDataLst>
              <p:tags r:id="rId24"/>
            </p:custDataLst>
          </p:nvPr>
        </p:nvSpPr>
        <p:spPr bwMode="auto">
          <a:xfrm>
            <a:off x="4424363" y="4343400"/>
            <a:ext cx="3587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6C07F08B-3BE6-4A81-88EF-311B45FA6243}" type="datetime'''''F''''''''''''''''ran''''''''k''''''''''''''r''ij''''''k'">
              <a:rPr lang="en-GB" altLang="en-US" sz="800" smtClean="0">
                <a:sym typeface="+mn-lt"/>
              </a:rPr>
              <a:pPr>
                <a:spcBef>
                  <a:spcPct val="0"/>
                </a:spcBef>
                <a:spcAft>
                  <a:spcPct val="0"/>
                </a:spcAft>
              </a:pPr>
              <a:t>Frankrijk</a:t>
            </a:fld>
            <a:endParaRPr lang="en-GB" sz="800" dirty="0">
              <a:sym typeface="+mn-lt"/>
            </a:endParaRPr>
          </a:p>
        </p:txBody>
      </p:sp>
      <p:sp>
        <p:nvSpPr>
          <p:cNvPr id="523" name="Text Placeholder 4">
            <a:extLst>
              <a:ext uri="{FF2B5EF4-FFF2-40B4-BE49-F238E27FC236}">
                <a16:creationId xmlns:a16="http://schemas.microsoft.com/office/drawing/2014/main" id="{4C1F3293-4EFE-461D-940D-7EE66BAE31C5}"/>
              </a:ext>
            </a:extLst>
          </p:cNvPr>
          <p:cNvSpPr>
            <a:spLocks noGrp="1"/>
          </p:cNvSpPr>
          <p:nvPr>
            <p:custDataLst>
              <p:tags r:id="rId25"/>
            </p:custDataLst>
          </p:nvPr>
        </p:nvSpPr>
        <p:spPr bwMode="auto">
          <a:xfrm>
            <a:off x="4424363" y="5813425"/>
            <a:ext cx="2825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54B42CF1-55DF-4728-88AE-1F884EC05E52}" type="datetime'''T''''''''''''''''''''u''''''''''''''''r''''''''ki''''j''''e'">
              <a:rPr lang="en-GB" altLang="en-US" sz="800" smtClean="0"/>
              <a:pPr/>
              <a:t>Turkije</a:t>
            </a:fld>
            <a:endParaRPr lang="en-GB" sz="800" dirty="0">
              <a:sym typeface="+mn-lt"/>
            </a:endParaRPr>
          </a:p>
        </p:txBody>
      </p:sp>
      <p:sp>
        <p:nvSpPr>
          <p:cNvPr id="489" name="Text Placeholder 4">
            <a:extLst>
              <a:ext uri="{FF2B5EF4-FFF2-40B4-BE49-F238E27FC236}">
                <a16:creationId xmlns:a16="http://schemas.microsoft.com/office/drawing/2014/main" id="{4C1F3293-4EFE-461D-940D-7EE66BAE31C5}"/>
              </a:ext>
            </a:extLst>
          </p:cNvPr>
          <p:cNvSpPr>
            <a:spLocks noGrp="1"/>
          </p:cNvSpPr>
          <p:nvPr>
            <p:custDataLst>
              <p:tags r:id="rId26"/>
            </p:custDataLst>
          </p:nvPr>
        </p:nvSpPr>
        <p:spPr bwMode="auto">
          <a:xfrm>
            <a:off x="4424363" y="3117850"/>
            <a:ext cx="25241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39DBF28F-7509-4F3C-B163-8F3306236B04}" type="datetime'''''''''''''''''''B''''el''''''gi''''''''ë'''''''''''''''''''">
              <a:rPr lang="en-GB" altLang="en-US" sz="800" smtClean="0"/>
              <a:pPr/>
              <a:t>België</a:t>
            </a:fld>
            <a:endParaRPr lang="en-GB" sz="800" dirty="0">
              <a:sym typeface="+mn-lt"/>
            </a:endParaRPr>
          </a:p>
        </p:txBody>
      </p:sp>
      <p:sp>
        <p:nvSpPr>
          <p:cNvPr id="490" name="Text Placeholder 4">
            <a:extLst>
              <a:ext uri="{FF2B5EF4-FFF2-40B4-BE49-F238E27FC236}">
                <a16:creationId xmlns:a16="http://schemas.microsoft.com/office/drawing/2014/main" id="{4C1F3293-4EFE-461D-940D-7EE66BAE31C5}"/>
              </a:ext>
            </a:extLst>
          </p:cNvPr>
          <p:cNvSpPr>
            <a:spLocks noGrp="1"/>
          </p:cNvSpPr>
          <p:nvPr>
            <p:custDataLst>
              <p:tags r:id="rId27"/>
            </p:custDataLst>
          </p:nvPr>
        </p:nvSpPr>
        <p:spPr bwMode="auto">
          <a:xfrm>
            <a:off x="4424363" y="3240088"/>
            <a:ext cx="3048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45793753-1443-4A52-AC73-AD0073881508}" type="datetime'''''F''i''''''''''''nl''''''''''''a''n''''''d'''''''">
              <a:rPr lang="en-GB" altLang="en-US" sz="800" smtClean="0">
                <a:sym typeface="+mn-lt"/>
              </a:rPr>
              <a:pPr>
                <a:spcBef>
                  <a:spcPct val="0"/>
                </a:spcBef>
                <a:spcAft>
                  <a:spcPct val="0"/>
                </a:spcAft>
              </a:pPr>
              <a:t>Finland</a:t>
            </a:fld>
            <a:endParaRPr lang="en-GB" sz="800" dirty="0">
              <a:sym typeface="+mn-lt"/>
            </a:endParaRPr>
          </a:p>
        </p:txBody>
      </p:sp>
      <p:sp>
        <p:nvSpPr>
          <p:cNvPr id="501" name="Text Placeholder 4">
            <a:extLst>
              <a:ext uri="{FF2B5EF4-FFF2-40B4-BE49-F238E27FC236}">
                <a16:creationId xmlns:a16="http://schemas.microsoft.com/office/drawing/2014/main" id="{4C1F3293-4EFE-461D-940D-7EE66BAE31C5}"/>
              </a:ext>
            </a:extLst>
          </p:cNvPr>
          <p:cNvSpPr>
            <a:spLocks noGrp="1"/>
          </p:cNvSpPr>
          <p:nvPr>
            <p:custDataLst>
              <p:tags r:id="rId28"/>
            </p:custDataLst>
          </p:nvPr>
        </p:nvSpPr>
        <p:spPr bwMode="auto">
          <a:xfrm>
            <a:off x="4424363" y="3362325"/>
            <a:ext cx="3302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CB34FA5E-2759-417E-B0EE-B6AA250D4CE2}" type="datetime'Z''''''''''''''''''''''''''''''w''''e''''''''''''den'''">
              <a:rPr lang="en-GB" altLang="en-US" sz="800" smtClean="0">
                <a:sym typeface="+mn-lt"/>
              </a:rPr>
              <a:pPr>
                <a:spcBef>
                  <a:spcPct val="0"/>
                </a:spcBef>
                <a:spcAft>
                  <a:spcPct val="0"/>
                </a:spcAft>
              </a:pPr>
              <a:t>Zweden</a:t>
            </a:fld>
            <a:endParaRPr lang="en-GB" sz="800" dirty="0">
              <a:sym typeface="+mn-lt"/>
            </a:endParaRPr>
          </a:p>
        </p:txBody>
      </p:sp>
      <p:sp>
        <p:nvSpPr>
          <p:cNvPr id="503" name="Text Placeholder 4">
            <a:extLst>
              <a:ext uri="{FF2B5EF4-FFF2-40B4-BE49-F238E27FC236}">
                <a16:creationId xmlns:a16="http://schemas.microsoft.com/office/drawing/2014/main" id="{4C1F3293-4EFE-461D-940D-7EE66BAE31C5}"/>
              </a:ext>
            </a:extLst>
          </p:cNvPr>
          <p:cNvSpPr>
            <a:spLocks noGrp="1"/>
          </p:cNvSpPr>
          <p:nvPr>
            <p:custDataLst>
              <p:tags r:id="rId29"/>
            </p:custDataLst>
          </p:nvPr>
        </p:nvSpPr>
        <p:spPr bwMode="auto">
          <a:xfrm>
            <a:off x="4424363" y="3608388"/>
            <a:ext cx="484188"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8340522D-97B4-48E7-8E69-398978BC2AFB}" type="datetime'''N''''''''''o''''''o''''''r''''''''''''we''g''''en'">
              <a:rPr lang="en-GB" altLang="en-US" sz="800" smtClean="0">
                <a:sym typeface="+mn-lt"/>
              </a:rPr>
              <a:pPr>
                <a:spcBef>
                  <a:spcPct val="0"/>
                </a:spcBef>
                <a:spcAft>
                  <a:spcPct val="0"/>
                </a:spcAft>
              </a:pPr>
              <a:t>Noorwegen</a:t>
            </a:fld>
            <a:endParaRPr lang="en-GB" sz="800" dirty="0">
              <a:sym typeface="+mn-lt"/>
            </a:endParaRPr>
          </a:p>
        </p:txBody>
      </p:sp>
      <p:sp>
        <p:nvSpPr>
          <p:cNvPr id="655" name="Text Placeholder 4">
            <a:extLst>
              <a:ext uri="{FF2B5EF4-FFF2-40B4-BE49-F238E27FC236}">
                <a16:creationId xmlns:a16="http://schemas.microsoft.com/office/drawing/2014/main" id="{3DFB162E-D7AB-4A2E-AC01-1158BC0E1507}"/>
              </a:ext>
            </a:extLst>
          </p:cNvPr>
          <p:cNvSpPr>
            <a:spLocks noGrp="1"/>
          </p:cNvSpPr>
          <p:nvPr>
            <p:custDataLst>
              <p:tags r:id="rId30"/>
            </p:custDataLst>
          </p:nvPr>
        </p:nvSpPr>
        <p:spPr bwMode="auto">
          <a:xfrm>
            <a:off x="4424364" y="4221163"/>
            <a:ext cx="3079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98051077-2617-4C53-A65C-A1AB5D77C9E0}" type="datetime'''L''''''e''''''t''''''''''''''''''''''''la''''n''''''''''d'">
              <a:rPr lang="en-GB" altLang="en-US" sz="800" smtClean="0"/>
              <a:pPr/>
              <a:t>Letland</a:t>
            </a:fld>
            <a:endParaRPr lang="en-GB" sz="800" dirty="0">
              <a:sym typeface="+mn-lt"/>
            </a:endParaRPr>
          </a:p>
        </p:txBody>
      </p:sp>
      <p:sp>
        <p:nvSpPr>
          <p:cNvPr id="676" name="Text Placeholder 4">
            <a:extLst>
              <a:ext uri="{FF2B5EF4-FFF2-40B4-BE49-F238E27FC236}">
                <a16:creationId xmlns:a16="http://schemas.microsoft.com/office/drawing/2014/main" id="{E0CCE5B2-7170-4928-9777-D30548267874}"/>
              </a:ext>
            </a:extLst>
          </p:cNvPr>
          <p:cNvSpPr>
            <a:spLocks noGrp="1"/>
          </p:cNvSpPr>
          <p:nvPr>
            <p:custDataLst>
              <p:tags r:id="rId31"/>
            </p:custDataLst>
          </p:nvPr>
        </p:nvSpPr>
        <p:spPr bwMode="auto">
          <a:xfrm>
            <a:off x="4424363" y="6181725"/>
            <a:ext cx="30321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341EC459-7D69-4315-8BB7-248D46A25BBA}" type="datetime'Me''''''''''''x''''''''''''''''''''''''''''''''''ico'''">
              <a:rPr lang="en-GB" altLang="en-US" sz="800" smtClean="0"/>
              <a:pPr/>
              <a:t>Mexico</a:t>
            </a:fld>
            <a:endParaRPr lang="en-GB" sz="800" dirty="0">
              <a:sym typeface="+mn-lt"/>
            </a:endParaRPr>
          </a:p>
        </p:txBody>
      </p:sp>
      <p:sp>
        <p:nvSpPr>
          <p:cNvPr id="663" name="Text Placeholder 4">
            <a:extLst>
              <a:ext uri="{FF2B5EF4-FFF2-40B4-BE49-F238E27FC236}">
                <a16:creationId xmlns:a16="http://schemas.microsoft.com/office/drawing/2014/main" id="{A6329988-BE5D-434A-9F60-E732F74100E2}"/>
              </a:ext>
            </a:extLst>
          </p:cNvPr>
          <p:cNvSpPr>
            <a:spLocks noGrp="1"/>
          </p:cNvSpPr>
          <p:nvPr>
            <p:custDataLst>
              <p:tags r:id="rId32"/>
            </p:custDataLst>
          </p:nvPr>
        </p:nvSpPr>
        <p:spPr bwMode="auto">
          <a:xfrm>
            <a:off x="4424363" y="5078413"/>
            <a:ext cx="39052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9169533D-4702-463E-953F-B0734FF9D844}" type="datetime'Sl''o''w''''''a''''''''''ki''''''''''''''j''''''''''''''e'">
              <a:rPr lang="en-GB" altLang="en-US" sz="800" smtClean="0"/>
              <a:pPr/>
              <a:t>Slowakije</a:t>
            </a:fld>
            <a:endParaRPr lang="en-GB" sz="800" dirty="0">
              <a:sym typeface="+mn-lt"/>
            </a:endParaRPr>
          </a:p>
        </p:txBody>
      </p:sp>
      <p:sp>
        <p:nvSpPr>
          <p:cNvPr id="508" name="Text Placeholder 4">
            <a:extLst>
              <a:ext uri="{FF2B5EF4-FFF2-40B4-BE49-F238E27FC236}">
                <a16:creationId xmlns:a16="http://schemas.microsoft.com/office/drawing/2014/main" id="{4C1F3293-4EFE-461D-940D-7EE66BAE31C5}"/>
              </a:ext>
            </a:extLst>
          </p:cNvPr>
          <p:cNvSpPr>
            <a:spLocks noGrp="1"/>
          </p:cNvSpPr>
          <p:nvPr>
            <p:custDataLst>
              <p:tags r:id="rId33"/>
            </p:custDataLst>
          </p:nvPr>
        </p:nvSpPr>
        <p:spPr bwMode="auto">
          <a:xfrm>
            <a:off x="4424363" y="4465638"/>
            <a:ext cx="27781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FAD9A368-5D98-482B-9C77-DEF6A2AC0D21}" type="datetime'I''''''''''J''''''''''''''''''''''s''l''''a''''''nd'''''''''">
              <a:rPr lang="en-GB" altLang="en-US" sz="800" smtClean="0"/>
              <a:pPr/>
              <a:t>IJsland</a:t>
            </a:fld>
            <a:endParaRPr lang="en-GB" sz="800" dirty="0">
              <a:sym typeface="+mn-lt"/>
            </a:endParaRPr>
          </a:p>
        </p:txBody>
      </p:sp>
      <p:sp>
        <p:nvSpPr>
          <p:cNvPr id="509" name="Text Placeholder 4">
            <a:extLst>
              <a:ext uri="{FF2B5EF4-FFF2-40B4-BE49-F238E27FC236}">
                <a16:creationId xmlns:a16="http://schemas.microsoft.com/office/drawing/2014/main" id="{4C1F3293-4EFE-461D-940D-7EE66BAE31C5}"/>
              </a:ext>
            </a:extLst>
          </p:cNvPr>
          <p:cNvSpPr>
            <a:spLocks noGrp="1"/>
          </p:cNvSpPr>
          <p:nvPr>
            <p:custDataLst>
              <p:tags r:id="rId34"/>
            </p:custDataLst>
          </p:nvPr>
        </p:nvSpPr>
        <p:spPr bwMode="auto">
          <a:xfrm>
            <a:off x="4424363" y="4587875"/>
            <a:ext cx="62865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44B125EA-C5F5-4BD3-867D-675F330C771B}" type="datetime'''''''''N''i''''e''''uw-''''Z''e''''''e''''''''l''a''nd'''''">
              <a:rPr lang="en-GB" altLang="en-US" sz="800" smtClean="0">
                <a:sym typeface="+mn-lt"/>
              </a:rPr>
              <a:pPr>
                <a:spcBef>
                  <a:spcPct val="0"/>
                </a:spcBef>
                <a:spcAft>
                  <a:spcPct val="0"/>
                </a:spcAft>
              </a:pPr>
              <a:t>Nieuw-Zeeland</a:t>
            </a:fld>
            <a:endParaRPr lang="en-GB" sz="800" dirty="0">
              <a:sym typeface="+mn-lt"/>
            </a:endParaRPr>
          </a:p>
        </p:txBody>
      </p:sp>
      <p:sp>
        <p:nvSpPr>
          <p:cNvPr id="510" name="Text Placeholder 4">
            <a:extLst>
              <a:ext uri="{FF2B5EF4-FFF2-40B4-BE49-F238E27FC236}">
                <a16:creationId xmlns:a16="http://schemas.microsoft.com/office/drawing/2014/main" id="{4C1F3293-4EFE-461D-940D-7EE66BAE31C5}"/>
              </a:ext>
            </a:extLst>
          </p:cNvPr>
          <p:cNvSpPr>
            <a:spLocks noGrp="1"/>
          </p:cNvSpPr>
          <p:nvPr>
            <p:custDataLst>
              <p:tags r:id="rId35"/>
            </p:custDataLst>
          </p:nvPr>
        </p:nvSpPr>
        <p:spPr bwMode="auto">
          <a:xfrm>
            <a:off x="4424363" y="4711700"/>
            <a:ext cx="34925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3CA683E2-4795-4AEE-9DFF-662E5732EEC1}" type="datetime'''''''''''''''''''''P''or''t''''''''u''g''''a''''''l'''">
              <a:rPr lang="en-GB" altLang="en-US" sz="800" smtClean="0">
                <a:sym typeface="+mn-lt"/>
              </a:rPr>
              <a:pPr>
                <a:spcBef>
                  <a:spcPct val="0"/>
                </a:spcBef>
                <a:spcAft>
                  <a:spcPct val="0"/>
                </a:spcAft>
              </a:pPr>
              <a:t>Portugal</a:t>
            </a:fld>
            <a:endParaRPr lang="en-GB" sz="800" dirty="0">
              <a:sym typeface="+mn-lt"/>
            </a:endParaRPr>
          </a:p>
        </p:txBody>
      </p:sp>
      <p:sp>
        <p:nvSpPr>
          <p:cNvPr id="511" name="Text Placeholder 4">
            <a:extLst>
              <a:ext uri="{FF2B5EF4-FFF2-40B4-BE49-F238E27FC236}">
                <a16:creationId xmlns:a16="http://schemas.microsoft.com/office/drawing/2014/main" id="{4C1F3293-4EFE-461D-940D-7EE66BAE31C5}"/>
              </a:ext>
            </a:extLst>
          </p:cNvPr>
          <p:cNvSpPr>
            <a:spLocks noGrp="1"/>
          </p:cNvSpPr>
          <p:nvPr>
            <p:custDataLst>
              <p:tags r:id="rId36"/>
            </p:custDataLst>
          </p:nvPr>
        </p:nvSpPr>
        <p:spPr bwMode="auto">
          <a:xfrm>
            <a:off x="4424363" y="4833938"/>
            <a:ext cx="3683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2E3E461D-522C-467C-A373-5975EC1CFF13}" type="datetime'''''''''''''''''Au''''''s''''''t''''''ra''li''''''''ë'">
              <a:rPr lang="en-GB" altLang="en-US" sz="800" smtClean="0"/>
              <a:pPr/>
              <a:t>Australië</a:t>
            </a:fld>
            <a:endParaRPr lang="en-GB" sz="800" dirty="0">
              <a:sym typeface="+mn-lt"/>
            </a:endParaRPr>
          </a:p>
        </p:txBody>
      </p:sp>
      <p:sp>
        <p:nvSpPr>
          <p:cNvPr id="513" name="Text Placeholder 4">
            <a:extLst>
              <a:ext uri="{FF2B5EF4-FFF2-40B4-BE49-F238E27FC236}">
                <a16:creationId xmlns:a16="http://schemas.microsoft.com/office/drawing/2014/main" id="{4C1F3293-4EFE-461D-940D-7EE66BAE31C5}"/>
              </a:ext>
            </a:extLst>
          </p:cNvPr>
          <p:cNvSpPr>
            <a:spLocks noGrp="1"/>
          </p:cNvSpPr>
          <p:nvPr>
            <p:custDataLst>
              <p:tags r:id="rId37"/>
            </p:custDataLst>
          </p:nvPr>
        </p:nvSpPr>
        <p:spPr bwMode="auto">
          <a:xfrm>
            <a:off x="4424363" y="4956175"/>
            <a:ext cx="2063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27F89B84-9225-47C3-A128-69686DCBF366}" type="datetime'''''It''a''''''''''''''''''''''l''i''''''''ë'''''''''''">
              <a:rPr lang="en-GB" altLang="en-US" sz="800" smtClean="0"/>
              <a:pPr/>
              <a:t>Italië</a:t>
            </a:fld>
            <a:endParaRPr lang="en-GB" sz="800" dirty="0">
              <a:sym typeface="+mn-lt"/>
            </a:endParaRPr>
          </a:p>
        </p:txBody>
      </p:sp>
      <p:sp>
        <p:nvSpPr>
          <p:cNvPr id="515" name="Text Placeholder 4">
            <a:extLst>
              <a:ext uri="{FF2B5EF4-FFF2-40B4-BE49-F238E27FC236}">
                <a16:creationId xmlns:a16="http://schemas.microsoft.com/office/drawing/2014/main" id="{4C1F3293-4EFE-461D-940D-7EE66BAE31C5}"/>
              </a:ext>
            </a:extLst>
          </p:cNvPr>
          <p:cNvSpPr>
            <a:spLocks noGrp="1"/>
          </p:cNvSpPr>
          <p:nvPr>
            <p:custDataLst>
              <p:tags r:id="rId38"/>
            </p:custDataLst>
          </p:nvPr>
        </p:nvSpPr>
        <p:spPr bwMode="auto">
          <a:xfrm>
            <a:off x="4424363" y="5200650"/>
            <a:ext cx="46355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8DE0AA44-7ACA-433C-BDD2-B32D347677A5}" type="datetime'''Lu''''''''''''''x''''''''''''''em''''''''''b''''''ur''g'''">
              <a:rPr lang="en-GB" altLang="en-US" sz="800" smtClean="0"/>
              <a:pPr/>
              <a:t>Luxemburg</a:t>
            </a:fld>
            <a:endParaRPr lang="en-GB" sz="800" dirty="0">
              <a:sym typeface="+mn-lt"/>
            </a:endParaRPr>
          </a:p>
        </p:txBody>
      </p:sp>
      <p:sp>
        <p:nvSpPr>
          <p:cNvPr id="520" name="Text Placeholder 4">
            <a:extLst>
              <a:ext uri="{FF2B5EF4-FFF2-40B4-BE49-F238E27FC236}">
                <a16:creationId xmlns:a16="http://schemas.microsoft.com/office/drawing/2014/main" id="{4C1F3293-4EFE-461D-940D-7EE66BAE31C5}"/>
              </a:ext>
            </a:extLst>
          </p:cNvPr>
          <p:cNvSpPr>
            <a:spLocks noGrp="1"/>
          </p:cNvSpPr>
          <p:nvPr>
            <p:custDataLst>
              <p:tags r:id="rId39"/>
            </p:custDataLst>
          </p:nvPr>
        </p:nvSpPr>
        <p:spPr bwMode="auto">
          <a:xfrm>
            <a:off x="4424363" y="5691188"/>
            <a:ext cx="223838"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8F67C5C2-993E-43C8-8D57-BCF72B39D6B4}" type="datetime'''''''''''I''''s''''r''''''''''''''''''a''ël'''''''''''''">
              <a:rPr lang="en-GB" altLang="en-US" sz="800" smtClean="0"/>
              <a:pPr/>
              <a:t>Israël</a:t>
            </a:fld>
            <a:endParaRPr lang="en-GB" sz="800" dirty="0">
              <a:sym typeface="+mn-lt"/>
            </a:endParaRPr>
          </a:p>
        </p:txBody>
      </p:sp>
      <p:sp>
        <p:nvSpPr>
          <p:cNvPr id="524" name="Text Placeholder 4">
            <a:extLst>
              <a:ext uri="{FF2B5EF4-FFF2-40B4-BE49-F238E27FC236}">
                <a16:creationId xmlns:a16="http://schemas.microsoft.com/office/drawing/2014/main" id="{4C1F3293-4EFE-461D-940D-7EE66BAE31C5}"/>
              </a:ext>
            </a:extLst>
          </p:cNvPr>
          <p:cNvSpPr>
            <a:spLocks noGrp="1"/>
          </p:cNvSpPr>
          <p:nvPr>
            <p:custDataLst>
              <p:tags r:id="rId40"/>
            </p:custDataLst>
          </p:nvPr>
        </p:nvSpPr>
        <p:spPr bwMode="auto">
          <a:xfrm>
            <a:off x="4424363" y="5937250"/>
            <a:ext cx="50482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5C7AC885-CBB8-4371-906F-9AED50648DAD}" type="datetime'G''''r''''i''ek''''''''''''''''en''l''''''''''''''and'">
              <a:rPr lang="en-GB" altLang="en-US" sz="800" smtClean="0"/>
              <a:pPr/>
              <a:t>Griekenland</a:t>
            </a:fld>
            <a:endParaRPr lang="en-GB" sz="800" dirty="0">
              <a:sym typeface="+mn-lt"/>
            </a:endParaRPr>
          </a:p>
        </p:txBody>
      </p:sp>
      <p:sp>
        <p:nvSpPr>
          <p:cNvPr id="651" name="Text Placeholder 4">
            <a:extLst>
              <a:ext uri="{FF2B5EF4-FFF2-40B4-BE49-F238E27FC236}">
                <a16:creationId xmlns:a16="http://schemas.microsoft.com/office/drawing/2014/main" id="{9A59B4FF-2505-44C7-AED9-58A1807B7C57}"/>
              </a:ext>
            </a:extLst>
          </p:cNvPr>
          <p:cNvSpPr>
            <a:spLocks noGrp="1"/>
          </p:cNvSpPr>
          <p:nvPr>
            <p:custDataLst>
              <p:tags r:id="rId41"/>
            </p:custDataLst>
          </p:nvPr>
        </p:nvSpPr>
        <p:spPr bwMode="auto">
          <a:xfrm>
            <a:off x="4424362" y="4098925"/>
            <a:ext cx="427038"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5F2D0A33-A736-4D1E-9377-D6478C2327E7}" type="datetime'''''''Oost''''''''''''e''''''''n''r''''''i''''''''jk'''''">
              <a:rPr lang="en-GB" altLang="en-US" sz="800" smtClean="0"/>
              <a:pPr/>
              <a:t>Oostenrijk</a:t>
            </a:fld>
            <a:endParaRPr lang="en-GB" sz="800" dirty="0">
              <a:sym typeface="+mn-lt"/>
            </a:endParaRPr>
          </a:p>
        </p:txBody>
      </p:sp>
      <p:sp>
        <p:nvSpPr>
          <p:cNvPr id="673" name="Text Placeholder 4">
            <a:extLst>
              <a:ext uri="{FF2B5EF4-FFF2-40B4-BE49-F238E27FC236}">
                <a16:creationId xmlns:a16="http://schemas.microsoft.com/office/drawing/2014/main" id="{5D2DE3AE-7F0F-4B9F-8752-38C5B585FD32}"/>
              </a:ext>
            </a:extLst>
          </p:cNvPr>
          <p:cNvSpPr>
            <a:spLocks noGrp="1"/>
          </p:cNvSpPr>
          <p:nvPr>
            <p:custDataLst>
              <p:tags r:id="rId42"/>
            </p:custDataLst>
          </p:nvPr>
        </p:nvSpPr>
        <p:spPr bwMode="auto">
          <a:xfrm>
            <a:off x="4424363" y="6059488"/>
            <a:ext cx="179388"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E3E034A0-372E-4C7C-BEBB-E5EE7D657A59}" type="datetime'C''''''h''i''''l''''''''''''''''''''''''''i'''''''''''''''''">
              <a:rPr lang="en-GB" altLang="en-US" sz="800" smtClean="0"/>
              <a:pPr/>
              <a:t>Chili</a:t>
            </a:fld>
            <a:endParaRPr lang="en-GB" sz="800" dirty="0">
              <a:sym typeface="+mn-lt"/>
            </a:endParaRPr>
          </a:p>
        </p:txBody>
      </p:sp>
      <p:sp>
        <p:nvSpPr>
          <p:cNvPr id="516" name="Text Placeholder 4">
            <a:extLst>
              <a:ext uri="{FF2B5EF4-FFF2-40B4-BE49-F238E27FC236}">
                <a16:creationId xmlns:a16="http://schemas.microsoft.com/office/drawing/2014/main" id="{4C1F3293-4EFE-461D-940D-7EE66BAE31C5}"/>
              </a:ext>
            </a:extLst>
          </p:cNvPr>
          <p:cNvSpPr>
            <a:spLocks noGrp="1"/>
          </p:cNvSpPr>
          <p:nvPr>
            <p:custDataLst>
              <p:tags r:id="rId43"/>
            </p:custDataLst>
          </p:nvPr>
        </p:nvSpPr>
        <p:spPr bwMode="auto">
          <a:xfrm>
            <a:off x="4424363" y="5324475"/>
            <a:ext cx="27781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25644AE2-B6FC-49FA-A960-26AEDAE1B61C}" type="datetime'''S''''''''''p''''''an''''''''''''je'''''''''''">
              <a:rPr lang="en-GB" altLang="en-US" sz="800" smtClean="0">
                <a:sym typeface="+mn-lt"/>
              </a:rPr>
              <a:pPr>
                <a:spcBef>
                  <a:spcPct val="0"/>
                </a:spcBef>
                <a:spcAft>
                  <a:spcPct val="0"/>
                </a:spcAft>
              </a:pPr>
              <a:t>Spanje</a:t>
            </a:fld>
            <a:endParaRPr lang="en-GB" sz="800" dirty="0">
              <a:sym typeface="+mn-lt"/>
            </a:endParaRPr>
          </a:p>
        </p:txBody>
      </p:sp>
      <p:sp>
        <p:nvSpPr>
          <p:cNvPr id="506" name="Text Placeholder 4">
            <a:extLst>
              <a:ext uri="{FF2B5EF4-FFF2-40B4-BE49-F238E27FC236}">
                <a16:creationId xmlns:a16="http://schemas.microsoft.com/office/drawing/2014/main" id="{4C1F3293-4EFE-461D-940D-7EE66BAE31C5}"/>
              </a:ext>
            </a:extLst>
          </p:cNvPr>
          <p:cNvSpPr>
            <a:spLocks noGrp="1"/>
          </p:cNvSpPr>
          <p:nvPr>
            <p:custDataLst>
              <p:tags r:id="rId44"/>
            </p:custDataLst>
          </p:nvPr>
        </p:nvSpPr>
        <p:spPr bwMode="auto">
          <a:xfrm>
            <a:off x="4424363" y="3975100"/>
            <a:ext cx="33496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807318D6-B99B-44CE-9FC0-03E56EEC666F}" type="datetime'T''''''s''''je''''''''c''''''''''h''''i''''''''''''ë'''''">
              <a:rPr lang="en-GB" altLang="en-US" sz="800" smtClean="0"/>
              <a:pPr/>
              <a:t>Tsjechië</a:t>
            </a:fld>
            <a:endParaRPr lang="en-GB" sz="800" dirty="0">
              <a:sym typeface="+mn-lt"/>
            </a:endParaRPr>
          </a:p>
        </p:txBody>
      </p:sp>
      <p:sp>
        <p:nvSpPr>
          <p:cNvPr id="486" name="Text Placeholder 4">
            <a:extLst>
              <a:ext uri="{FF2B5EF4-FFF2-40B4-BE49-F238E27FC236}">
                <a16:creationId xmlns:a16="http://schemas.microsoft.com/office/drawing/2014/main" id="{4C1F3293-4EFE-461D-940D-7EE66BAE31C5}"/>
              </a:ext>
            </a:extLst>
          </p:cNvPr>
          <p:cNvSpPr>
            <a:spLocks noGrp="1"/>
          </p:cNvSpPr>
          <p:nvPr>
            <p:custDataLst>
              <p:tags r:id="rId45"/>
            </p:custDataLst>
          </p:nvPr>
        </p:nvSpPr>
        <p:spPr bwMode="auto">
          <a:xfrm>
            <a:off x="4424363" y="2873375"/>
            <a:ext cx="5334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23B2F0A6-C77D-40B7-B61E-3A6D43C9A8F1}" type="datetime'D''''''e''''''''n''''''''''e''m''''''''''a''r''''''''''''ken'">
              <a:rPr lang="en-GB" altLang="en-US" sz="800" smtClean="0">
                <a:sym typeface="+mn-lt"/>
              </a:rPr>
              <a:pPr>
                <a:spcBef>
                  <a:spcPct val="0"/>
                </a:spcBef>
                <a:spcAft>
                  <a:spcPct val="0"/>
                </a:spcAft>
              </a:pPr>
              <a:t>Denemarken</a:t>
            </a:fld>
            <a:endParaRPr lang="en-GB" sz="800" dirty="0">
              <a:sym typeface="+mn-lt"/>
            </a:endParaRPr>
          </a:p>
        </p:txBody>
      </p:sp>
      <p:graphicFrame>
        <p:nvGraphicFramePr>
          <p:cNvPr id="779" name="Chart 778">
            <a:extLst>
              <a:ext uri="{FF2B5EF4-FFF2-40B4-BE49-F238E27FC236}">
                <a16:creationId xmlns:a16="http://schemas.microsoft.com/office/drawing/2014/main" id="{5B8B592F-1D2A-4E57-8A81-0E73198D6ACA}"/>
              </a:ext>
            </a:extLst>
          </p:cNvPr>
          <p:cNvGraphicFramePr/>
          <p:nvPr>
            <p:custDataLst>
              <p:tags r:id="rId46"/>
            </p:custDataLst>
            <p:extLst>
              <p:ext uri="{D42A27DB-BD31-4B8C-83A1-F6EECF244321}">
                <p14:modId xmlns:p14="http://schemas.microsoft.com/office/powerpoint/2010/main" val="187926353"/>
              </p:ext>
            </p:extLst>
          </p:nvPr>
        </p:nvGraphicFramePr>
        <p:xfrm>
          <a:off x="9140825" y="1931988"/>
          <a:ext cx="2338388" cy="4454525"/>
        </p:xfrm>
        <a:graphic>
          <a:graphicData uri="http://schemas.openxmlformats.org/drawingml/2006/chart">
            <c:chart xmlns:c="http://schemas.openxmlformats.org/drawingml/2006/chart" xmlns:r="http://schemas.openxmlformats.org/officeDocument/2006/relationships" r:id="rId135"/>
          </a:graphicData>
        </a:graphic>
      </p:graphicFrame>
      <p:sp>
        <p:nvSpPr>
          <p:cNvPr id="760" name="Text Placeholder 4">
            <a:extLst>
              <a:ext uri="{FF2B5EF4-FFF2-40B4-BE49-F238E27FC236}">
                <a16:creationId xmlns:a16="http://schemas.microsoft.com/office/drawing/2014/main" id="{4C1F3293-4EFE-461D-940D-7EE66BAE31C5}"/>
              </a:ext>
            </a:extLst>
          </p:cNvPr>
          <p:cNvSpPr>
            <a:spLocks noGrp="1"/>
          </p:cNvSpPr>
          <p:nvPr>
            <p:custDataLst>
              <p:tags r:id="rId47"/>
            </p:custDataLst>
          </p:nvPr>
        </p:nvSpPr>
        <p:spPr bwMode="gray">
          <a:xfrm>
            <a:off x="10234613" y="1858963"/>
            <a:ext cx="1524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BBD888CC-2BEF-4B9B-956A-7A23F06B9650}" type="datetime'45''0'''''''''''''''''''''''''''''''''''''''''''''''''''''''">
              <a:rPr lang="en-US" altLang="en-US" sz="800" smtClean="0">
                <a:sym typeface="+mn-lt"/>
              </a:rPr>
              <a:pPr algn="ctr">
                <a:spcBef>
                  <a:spcPct val="0"/>
                </a:spcBef>
                <a:spcAft>
                  <a:spcPct val="0"/>
                </a:spcAft>
              </a:pPr>
              <a:t>450</a:t>
            </a:fld>
            <a:endParaRPr lang="en-US" sz="800" dirty="0">
              <a:sym typeface="+mn-lt"/>
            </a:endParaRPr>
          </a:p>
        </p:txBody>
      </p:sp>
      <p:sp>
        <p:nvSpPr>
          <p:cNvPr id="762" name="Text Placeholder 4">
            <a:extLst>
              <a:ext uri="{FF2B5EF4-FFF2-40B4-BE49-F238E27FC236}">
                <a16:creationId xmlns:a16="http://schemas.microsoft.com/office/drawing/2014/main" id="{4C1F3293-4EFE-461D-940D-7EE66BAE31C5}"/>
              </a:ext>
            </a:extLst>
          </p:cNvPr>
          <p:cNvSpPr>
            <a:spLocks noGrp="1"/>
          </p:cNvSpPr>
          <p:nvPr>
            <p:custDataLst>
              <p:tags r:id="rId48"/>
            </p:custDataLst>
          </p:nvPr>
        </p:nvSpPr>
        <p:spPr bwMode="gray">
          <a:xfrm>
            <a:off x="11320463" y="1858963"/>
            <a:ext cx="1524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4C8EE0B5-1A6A-4B81-9B13-F67B83947A43}" type="datetime'''''''''''5''''''''5''''''''''''''''''0'''''''''''''">
              <a:rPr lang="en-US" altLang="en-US" sz="800" smtClean="0">
                <a:sym typeface="+mn-lt"/>
              </a:rPr>
              <a:pPr algn="ctr">
                <a:spcBef>
                  <a:spcPct val="0"/>
                </a:spcBef>
                <a:spcAft>
                  <a:spcPct val="0"/>
                </a:spcAft>
              </a:pPr>
              <a:t>550</a:t>
            </a:fld>
            <a:endParaRPr lang="en-US" sz="800" dirty="0">
              <a:sym typeface="+mn-lt"/>
            </a:endParaRPr>
          </a:p>
        </p:txBody>
      </p:sp>
      <p:sp>
        <p:nvSpPr>
          <p:cNvPr id="758" name="Text Placeholder 4">
            <a:extLst>
              <a:ext uri="{FF2B5EF4-FFF2-40B4-BE49-F238E27FC236}">
                <a16:creationId xmlns:a16="http://schemas.microsoft.com/office/drawing/2014/main" id="{4C1F3293-4EFE-461D-940D-7EE66BAE31C5}"/>
              </a:ext>
            </a:extLst>
          </p:cNvPr>
          <p:cNvSpPr>
            <a:spLocks noGrp="1"/>
          </p:cNvSpPr>
          <p:nvPr>
            <p:custDataLst>
              <p:tags r:id="rId49"/>
            </p:custDataLst>
          </p:nvPr>
        </p:nvSpPr>
        <p:spPr bwMode="gray">
          <a:xfrm>
            <a:off x="9147175" y="1858963"/>
            <a:ext cx="1524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83CE1595-BCBC-4CE1-A4D1-DEFF80AB2201}" type="datetime'''''''''''''''''3''5''''''''''''''''''''''''0'''''''''">
              <a:rPr lang="en-US" altLang="en-US" sz="800" smtClean="0">
                <a:sym typeface="+mn-lt"/>
              </a:rPr>
              <a:pPr algn="ctr">
                <a:spcBef>
                  <a:spcPct val="0"/>
                </a:spcBef>
                <a:spcAft>
                  <a:spcPct val="0"/>
                </a:spcAft>
              </a:pPr>
              <a:t>350</a:t>
            </a:fld>
            <a:endParaRPr lang="en-US" sz="800" dirty="0">
              <a:sym typeface="+mn-lt"/>
            </a:endParaRPr>
          </a:p>
        </p:txBody>
      </p:sp>
      <p:sp>
        <p:nvSpPr>
          <p:cNvPr id="759" name="Text Placeholder 4">
            <a:extLst>
              <a:ext uri="{FF2B5EF4-FFF2-40B4-BE49-F238E27FC236}">
                <a16:creationId xmlns:a16="http://schemas.microsoft.com/office/drawing/2014/main" id="{4C1F3293-4EFE-461D-940D-7EE66BAE31C5}"/>
              </a:ext>
            </a:extLst>
          </p:cNvPr>
          <p:cNvSpPr>
            <a:spLocks noGrp="1"/>
          </p:cNvSpPr>
          <p:nvPr>
            <p:custDataLst>
              <p:tags r:id="rId50"/>
            </p:custDataLst>
          </p:nvPr>
        </p:nvSpPr>
        <p:spPr bwMode="gray">
          <a:xfrm>
            <a:off x="9690100" y="1858963"/>
            <a:ext cx="1524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AC01381D-2C28-40EE-8E70-DFA6BA28E1FB}" type="datetime'''''''''''''''''''''''''4''''''''0''''''''''''0'''''''''''''''">
              <a:rPr lang="en-US" altLang="en-US" sz="800" smtClean="0">
                <a:sym typeface="+mn-lt"/>
              </a:rPr>
              <a:pPr algn="ctr">
                <a:spcBef>
                  <a:spcPct val="0"/>
                </a:spcBef>
                <a:spcAft>
                  <a:spcPct val="0"/>
                </a:spcAft>
              </a:pPr>
              <a:t>400</a:t>
            </a:fld>
            <a:endParaRPr lang="en-US" sz="800" dirty="0">
              <a:sym typeface="+mn-lt"/>
            </a:endParaRPr>
          </a:p>
        </p:txBody>
      </p:sp>
      <p:sp>
        <p:nvSpPr>
          <p:cNvPr id="761" name="Text Placeholder 4">
            <a:extLst>
              <a:ext uri="{FF2B5EF4-FFF2-40B4-BE49-F238E27FC236}">
                <a16:creationId xmlns:a16="http://schemas.microsoft.com/office/drawing/2014/main" id="{4C1F3293-4EFE-461D-940D-7EE66BAE31C5}"/>
              </a:ext>
            </a:extLst>
          </p:cNvPr>
          <p:cNvSpPr>
            <a:spLocks noGrp="1"/>
          </p:cNvSpPr>
          <p:nvPr>
            <p:custDataLst>
              <p:tags r:id="rId51"/>
            </p:custDataLst>
          </p:nvPr>
        </p:nvSpPr>
        <p:spPr bwMode="gray">
          <a:xfrm>
            <a:off x="10777538" y="1858963"/>
            <a:ext cx="1524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4A162750-0F99-4CA5-9606-C401DC7B8911}" type="datetime'''''''''5''''''''''''''''''''''''''''0''''''''''0'''''''''">
              <a:rPr lang="en-US" altLang="en-US" sz="800" smtClean="0">
                <a:sym typeface="+mn-lt"/>
              </a:rPr>
              <a:pPr algn="ctr">
                <a:spcBef>
                  <a:spcPct val="0"/>
                </a:spcBef>
                <a:spcAft>
                  <a:spcPct val="0"/>
                </a:spcAft>
              </a:pPr>
              <a:t>500</a:t>
            </a:fld>
            <a:endParaRPr lang="en-US" sz="800" dirty="0">
              <a:sym typeface="+mn-lt"/>
            </a:endParaRPr>
          </a:p>
        </p:txBody>
      </p:sp>
      <p:sp>
        <p:nvSpPr>
          <p:cNvPr id="278" name="Text Placeholder 4">
            <a:extLst>
              <a:ext uri="{FF2B5EF4-FFF2-40B4-BE49-F238E27FC236}">
                <a16:creationId xmlns:a16="http://schemas.microsoft.com/office/drawing/2014/main" id="{B8A2ACBA-FD3B-493E-940A-8641A1CB940E}"/>
              </a:ext>
            </a:extLst>
          </p:cNvPr>
          <p:cNvSpPr>
            <a:spLocks noGrp="1"/>
          </p:cNvSpPr>
          <p:nvPr>
            <p:custDataLst>
              <p:tags r:id="rId52"/>
            </p:custDataLst>
          </p:nvPr>
        </p:nvSpPr>
        <p:spPr bwMode="auto">
          <a:xfrm>
            <a:off x="8348663" y="2382838"/>
            <a:ext cx="420688"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2FC6581F-D217-4E9E-A56E-DB348BD8108E}" type="datetime'Z''u''i''''d''''K''''o''''''''r''''e''''''a'">
              <a:rPr lang="en-US" altLang="en-US" sz="800" smtClean="0"/>
              <a:pPr/>
              <a:t>ZuidKorea</a:t>
            </a:fld>
            <a:endParaRPr lang="en-US" sz="800" dirty="0">
              <a:sym typeface="+mn-lt"/>
            </a:endParaRPr>
          </a:p>
        </p:txBody>
      </p:sp>
      <p:sp>
        <p:nvSpPr>
          <p:cNvPr id="295" name="Text Placeholder 4">
            <a:extLst>
              <a:ext uri="{FF2B5EF4-FFF2-40B4-BE49-F238E27FC236}">
                <a16:creationId xmlns:a16="http://schemas.microsoft.com/office/drawing/2014/main" id="{305D5471-5817-457C-88DD-E59D98B4E60F}"/>
              </a:ext>
            </a:extLst>
          </p:cNvPr>
          <p:cNvSpPr>
            <a:spLocks noGrp="1"/>
          </p:cNvSpPr>
          <p:nvPr>
            <p:custDataLst>
              <p:tags r:id="rId53"/>
            </p:custDataLst>
          </p:nvPr>
        </p:nvSpPr>
        <p:spPr bwMode="auto">
          <a:xfrm>
            <a:off x="8348663" y="3975100"/>
            <a:ext cx="33496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sz="800" dirty="0"/>
              <a:t>Tsjechië</a:t>
            </a:r>
          </a:p>
        </p:txBody>
      </p:sp>
      <p:sp>
        <p:nvSpPr>
          <p:cNvPr id="273" name="Text Placeholder 4">
            <a:extLst>
              <a:ext uri="{FF2B5EF4-FFF2-40B4-BE49-F238E27FC236}">
                <a16:creationId xmlns:a16="http://schemas.microsoft.com/office/drawing/2014/main" id="{899317E5-A31F-4CA1-9B55-255925BFE58C}"/>
              </a:ext>
            </a:extLst>
          </p:cNvPr>
          <p:cNvSpPr>
            <a:spLocks noGrp="1"/>
          </p:cNvSpPr>
          <p:nvPr>
            <p:custDataLst>
              <p:tags r:id="rId54"/>
            </p:custDataLst>
          </p:nvPr>
        </p:nvSpPr>
        <p:spPr bwMode="auto">
          <a:xfrm>
            <a:off x="8348663" y="2014538"/>
            <a:ext cx="30321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21F7DE6E-A599-4DCC-BF80-E58D781A44E4}" type="datetime'Es''''''''t''''''''la''n''''''''''''d'''''">
              <a:rPr lang="en-US" altLang="en-US" sz="800" smtClean="0"/>
              <a:pPr/>
              <a:t>Estland</a:t>
            </a:fld>
            <a:endParaRPr lang="en-US" sz="800" dirty="0">
              <a:sym typeface="+mn-lt"/>
            </a:endParaRPr>
          </a:p>
        </p:txBody>
      </p:sp>
      <p:sp>
        <p:nvSpPr>
          <p:cNvPr id="299" name="Text Placeholder 4">
            <a:extLst>
              <a:ext uri="{FF2B5EF4-FFF2-40B4-BE49-F238E27FC236}">
                <a16:creationId xmlns:a16="http://schemas.microsoft.com/office/drawing/2014/main" id="{FE304A5E-50A8-4C75-98C1-A28D2B32B1C2}"/>
              </a:ext>
            </a:extLst>
          </p:cNvPr>
          <p:cNvSpPr>
            <a:spLocks noGrp="1"/>
          </p:cNvSpPr>
          <p:nvPr>
            <p:custDataLst>
              <p:tags r:id="rId55"/>
            </p:custDataLst>
          </p:nvPr>
        </p:nvSpPr>
        <p:spPr bwMode="auto">
          <a:xfrm>
            <a:off x="8348663" y="3486150"/>
            <a:ext cx="34925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sz="800" dirty="0"/>
              <a:t>Slovenië</a:t>
            </a:r>
            <a:endParaRPr lang="en-US" sz="800" dirty="0">
              <a:sym typeface="+mn-lt"/>
            </a:endParaRPr>
          </a:p>
        </p:txBody>
      </p:sp>
      <p:sp>
        <p:nvSpPr>
          <p:cNvPr id="744" name="Text Placeholder 4">
            <a:extLst>
              <a:ext uri="{FF2B5EF4-FFF2-40B4-BE49-F238E27FC236}">
                <a16:creationId xmlns:a16="http://schemas.microsoft.com/office/drawing/2014/main" id="{8EF47CC2-73C8-4C81-AE33-01C0F001CD15}"/>
              </a:ext>
            </a:extLst>
          </p:cNvPr>
          <p:cNvSpPr>
            <a:spLocks noGrp="1"/>
          </p:cNvSpPr>
          <p:nvPr>
            <p:custDataLst>
              <p:tags r:id="rId56"/>
            </p:custDataLst>
          </p:nvPr>
        </p:nvSpPr>
        <p:spPr bwMode="auto">
          <a:xfrm>
            <a:off x="8348663" y="4465638"/>
            <a:ext cx="34925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D4EBFE9A-6F25-493C-B8D9-4A5D5CBCF741}" type="datetime'''''''Po''r''tu''''''''''''''''ga''''''''l'''''''''">
              <a:rPr lang="en-US" altLang="en-US" sz="800" smtClean="0"/>
              <a:pPr/>
              <a:t>Portugal</a:t>
            </a:fld>
            <a:endParaRPr lang="en-US" sz="800" dirty="0">
              <a:sym typeface="+mn-lt"/>
            </a:endParaRPr>
          </a:p>
        </p:txBody>
      </p:sp>
      <p:sp>
        <p:nvSpPr>
          <p:cNvPr id="275" name="Text Placeholder 4">
            <a:extLst>
              <a:ext uri="{FF2B5EF4-FFF2-40B4-BE49-F238E27FC236}">
                <a16:creationId xmlns:a16="http://schemas.microsoft.com/office/drawing/2014/main" id="{31196284-8894-44E8-A731-4CFE0F788893}"/>
              </a:ext>
            </a:extLst>
          </p:cNvPr>
          <p:cNvSpPr>
            <a:spLocks noGrp="1"/>
          </p:cNvSpPr>
          <p:nvPr>
            <p:custDataLst>
              <p:tags r:id="rId57"/>
            </p:custDataLst>
          </p:nvPr>
        </p:nvSpPr>
        <p:spPr bwMode="auto">
          <a:xfrm>
            <a:off x="8348663" y="2260600"/>
            <a:ext cx="3048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B5C64A0D-4733-4F3F-920B-B6D303638A65}" type="datetime'''Fi''n''''''''''''la''''''''''''''''''''''''''''n''''d'">
              <a:rPr lang="en-US" altLang="en-US" sz="800" smtClean="0"/>
              <a:pPr/>
              <a:t>Finland</a:t>
            </a:fld>
            <a:endParaRPr lang="en-US" sz="800" dirty="0">
              <a:sym typeface="+mn-lt"/>
            </a:endParaRPr>
          </a:p>
        </p:txBody>
      </p:sp>
      <p:sp>
        <p:nvSpPr>
          <p:cNvPr id="270" name="Text Placeholder 4">
            <a:extLst>
              <a:ext uri="{FF2B5EF4-FFF2-40B4-BE49-F238E27FC236}">
                <a16:creationId xmlns:a16="http://schemas.microsoft.com/office/drawing/2014/main" id="{F818A0E4-1AB7-471E-B020-58B0F67F02EB}"/>
              </a:ext>
            </a:extLst>
          </p:cNvPr>
          <p:cNvSpPr>
            <a:spLocks noGrp="1"/>
          </p:cNvSpPr>
          <p:nvPr>
            <p:custDataLst>
              <p:tags r:id="rId58"/>
            </p:custDataLst>
          </p:nvPr>
        </p:nvSpPr>
        <p:spPr bwMode="auto">
          <a:xfrm>
            <a:off x="8348664" y="2136775"/>
            <a:ext cx="23812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F4A82E06-10A1-43ED-BC12-DBFAAD4CE99C}" type="datetime'''''''''''''J''''''''''a''''''''p''a''''''n'">
              <a:rPr lang="en-US" altLang="en-US" sz="800" smtClean="0"/>
              <a:pPr/>
              <a:t>Japan</a:t>
            </a:fld>
            <a:endParaRPr lang="en-US" sz="800" dirty="0">
              <a:sym typeface="+mn-lt"/>
            </a:endParaRPr>
          </a:p>
        </p:txBody>
      </p:sp>
      <p:sp>
        <p:nvSpPr>
          <p:cNvPr id="304" name="Text Placeholder 4">
            <a:extLst>
              <a:ext uri="{FF2B5EF4-FFF2-40B4-BE49-F238E27FC236}">
                <a16:creationId xmlns:a16="http://schemas.microsoft.com/office/drawing/2014/main" id="{5FBBD3B0-2CF6-48A1-9EE6-BA4C0026BD83}"/>
              </a:ext>
            </a:extLst>
          </p:cNvPr>
          <p:cNvSpPr>
            <a:spLocks noGrp="1"/>
          </p:cNvSpPr>
          <p:nvPr>
            <p:custDataLst>
              <p:tags r:id="rId59"/>
            </p:custDataLst>
          </p:nvPr>
        </p:nvSpPr>
        <p:spPr bwMode="auto">
          <a:xfrm>
            <a:off x="8348663" y="4221163"/>
            <a:ext cx="3587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EE275796-9511-4254-8A24-ACAB45D3A4AA}" type="datetime'''''''''''''''''Fr''''''''''a''''''''''''nkrij''''''''''''k'">
              <a:rPr lang="en-US" altLang="en-US" sz="800" smtClean="0"/>
              <a:pPr/>
              <a:t>Frankrijk</a:t>
            </a:fld>
            <a:endParaRPr lang="en-US" sz="800" dirty="0">
              <a:sym typeface="+mn-lt"/>
            </a:endParaRPr>
          </a:p>
        </p:txBody>
      </p:sp>
      <p:sp>
        <p:nvSpPr>
          <p:cNvPr id="280" name="Text Placeholder 4">
            <a:extLst>
              <a:ext uri="{FF2B5EF4-FFF2-40B4-BE49-F238E27FC236}">
                <a16:creationId xmlns:a16="http://schemas.microsoft.com/office/drawing/2014/main" id="{65CDA8C5-6375-45FD-A1A1-0F051DED54F9}"/>
              </a:ext>
            </a:extLst>
          </p:cNvPr>
          <p:cNvSpPr>
            <a:spLocks noGrp="1"/>
          </p:cNvSpPr>
          <p:nvPr>
            <p:custDataLst>
              <p:tags r:id="rId60"/>
            </p:custDataLst>
          </p:nvPr>
        </p:nvSpPr>
        <p:spPr bwMode="auto">
          <a:xfrm>
            <a:off x="8348663" y="2505075"/>
            <a:ext cx="30956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E1117982-572D-4BDF-8042-82F0114134D7}" type="datetime'''''''''''''''''''''''C''a''''''''''na''''''''''d''''''a'">
              <a:rPr lang="en-US" altLang="en-US" sz="800" smtClean="0"/>
              <a:pPr/>
              <a:t>Canada</a:t>
            </a:fld>
            <a:endParaRPr lang="en-US" sz="800" dirty="0">
              <a:sym typeface="+mn-lt"/>
            </a:endParaRPr>
          </a:p>
        </p:txBody>
      </p:sp>
      <p:sp>
        <p:nvSpPr>
          <p:cNvPr id="723" name="Text Placeholder 4">
            <a:extLst>
              <a:ext uri="{FF2B5EF4-FFF2-40B4-BE49-F238E27FC236}">
                <a16:creationId xmlns:a16="http://schemas.microsoft.com/office/drawing/2014/main" id="{FFFFADF0-0E51-4480-B612-48E2188DE55F}"/>
              </a:ext>
            </a:extLst>
          </p:cNvPr>
          <p:cNvSpPr>
            <a:spLocks noGrp="1"/>
          </p:cNvSpPr>
          <p:nvPr>
            <p:custDataLst>
              <p:tags r:id="rId61"/>
            </p:custDataLst>
          </p:nvPr>
        </p:nvSpPr>
        <p:spPr bwMode="auto">
          <a:xfrm>
            <a:off x="8348663" y="2627313"/>
            <a:ext cx="23495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9F3CB8B6-B33F-43C9-A9AA-AD5B459976E0}" type="datetime'''P''''''''''''''''''''''''''o''''''l''e''n'''''''''">
              <a:rPr lang="en-US" altLang="en-US" sz="800" smtClean="0"/>
              <a:pPr/>
              <a:t>Polen</a:t>
            </a:fld>
            <a:endParaRPr lang="en-US" sz="800" dirty="0">
              <a:sym typeface="+mn-lt"/>
            </a:endParaRPr>
          </a:p>
        </p:txBody>
      </p:sp>
      <p:sp>
        <p:nvSpPr>
          <p:cNvPr id="726" name="Text Placeholder 4">
            <a:extLst>
              <a:ext uri="{FF2B5EF4-FFF2-40B4-BE49-F238E27FC236}">
                <a16:creationId xmlns:a16="http://schemas.microsoft.com/office/drawing/2014/main" id="{43CE2E27-C4F2-411C-977B-9238B26EE323}"/>
              </a:ext>
            </a:extLst>
          </p:cNvPr>
          <p:cNvSpPr>
            <a:spLocks noGrp="1"/>
          </p:cNvSpPr>
          <p:nvPr>
            <p:custDataLst>
              <p:tags r:id="rId62"/>
            </p:custDataLst>
          </p:nvPr>
        </p:nvSpPr>
        <p:spPr bwMode="auto">
          <a:xfrm>
            <a:off x="8348663" y="2749550"/>
            <a:ext cx="62865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E06FFAA9-83F0-4D4B-AF6B-AE8C4BD9AC6E}" type="datetime'N''i''eu''''w-''''''Ze''e''''''''''''''''''''''la''n''d'">
              <a:rPr lang="en-US" altLang="en-US" sz="800" smtClean="0"/>
              <a:pPr/>
              <a:t>Nieuw-Zeeland</a:t>
            </a:fld>
            <a:endParaRPr lang="en-US" sz="800" dirty="0">
              <a:sym typeface="+mn-lt"/>
            </a:endParaRPr>
          </a:p>
        </p:txBody>
      </p:sp>
      <p:sp>
        <p:nvSpPr>
          <p:cNvPr id="727" name="Text Placeholder 4">
            <a:extLst>
              <a:ext uri="{FF2B5EF4-FFF2-40B4-BE49-F238E27FC236}">
                <a16:creationId xmlns:a16="http://schemas.microsoft.com/office/drawing/2014/main" id="{CDEFDD1B-8BC5-4F08-9F4A-30534CE722FA}"/>
              </a:ext>
            </a:extLst>
          </p:cNvPr>
          <p:cNvSpPr>
            <a:spLocks noGrp="1"/>
          </p:cNvSpPr>
          <p:nvPr>
            <p:custDataLst>
              <p:tags r:id="rId63"/>
            </p:custDataLst>
          </p:nvPr>
        </p:nvSpPr>
        <p:spPr bwMode="auto">
          <a:xfrm>
            <a:off x="8348663" y="2873375"/>
            <a:ext cx="34925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E299D18C-9FD9-4774-B449-BA1D0B6B9E9B}" type="datetime'''''''''''S''''''''''''''''l''o''''v''''''en''''i''''ë'">
              <a:rPr lang="en-US" altLang="en-US" sz="800" smtClean="0"/>
              <a:pPr/>
              <a:t>Slovenië</a:t>
            </a:fld>
            <a:endParaRPr lang="en-US" sz="800" dirty="0">
              <a:sym typeface="+mn-lt"/>
            </a:endParaRPr>
          </a:p>
        </p:txBody>
      </p:sp>
      <p:sp>
        <p:nvSpPr>
          <p:cNvPr id="728" name="Text Placeholder 4">
            <a:extLst>
              <a:ext uri="{FF2B5EF4-FFF2-40B4-BE49-F238E27FC236}">
                <a16:creationId xmlns:a16="http://schemas.microsoft.com/office/drawing/2014/main" id="{D2A977DA-2B09-4639-BA16-4A037720544F}"/>
              </a:ext>
            </a:extLst>
          </p:cNvPr>
          <p:cNvSpPr>
            <a:spLocks noGrp="1"/>
          </p:cNvSpPr>
          <p:nvPr>
            <p:custDataLst>
              <p:tags r:id="rId64"/>
            </p:custDataLst>
          </p:nvPr>
        </p:nvSpPr>
        <p:spPr bwMode="auto">
          <a:xfrm>
            <a:off x="8348663" y="2995613"/>
            <a:ext cx="808038"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85635D5C-B472-4CE3-97A2-C2A401D7F53E}" type="datetime'Ver''''''e''ni''''g''d'' Kon''i''n''''''''k''''rij''''''''''k'">
              <a:rPr lang="en-US" altLang="en-US" sz="800" smtClean="0"/>
              <a:pPr/>
              <a:t>Verenigd Koninkrijk</a:t>
            </a:fld>
            <a:endParaRPr lang="en-US" sz="800" dirty="0">
              <a:sym typeface="+mn-lt"/>
            </a:endParaRPr>
          </a:p>
        </p:txBody>
      </p:sp>
      <p:sp>
        <p:nvSpPr>
          <p:cNvPr id="300" name="Text Placeholder 4">
            <a:extLst>
              <a:ext uri="{FF2B5EF4-FFF2-40B4-BE49-F238E27FC236}">
                <a16:creationId xmlns:a16="http://schemas.microsoft.com/office/drawing/2014/main" id="{817B0BEA-AAC9-40A0-862B-ECFDD48AA053}"/>
              </a:ext>
            </a:extLst>
          </p:cNvPr>
          <p:cNvSpPr>
            <a:spLocks noGrp="1"/>
          </p:cNvSpPr>
          <p:nvPr>
            <p:custDataLst>
              <p:tags r:id="rId65"/>
            </p:custDataLst>
          </p:nvPr>
        </p:nvSpPr>
        <p:spPr bwMode="auto">
          <a:xfrm>
            <a:off x="8348663" y="4956175"/>
            <a:ext cx="27781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65540B91-3057-4D2C-86EE-6AC729780FD3}" type="datetime'''''''S''''p''''''''a''n''j''''''''''''''e'''">
              <a:rPr lang="en-US" altLang="en-US" sz="800" smtClean="0"/>
              <a:pPr/>
              <a:t>Spanje</a:t>
            </a:fld>
            <a:endParaRPr lang="en-US" sz="800" dirty="0">
              <a:sym typeface="+mn-lt"/>
            </a:endParaRPr>
          </a:p>
        </p:txBody>
      </p:sp>
      <p:sp>
        <p:nvSpPr>
          <p:cNvPr id="292" name="Text Placeholder 4">
            <a:extLst>
              <a:ext uri="{FF2B5EF4-FFF2-40B4-BE49-F238E27FC236}">
                <a16:creationId xmlns:a16="http://schemas.microsoft.com/office/drawing/2014/main" id="{8C834F2E-9766-490C-AA3C-F629E9868893}"/>
              </a:ext>
            </a:extLst>
          </p:cNvPr>
          <p:cNvSpPr>
            <a:spLocks noGrp="1"/>
          </p:cNvSpPr>
          <p:nvPr>
            <p:custDataLst>
              <p:tags r:id="rId66"/>
            </p:custDataLst>
          </p:nvPr>
        </p:nvSpPr>
        <p:spPr bwMode="auto">
          <a:xfrm>
            <a:off x="8348663" y="3117850"/>
            <a:ext cx="44291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C3766943-A4A1-4E1D-AB8C-FCCDFB0A3AAB}" type="datetime'''Ne''''''de''''''''''''''''''r''l''an''d'''''''''">
              <a:rPr lang="en-US" altLang="en-US" sz="800" b="1" smtClean="0">
                <a:solidFill>
                  <a:schemeClr val="accent2"/>
                </a:solidFill>
              </a:rPr>
              <a:pPr/>
              <a:t>Nederland</a:t>
            </a:fld>
            <a:endParaRPr lang="en-US" sz="800" b="1" dirty="0">
              <a:solidFill>
                <a:schemeClr val="accent2"/>
              </a:solidFill>
              <a:sym typeface="+mn-lt"/>
            </a:endParaRPr>
          </a:p>
        </p:txBody>
      </p:sp>
      <p:sp>
        <p:nvSpPr>
          <p:cNvPr id="288" name="Text Placeholder 4">
            <a:extLst>
              <a:ext uri="{FF2B5EF4-FFF2-40B4-BE49-F238E27FC236}">
                <a16:creationId xmlns:a16="http://schemas.microsoft.com/office/drawing/2014/main" id="{F68DA78A-130B-4BC5-BE59-03BD8ABC8282}"/>
              </a:ext>
            </a:extLst>
          </p:cNvPr>
          <p:cNvSpPr>
            <a:spLocks noGrp="1"/>
          </p:cNvSpPr>
          <p:nvPr>
            <p:custDataLst>
              <p:tags r:id="rId67"/>
            </p:custDataLst>
          </p:nvPr>
        </p:nvSpPr>
        <p:spPr bwMode="auto">
          <a:xfrm>
            <a:off x="8348663" y="3240088"/>
            <a:ext cx="3937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79F7D7AC-6ED5-4AE8-876A-3C043B1B86FF}" type="datetime'''''''''''''''''D''u''its''''''l''''''a''n''''''d'''''''">
              <a:rPr lang="en-US" altLang="en-US" sz="800" smtClean="0"/>
              <a:pPr/>
              <a:t>Duitsland</a:t>
            </a:fld>
            <a:endParaRPr lang="en-US" sz="800" dirty="0">
              <a:sym typeface="+mn-lt"/>
            </a:endParaRPr>
          </a:p>
        </p:txBody>
      </p:sp>
      <p:sp>
        <p:nvSpPr>
          <p:cNvPr id="276" name="Text Placeholder 4">
            <a:extLst>
              <a:ext uri="{FF2B5EF4-FFF2-40B4-BE49-F238E27FC236}">
                <a16:creationId xmlns:a16="http://schemas.microsoft.com/office/drawing/2014/main" id="{4B941DE8-35D7-48DA-B14F-B6D082BEBFF5}"/>
              </a:ext>
            </a:extLst>
          </p:cNvPr>
          <p:cNvSpPr>
            <a:spLocks noGrp="1"/>
          </p:cNvSpPr>
          <p:nvPr>
            <p:custDataLst>
              <p:tags r:id="rId68"/>
            </p:custDataLst>
          </p:nvPr>
        </p:nvSpPr>
        <p:spPr bwMode="auto">
          <a:xfrm>
            <a:off x="8348663" y="5200650"/>
            <a:ext cx="46355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4677DA4A-1553-46A0-9A5B-F116A7FD03D3}" type="datetime'''Lu''''''''''xe''''''m''''''''''''''''''b''''u''r''''''''g'">
              <a:rPr lang="en-US" altLang="en-US" sz="800" smtClean="0"/>
              <a:pPr/>
              <a:t>Luxemburg</a:t>
            </a:fld>
            <a:endParaRPr lang="en-US" sz="800" dirty="0">
              <a:sym typeface="+mn-lt"/>
            </a:endParaRPr>
          </a:p>
        </p:txBody>
      </p:sp>
      <p:sp>
        <p:nvSpPr>
          <p:cNvPr id="272" name="Text Placeholder 4">
            <a:extLst>
              <a:ext uri="{FF2B5EF4-FFF2-40B4-BE49-F238E27FC236}">
                <a16:creationId xmlns:a16="http://schemas.microsoft.com/office/drawing/2014/main" id="{E3FC171A-546B-4715-ADA5-DE6F4DC579BE}"/>
              </a:ext>
            </a:extLst>
          </p:cNvPr>
          <p:cNvSpPr>
            <a:spLocks noGrp="1"/>
          </p:cNvSpPr>
          <p:nvPr>
            <p:custDataLst>
              <p:tags r:id="rId69"/>
            </p:custDataLst>
          </p:nvPr>
        </p:nvSpPr>
        <p:spPr bwMode="auto">
          <a:xfrm>
            <a:off x="8348663" y="3362325"/>
            <a:ext cx="3683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41AE6C57-642A-4B4A-9C61-9E90E040CEE3}" type="datetime'''A''u''''s''''''tr''''a''''''''''l''i''''ë'''''''''''''''">
              <a:rPr lang="en-US" altLang="en-US" sz="800" smtClean="0"/>
              <a:pPr/>
              <a:t>Australië</a:t>
            </a:fld>
            <a:endParaRPr lang="en-US" sz="800" dirty="0">
              <a:sym typeface="+mn-lt"/>
            </a:endParaRPr>
          </a:p>
        </p:txBody>
      </p:sp>
      <p:sp>
        <p:nvSpPr>
          <p:cNvPr id="302" name="Text Placeholder 4">
            <a:extLst>
              <a:ext uri="{FF2B5EF4-FFF2-40B4-BE49-F238E27FC236}">
                <a16:creationId xmlns:a16="http://schemas.microsoft.com/office/drawing/2014/main" id="{FC25285E-10F6-41A9-9012-ABC1B97A191D}"/>
              </a:ext>
            </a:extLst>
          </p:cNvPr>
          <p:cNvSpPr>
            <a:spLocks noGrp="1"/>
          </p:cNvSpPr>
          <p:nvPr>
            <p:custDataLst>
              <p:tags r:id="rId70"/>
            </p:custDataLst>
          </p:nvPr>
        </p:nvSpPr>
        <p:spPr bwMode="auto">
          <a:xfrm>
            <a:off x="8348663" y="3852863"/>
            <a:ext cx="33496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E14F7CB0-3197-496D-9E24-E40F795DA97F}" type="datetime'''''''Ts''''''''''''''''''j''''e''c''''h''''''''''ië'''''">
              <a:rPr lang="en-US" altLang="en-US" sz="800" smtClean="0"/>
              <a:pPr/>
              <a:t>Tsjechië</a:t>
            </a:fld>
            <a:endParaRPr lang="en-US" sz="800" dirty="0">
              <a:sym typeface="+mn-lt"/>
            </a:endParaRPr>
          </a:p>
        </p:txBody>
      </p:sp>
      <p:sp>
        <p:nvSpPr>
          <p:cNvPr id="308" name="Text Placeholder 4">
            <a:extLst>
              <a:ext uri="{FF2B5EF4-FFF2-40B4-BE49-F238E27FC236}">
                <a16:creationId xmlns:a16="http://schemas.microsoft.com/office/drawing/2014/main" id="{826235C9-279B-45BC-B53A-EA5681E09F8C}"/>
              </a:ext>
            </a:extLst>
          </p:cNvPr>
          <p:cNvSpPr>
            <a:spLocks noGrp="1"/>
          </p:cNvSpPr>
          <p:nvPr>
            <p:custDataLst>
              <p:tags r:id="rId71"/>
            </p:custDataLst>
          </p:nvPr>
        </p:nvSpPr>
        <p:spPr bwMode="auto">
          <a:xfrm>
            <a:off x="8348663" y="4098925"/>
            <a:ext cx="484188"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89D73CA1-916A-4D41-8412-AE93A910209D}" type="datetime'Z''''''''''''wit''''s''''e''''''''r''la''''''''nd'''''">
              <a:rPr lang="en-US" altLang="en-US" sz="800" smtClean="0"/>
              <a:pPr/>
              <a:t>Zwitserland</a:t>
            </a:fld>
            <a:endParaRPr lang="en-US" sz="800" dirty="0">
              <a:sym typeface="+mn-lt"/>
            </a:endParaRPr>
          </a:p>
        </p:txBody>
      </p:sp>
      <p:sp>
        <p:nvSpPr>
          <p:cNvPr id="748" name="Text Placeholder 4">
            <a:extLst>
              <a:ext uri="{FF2B5EF4-FFF2-40B4-BE49-F238E27FC236}">
                <a16:creationId xmlns:a16="http://schemas.microsoft.com/office/drawing/2014/main" id="{51D6E409-A68C-4F8B-9BCF-4A345526B2F0}"/>
              </a:ext>
            </a:extLst>
          </p:cNvPr>
          <p:cNvSpPr>
            <a:spLocks noGrp="1"/>
          </p:cNvSpPr>
          <p:nvPr>
            <p:custDataLst>
              <p:tags r:id="rId72"/>
            </p:custDataLst>
          </p:nvPr>
        </p:nvSpPr>
        <p:spPr bwMode="auto">
          <a:xfrm>
            <a:off x="8348663" y="6181725"/>
            <a:ext cx="30321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7F8BCD15-7AE1-46DC-936C-12F71BA11B16}" type="datetime'''''M''''''''''e''x''''i''''''''''''c''''''''o'''''''''">
              <a:rPr lang="en-US" altLang="en-US" sz="800" smtClean="0"/>
              <a:pPr/>
              <a:t>Mexico</a:t>
            </a:fld>
            <a:endParaRPr lang="en-US" sz="800" dirty="0">
              <a:sym typeface="+mn-lt"/>
            </a:endParaRPr>
          </a:p>
        </p:txBody>
      </p:sp>
      <p:sp>
        <p:nvSpPr>
          <p:cNvPr id="741" name="Text Placeholder 4">
            <a:extLst>
              <a:ext uri="{FF2B5EF4-FFF2-40B4-BE49-F238E27FC236}">
                <a16:creationId xmlns:a16="http://schemas.microsoft.com/office/drawing/2014/main" id="{6921470E-5E6C-4B50-BE93-03EDCC86DC4E}"/>
              </a:ext>
            </a:extLst>
          </p:cNvPr>
          <p:cNvSpPr>
            <a:spLocks noGrp="1"/>
          </p:cNvSpPr>
          <p:nvPr>
            <p:custDataLst>
              <p:tags r:id="rId73"/>
            </p:custDataLst>
          </p:nvPr>
        </p:nvSpPr>
        <p:spPr bwMode="auto">
          <a:xfrm>
            <a:off x="8348662" y="4343400"/>
            <a:ext cx="5334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9FB994F0-40BC-4FC7-AC9F-524A2007CC1E}" type="datetime'''De''n''''e''''''''''''''''m''ar''''''''''''''''''k''e''''n'">
              <a:rPr lang="en-US" altLang="en-US" sz="800" smtClean="0"/>
              <a:pPr/>
              <a:t>Denemarken</a:t>
            </a:fld>
            <a:endParaRPr lang="en-US" sz="800" dirty="0">
              <a:sym typeface="+mn-lt"/>
            </a:endParaRPr>
          </a:p>
        </p:txBody>
      </p:sp>
      <p:sp>
        <p:nvSpPr>
          <p:cNvPr id="305" name="Text Placeholder 4">
            <a:extLst>
              <a:ext uri="{FF2B5EF4-FFF2-40B4-BE49-F238E27FC236}">
                <a16:creationId xmlns:a16="http://schemas.microsoft.com/office/drawing/2014/main" id="{DEE65724-2B7B-4571-915A-8F488386DE3B}"/>
              </a:ext>
            </a:extLst>
          </p:cNvPr>
          <p:cNvSpPr>
            <a:spLocks noGrp="1"/>
          </p:cNvSpPr>
          <p:nvPr>
            <p:custDataLst>
              <p:tags r:id="rId74"/>
            </p:custDataLst>
          </p:nvPr>
        </p:nvSpPr>
        <p:spPr bwMode="auto">
          <a:xfrm>
            <a:off x="8348663" y="4587875"/>
            <a:ext cx="484188"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FB4B3F47-80AE-461B-B037-FEA89C5C5E78}" type="datetime'''''''N''''''''o''''''''o''''''r''weg''''''''e''''''n'">
              <a:rPr lang="en-US" altLang="en-US" sz="800" smtClean="0"/>
              <a:pPr/>
              <a:t>Noorwegen</a:t>
            </a:fld>
            <a:endParaRPr lang="en-US" sz="800" dirty="0">
              <a:sym typeface="+mn-lt"/>
            </a:endParaRPr>
          </a:p>
        </p:txBody>
      </p:sp>
      <p:sp>
        <p:nvSpPr>
          <p:cNvPr id="277" name="Text Placeholder 4">
            <a:extLst>
              <a:ext uri="{FF2B5EF4-FFF2-40B4-BE49-F238E27FC236}">
                <a16:creationId xmlns:a16="http://schemas.microsoft.com/office/drawing/2014/main" id="{B0A09575-CD76-44E7-978D-FE41C0060FBB}"/>
              </a:ext>
            </a:extLst>
          </p:cNvPr>
          <p:cNvSpPr>
            <a:spLocks noGrp="1"/>
          </p:cNvSpPr>
          <p:nvPr>
            <p:custDataLst>
              <p:tags r:id="rId75"/>
            </p:custDataLst>
          </p:nvPr>
        </p:nvSpPr>
        <p:spPr bwMode="auto">
          <a:xfrm>
            <a:off x="8348663" y="3730625"/>
            <a:ext cx="25241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sz="800" dirty="0"/>
              <a:t>België</a:t>
            </a:r>
            <a:endParaRPr lang="en-US" sz="800" dirty="0">
              <a:sym typeface="+mn-lt"/>
            </a:endParaRPr>
          </a:p>
        </p:txBody>
      </p:sp>
      <p:sp>
        <p:nvSpPr>
          <p:cNvPr id="306" name="Text Placeholder 4">
            <a:extLst>
              <a:ext uri="{FF2B5EF4-FFF2-40B4-BE49-F238E27FC236}">
                <a16:creationId xmlns:a16="http://schemas.microsoft.com/office/drawing/2014/main" id="{CDFDF845-8A7B-4F23-B15A-30E3A9D3A6BC}"/>
              </a:ext>
            </a:extLst>
          </p:cNvPr>
          <p:cNvSpPr>
            <a:spLocks noGrp="1"/>
          </p:cNvSpPr>
          <p:nvPr>
            <p:custDataLst>
              <p:tags r:id="rId76"/>
            </p:custDataLst>
          </p:nvPr>
        </p:nvSpPr>
        <p:spPr bwMode="auto">
          <a:xfrm>
            <a:off x="8348663" y="4711700"/>
            <a:ext cx="29845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sz="800" dirty="0"/>
              <a:t>Kroatië</a:t>
            </a:r>
            <a:endParaRPr lang="en-US" sz="800" dirty="0">
              <a:sym typeface="+mn-lt"/>
            </a:endParaRPr>
          </a:p>
        </p:txBody>
      </p:sp>
      <p:sp>
        <p:nvSpPr>
          <p:cNvPr id="313" name="Text Placeholder 4">
            <a:extLst>
              <a:ext uri="{FF2B5EF4-FFF2-40B4-BE49-F238E27FC236}">
                <a16:creationId xmlns:a16="http://schemas.microsoft.com/office/drawing/2014/main" id="{24EDF0A1-F11A-4386-BBC3-0AF0A084ACBD}"/>
              </a:ext>
            </a:extLst>
          </p:cNvPr>
          <p:cNvSpPr>
            <a:spLocks noGrp="1"/>
          </p:cNvSpPr>
          <p:nvPr>
            <p:custDataLst>
              <p:tags r:id="rId77"/>
            </p:custDataLst>
          </p:nvPr>
        </p:nvSpPr>
        <p:spPr bwMode="auto">
          <a:xfrm>
            <a:off x="8348663" y="5078413"/>
            <a:ext cx="401638"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A2D150AE-9752-4454-8755-200189711EED}" type="datetime'''''''H''''''on''''g''''''''ar''''ij''''''''''''''''''''''e'''">
              <a:rPr lang="en-US" altLang="en-US" sz="800" smtClean="0"/>
              <a:pPr/>
              <a:t>Hongarije</a:t>
            </a:fld>
            <a:endParaRPr lang="en-US" sz="800" dirty="0">
              <a:sym typeface="+mn-lt"/>
            </a:endParaRPr>
          </a:p>
        </p:txBody>
      </p:sp>
      <p:sp>
        <p:nvSpPr>
          <p:cNvPr id="310" name="Text Placeholder 4">
            <a:extLst>
              <a:ext uri="{FF2B5EF4-FFF2-40B4-BE49-F238E27FC236}">
                <a16:creationId xmlns:a16="http://schemas.microsoft.com/office/drawing/2014/main" id="{7FC23991-7459-4D65-851F-E996A70DFA37}"/>
              </a:ext>
            </a:extLst>
          </p:cNvPr>
          <p:cNvSpPr>
            <a:spLocks noGrp="1"/>
          </p:cNvSpPr>
          <p:nvPr>
            <p:custDataLst>
              <p:tags r:id="rId78"/>
            </p:custDataLst>
          </p:nvPr>
        </p:nvSpPr>
        <p:spPr bwMode="auto">
          <a:xfrm>
            <a:off x="8348664" y="5324475"/>
            <a:ext cx="27781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37E4030B-5A8A-456C-B3B8-F3D9701E4247}" type="datetime'''''''''I''''''''''J''''sl''''a''n''''''''''''d'">
              <a:rPr lang="en-US" altLang="en-US" sz="800" smtClean="0"/>
              <a:pPr/>
              <a:t>IJsland</a:t>
            </a:fld>
            <a:endParaRPr lang="en-US" sz="800" dirty="0">
              <a:sym typeface="+mn-lt"/>
            </a:endParaRPr>
          </a:p>
        </p:txBody>
      </p:sp>
      <p:sp>
        <p:nvSpPr>
          <p:cNvPr id="312" name="Text Placeholder 4">
            <a:extLst>
              <a:ext uri="{FF2B5EF4-FFF2-40B4-BE49-F238E27FC236}">
                <a16:creationId xmlns:a16="http://schemas.microsoft.com/office/drawing/2014/main" id="{AA87AA1A-2618-48C4-A933-7BA08411D33B}"/>
              </a:ext>
            </a:extLst>
          </p:cNvPr>
          <p:cNvSpPr>
            <a:spLocks noGrp="1"/>
          </p:cNvSpPr>
          <p:nvPr>
            <p:custDataLst>
              <p:tags r:id="rId79"/>
            </p:custDataLst>
          </p:nvPr>
        </p:nvSpPr>
        <p:spPr bwMode="auto">
          <a:xfrm>
            <a:off x="8348663" y="5446713"/>
            <a:ext cx="2825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DD51226D-FDF9-4AEF-A64E-CD2A89D262AE}" type="datetime'''T''''''''''''''''''''''u''''''r''k''i''''j''''''''e'''''''''">
              <a:rPr lang="en-US" altLang="en-US" sz="800" smtClean="0"/>
              <a:pPr/>
              <a:t>Turkije</a:t>
            </a:fld>
            <a:endParaRPr lang="en-US" sz="800" dirty="0">
              <a:sym typeface="+mn-lt"/>
            </a:endParaRPr>
          </a:p>
        </p:txBody>
      </p:sp>
      <p:sp>
        <p:nvSpPr>
          <p:cNvPr id="787" name="Text Placeholder 4">
            <a:extLst>
              <a:ext uri="{FF2B5EF4-FFF2-40B4-BE49-F238E27FC236}">
                <a16:creationId xmlns:a16="http://schemas.microsoft.com/office/drawing/2014/main" id="{767E9E25-4B36-49F5-AD20-0AEB4DC32D96}"/>
              </a:ext>
            </a:extLst>
          </p:cNvPr>
          <p:cNvSpPr>
            <a:spLocks noGrp="1"/>
          </p:cNvSpPr>
          <p:nvPr>
            <p:custDataLst>
              <p:tags r:id="rId80"/>
            </p:custDataLst>
          </p:nvPr>
        </p:nvSpPr>
        <p:spPr bwMode="auto">
          <a:xfrm>
            <a:off x="8348663" y="5568950"/>
            <a:ext cx="2063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FD8ACBA2-8711-4866-AD5E-1F4A4E2D6092}" type="datetime'''I''''''''''t''''a''''''''''''''''''l''''i''''''''''''ë'''">
              <a:rPr lang="en-US" altLang="en-US" sz="800" smtClean="0"/>
              <a:pPr/>
              <a:t>Italië</a:t>
            </a:fld>
            <a:endParaRPr lang="en-US" sz="800" dirty="0">
              <a:sym typeface="+mn-lt"/>
            </a:endParaRPr>
          </a:p>
        </p:txBody>
      </p:sp>
      <p:sp>
        <p:nvSpPr>
          <p:cNvPr id="740" name="Text Placeholder 4">
            <a:extLst>
              <a:ext uri="{FF2B5EF4-FFF2-40B4-BE49-F238E27FC236}">
                <a16:creationId xmlns:a16="http://schemas.microsoft.com/office/drawing/2014/main" id="{8C586A0E-28D2-4ABD-838E-2ED1A43FBC2C}"/>
              </a:ext>
            </a:extLst>
          </p:cNvPr>
          <p:cNvSpPr>
            <a:spLocks noGrp="1"/>
          </p:cNvSpPr>
          <p:nvPr>
            <p:custDataLst>
              <p:tags r:id="rId81"/>
            </p:custDataLst>
          </p:nvPr>
        </p:nvSpPr>
        <p:spPr bwMode="auto">
          <a:xfrm>
            <a:off x="8348663" y="5937250"/>
            <a:ext cx="50482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2D19BF50-F063-4C50-8EC0-2E379A2AACEA}" type="datetime'''Gri''''e''''kenl''''a''''''''''n''''d'''">
              <a:rPr lang="en-US" altLang="en-US" sz="800" smtClean="0"/>
              <a:pPr/>
              <a:t>Griekenland</a:t>
            </a:fld>
            <a:endParaRPr lang="en-US" sz="800" dirty="0">
              <a:sym typeface="+mn-lt"/>
            </a:endParaRPr>
          </a:p>
        </p:txBody>
      </p:sp>
      <p:sp>
        <p:nvSpPr>
          <p:cNvPr id="734" name="Text Placeholder 4">
            <a:extLst>
              <a:ext uri="{FF2B5EF4-FFF2-40B4-BE49-F238E27FC236}">
                <a16:creationId xmlns:a16="http://schemas.microsoft.com/office/drawing/2014/main" id="{ECFCEE3F-CF47-467D-B95E-92E20E26E122}"/>
              </a:ext>
            </a:extLst>
          </p:cNvPr>
          <p:cNvSpPr>
            <a:spLocks noGrp="1"/>
          </p:cNvSpPr>
          <p:nvPr>
            <p:custDataLst>
              <p:tags r:id="rId82"/>
            </p:custDataLst>
          </p:nvPr>
        </p:nvSpPr>
        <p:spPr bwMode="auto">
          <a:xfrm>
            <a:off x="8348663" y="5691188"/>
            <a:ext cx="39052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BEDA2D27-BD09-4696-8B38-32A3B7F8457A}" type="datetime'''''S''''''l''ow''''''a''''k''''''''''''i''''j''''''''e'''''">
              <a:rPr lang="en-US" altLang="en-US" sz="800" smtClean="0"/>
              <a:pPr/>
              <a:t>Slowakije</a:t>
            </a:fld>
            <a:endParaRPr lang="en-US" sz="800" dirty="0">
              <a:sym typeface="+mn-lt"/>
            </a:endParaRPr>
          </a:p>
        </p:txBody>
      </p:sp>
      <p:sp>
        <p:nvSpPr>
          <p:cNvPr id="737" name="Text Placeholder 4">
            <a:extLst>
              <a:ext uri="{FF2B5EF4-FFF2-40B4-BE49-F238E27FC236}">
                <a16:creationId xmlns:a16="http://schemas.microsoft.com/office/drawing/2014/main" id="{48B4C166-9F37-4495-BC5F-9AFA6B1E1C28}"/>
              </a:ext>
            </a:extLst>
          </p:cNvPr>
          <p:cNvSpPr>
            <a:spLocks noGrp="1"/>
          </p:cNvSpPr>
          <p:nvPr>
            <p:custDataLst>
              <p:tags r:id="rId83"/>
            </p:custDataLst>
          </p:nvPr>
        </p:nvSpPr>
        <p:spPr bwMode="auto">
          <a:xfrm>
            <a:off x="8348663" y="5813425"/>
            <a:ext cx="223838"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3494D699-2BCD-4DE2-8D1C-C6B9D5BF3204}" type="datetime'''''''''''''''''I''''sra''''''''''''''ë''l'''''''''''">
              <a:rPr lang="en-US" altLang="en-US" sz="800" smtClean="0"/>
              <a:pPr/>
              <a:t>Israël</a:t>
            </a:fld>
            <a:endParaRPr lang="en-US" sz="800" dirty="0">
              <a:sym typeface="+mn-lt"/>
            </a:endParaRPr>
          </a:p>
        </p:txBody>
      </p:sp>
      <p:sp>
        <p:nvSpPr>
          <p:cNvPr id="745" name="Text Placeholder 4">
            <a:extLst>
              <a:ext uri="{FF2B5EF4-FFF2-40B4-BE49-F238E27FC236}">
                <a16:creationId xmlns:a16="http://schemas.microsoft.com/office/drawing/2014/main" id="{9D71BE7A-5D7C-4246-8A1F-09DFE749EB1A}"/>
              </a:ext>
            </a:extLst>
          </p:cNvPr>
          <p:cNvSpPr>
            <a:spLocks noGrp="1"/>
          </p:cNvSpPr>
          <p:nvPr>
            <p:custDataLst>
              <p:tags r:id="rId84"/>
            </p:custDataLst>
          </p:nvPr>
        </p:nvSpPr>
        <p:spPr bwMode="auto">
          <a:xfrm>
            <a:off x="8348663" y="6059488"/>
            <a:ext cx="179388"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9881E995-965B-4357-B1CA-2EDD599B0BAF}" type="datetime'''''Ch''''''''''''''''i''''''''''''''li'''''''''''''''">
              <a:rPr lang="en-US" altLang="en-US" sz="800" smtClean="0"/>
              <a:pPr/>
              <a:t>Chili</a:t>
            </a:fld>
            <a:endParaRPr lang="en-US" sz="800" dirty="0">
              <a:sym typeface="+mn-lt"/>
            </a:endParaRPr>
          </a:p>
        </p:txBody>
      </p:sp>
      <p:sp>
        <p:nvSpPr>
          <p:cNvPr id="307" name="Text Placeholder 4">
            <a:extLst>
              <a:ext uri="{FF2B5EF4-FFF2-40B4-BE49-F238E27FC236}">
                <a16:creationId xmlns:a16="http://schemas.microsoft.com/office/drawing/2014/main" id="{7F1BF27F-32F8-42FB-BA4D-52BC33739F2D}"/>
              </a:ext>
            </a:extLst>
          </p:cNvPr>
          <p:cNvSpPr>
            <a:spLocks noGrp="1"/>
          </p:cNvSpPr>
          <p:nvPr>
            <p:custDataLst>
              <p:tags r:id="rId85"/>
            </p:custDataLst>
          </p:nvPr>
        </p:nvSpPr>
        <p:spPr bwMode="auto">
          <a:xfrm>
            <a:off x="8348663" y="4833938"/>
            <a:ext cx="3079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369EDC2A-0D1C-49EC-8DA4-ACC060FF3ABF}" type="datetime'''''''''''''''L''e''''''''''t''''''l''''a''n''''d'''''''''''''">
              <a:rPr lang="en-US" altLang="en-US" sz="800" smtClean="0"/>
              <a:pPr/>
              <a:t>Letland</a:t>
            </a:fld>
            <a:endParaRPr lang="en-US" sz="800" dirty="0">
              <a:sym typeface="+mn-lt"/>
            </a:endParaRPr>
          </a:p>
        </p:txBody>
      </p:sp>
      <p:sp>
        <p:nvSpPr>
          <p:cNvPr id="301" name="Text Placeholder 4">
            <a:extLst>
              <a:ext uri="{FF2B5EF4-FFF2-40B4-BE49-F238E27FC236}">
                <a16:creationId xmlns:a16="http://schemas.microsoft.com/office/drawing/2014/main" id="{DACF7B54-EC56-43A1-A4EC-5052AD8B1E10}"/>
              </a:ext>
            </a:extLst>
          </p:cNvPr>
          <p:cNvSpPr>
            <a:spLocks noGrp="1"/>
          </p:cNvSpPr>
          <p:nvPr>
            <p:custDataLst>
              <p:tags r:id="rId86"/>
            </p:custDataLst>
          </p:nvPr>
        </p:nvSpPr>
        <p:spPr bwMode="auto">
          <a:xfrm>
            <a:off x="8348663" y="3608388"/>
            <a:ext cx="3302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D969C363-C70D-4558-B4A1-3B49EA0822EA}" type="datetime'''''Z''''w''''''''''''''''''''e''''''d''''e''''''''''n'">
              <a:rPr lang="en-US" altLang="en-US" sz="800" smtClean="0"/>
              <a:pPr/>
              <a:t>Zweden</a:t>
            </a:fld>
            <a:endParaRPr lang="en-US" sz="800" dirty="0">
              <a:sym typeface="+mn-lt"/>
            </a:endParaRPr>
          </a:p>
        </p:txBody>
      </p:sp>
      <p:cxnSp>
        <p:nvCxnSpPr>
          <p:cNvPr id="11" name="LineContentSeparatorDefaultVertical 11">
            <a:extLst>
              <a:ext uri="{FF2B5EF4-FFF2-40B4-BE49-F238E27FC236}">
                <a16:creationId xmlns:a16="http://schemas.microsoft.com/office/drawing/2014/main" id="{0B5DF554-08E8-4817-82A5-ECEF037F2437}"/>
              </a:ext>
            </a:extLst>
          </p:cNvPr>
          <p:cNvCxnSpPr>
            <a:cxnSpLocks/>
          </p:cNvCxnSpPr>
          <p:nvPr>
            <p:custDataLst>
              <p:tags r:id="rId87"/>
            </p:custDataLst>
          </p:nvPr>
        </p:nvCxnSpPr>
        <p:spPr>
          <a:xfrm>
            <a:off x="3922406" y="1289051"/>
            <a:ext cx="0" cy="5097462"/>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graphicFrame>
        <p:nvGraphicFramePr>
          <p:cNvPr id="781" name="Chart 780">
            <a:extLst>
              <a:ext uri="{FF2B5EF4-FFF2-40B4-BE49-F238E27FC236}">
                <a16:creationId xmlns:a16="http://schemas.microsoft.com/office/drawing/2014/main" id="{133A8BEC-9412-41F5-B9BA-92DAE3C35FAB}"/>
              </a:ext>
            </a:extLst>
          </p:cNvPr>
          <p:cNvGraphicFramePr/>
          <p:nvPr>
            <p:custDataLst>
              <p:tags r:id="rId88"/>
            </p:custDataLst>
            <p:extLst>
              <p:ext uri="{D42A27DB-BD31-4B8C-83A1-F6EECF244321}">
                <p14:modId xmlns:p14="http://schemas.microsoft.com/office/powerpoint/2010/main" val="3063588620"/>
              </p:ext>
            </p:extLst>
          </p:nvPr>
        </p:nvGraphicFramePr>
        <p:xfrm>
          <a:off x="1373188" y="1931988"/>
          <a:ext cx="2212975" cy="4454525"/>
        </p:xfrm>
        <a:graphic>
          <a:graphicData uri="http://schemas.openxmlformats.org/drawingml/2006/chart">
            <c:chart xmlns:c="http://schemas.openxmlformats.org/drawingml/2006/chart" xmlns:r="http://schemas.openxmlformats.org/officeDocument/2006/relationships" r:id="rId136"/>
          </a:graphicData>
        </a:graphic>
      </p:graphicFrame>
      <p:sp>
        <p:nvSpPr>
          <p:cNvPr id="599" name="Text Placeholder 4">
            <a:extLst>
              <a:ext uri="{FF2B5EF4-FFF2-40B4-BE49-F238E27FC236}">
                <a16:creationId xmlns:a16="http://schemas.microsoft.com/office/drawing/2014/main" id="{4C1F3293-4EFE-461D-940D-7EE66BAE31C5}"/>
              </a:ext>
            </a:extLst>
          </p:cNvPr>
          <p:cNvSpPr>
            <a:spLocks noGrp="1"/>
          </p:cNvSpPr>
          <p:nvPr>
            <p:custDataLst>
              <p:tags r:id="rId89"/>
            </p:custDataLst>
          </p:nvPr>
        </p:nvSpPr>
        <p:spPr bwMode="gray">
          <a:xfrm>
            <a:off x="1892300" y="1858963"/>
            <a:ext cx="1524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97A90412-D12F-4C53-813B-B646C97BFD99}" type="datetime'''''''''''''''''''''''''''''''''''''40''''''''''''''''''''0'''">
              <a:rPr lang="en-US" altLang="en-US" sz="800" smtClean="0">
                <a:sym typeface="+mn-lt"/>
              </a:rPr>
              <a:pPr algn="ctr">
                <a:spcBef>
                  <a:spcPct val="0"/>
                </a:spcBef>
                <a:spcAft>
                  <a:spcPct val="0"/>
                </a:spcAft>
              </a:pPr>
              <a:t>400</a:t>
            </a:fld>
            <a:endParaRPr lang="en-US" sz="800" dirty="0">
              <a:sym typeface="+mn-lt"/>
            </a:endParaRPr>
          </a:p>
        </p:txBody>
      </p:sp>
      <p:sp>
        <p:nvSpPr>
          <p:cNvPr id="601" name="Text Placeholder 4">
            <a:extLst>
              <a:ext uri="{FF2B5EF4-FFF2-40B4-BE49-F238E27FC236}">
                <a16:creationId xmlns:a16="http://schemas.microsoft.com/office/drawing/2014/main" id="{4C1F3293-4EFE-461D-940D-7EE66BAE31C5}"/>
              </a:ext>
            </a:extLst>
          </p:cNvPr>
          <p:cNvSpPr>
            <a:spLocks noGrp="1"/>
          </p:cNvSpPr>
          <p:nvPr>
            <p:custDataLst>
              <p:tags r:id="rId90"/>
            </p:custDataLst>
          </p:nvPr>
        </p:nvSpPr>
        <p:spPr bwMode="gray">
          <a:xfrm>
            <a:off x="2916238" y="1858963"/>
            <a:ext cx="1524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EF9A7620-BD3F-42E1-9573-603A2DDB92FE}" type="datetime'5''''''''''''''0''''0'''">
              <a:rPr lang="en-US" altLang="en-US" sz="800" smtClean="0">
                <a:sym typeface="+mn-lt"/>
              </a:rPr>
              <a:pPr algn="ctr">
                <a:spcBef>
                  <a:spcPct val="0"/>
                </a:spcBef>
                <a:spcAft>
                  <a:spcPct val="0"/>
                </a:spcAft>
              </a:pPr>
              <a:t>500</a:t>
            </a:fld>
            <a:endParaRPr lang="en-US" sz="800" dirty="0">
              <a:sym typeface="+mn-lt"/>
            </a:endParaRPr>
          </a:p>
        </p:txBody>
      </p:sp>
      <p:sp>
        <p:nvSpPr>
          <p:cNvPr id="600" name="Text Placeholder 4">
            <a:extLst>
              <a:ext uri="{FF2B5EF4-FFF2-40B4-BE49-F238E27FC236}">
                <a16:creationId xmlns:a16="http://schemas.microsoft.com/office/drawing/2014/main" id="{4C1F3293-4EFE-461D-940D-7EE66BAE31C5}"/>
              </a:ext>
            </a:extLst>
          </p:cNvPr>
          <p:cNvSpPr>
            <a:spLocks noGrp="1"/>
          </p:cNvSpPr>
          <p:nvPr>
            <p:custDataLst>
              <p:tags r:id="rId91"/>
            </p:custDataLst>
          </p:nvPr>
        </p:nvSpPr>
        <p:spPr bwMode="gray">
          <a:xfrm>
            <a:off x="2403475" y="1858963"/>
            <a:ext cx="1524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73950CB4-89D1-493B-9729-6818C776358B}" type="datetime'''''''''''''''4''''''''''''''''''''''''50'''''''''">
              <a:rPr lang="en-US" altLang="en-US" sz="800" smtClean="0">
                <a:sym typeface="+mn-lt"/>
              </a:rPr>
              <a:pPr algn="ctr">
                <a:spcBef>
                  <a:spcPct val="0"/>
                </a:spcBef>
                <a:spcAft>
                  <a:spcPct val="0"/>
                </a:spcAft>
              </a:pPr>
              <a:t>450</a:t>
            </a:fld>
            <a:endParaRPr lang="en-US" sz="800" dirty="0">
              <a:sym typeface="+mn-lt"/>
            </a:endParaRPr>
          </a:p>
        </p:txBody>
      </p:sp>
      <p:sp>
        <p:nvSpPr>
          <p:cNvPr id="598" name="Text Placeholder 4">
            <a:extLst>
              <a:ext uri="{FF2B5EF4-FFF2-40B4-BE49-F238E27FC236}">
                <a16:creationId xmlns:a16="http://schemas.microsoft.com/office/drawing/2014/main" id="{4C1F3293-4EFE-461D-940D-7EE66BAE31C5}"/>
              </a:ext>
            </a:extLst>
          </p:cNvPr>
          <p:cNvSpPr>
            <a:spLocks noGrp="1"/>
          </p:cNvSpPr>
          <p:nvPr>
            <p:custDataLst>
              <p:tags r:id="rId92"/>
            </p:custDataLst>
          </p:nvPr>
        </p:nvSpPr>
        <p:spPr bwMode="gray">
          <a:xfrm>
            <a:off x="1379538" y="1858963"/>
            <a:ext cx="1524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8280BA85-2974-4877-8EE9-B5524F5D4FC0}" type="datetime'''''''''3''''''''''''''''''5''''0'''''''''''''''''''''''''''''">
              <a:rPr lang="en-US" altLang="en-US" sz="800" smtClean="0">
                <a:sym typeface="+mn-lt"/>
              </a:rPr>
              <a:pPr algn="ctr">
                <a:spcBef>
                  <a:spcPct val="0"/>
                </a:spcBef>
                <a:spcAft>
                  <a:spcPct val="0"/>
                </a:spcAft>
              </a:pPr>
              <a:t>350</a:t>
            </a:fld>
            <a:endParaRPr lang="en-US" sz="800" dirty="0">
              <a:sym typeface="+mn-lt"/>
            </a:endParaRPr>
          </a:p>
        </p:txBody>
      </p:sp>
      <p:sp>
        <p:nvSpPr>
          <p:cNvPr id="602" name="Text Placeholder 4">
            <a:extLst>
              <a:ext uri="{FF2B5EF4-FFF2-40B4-BE49-F238E27FC236}">
                <a16:creationId xmlns:a16="http://schemas.microsoft.com/office/drawing/2014/main" id="{4C1F3293-4EFE-461D-940D-7EE66BAE31C5}"/>
              </a:ext>
            </a:extLst>
          </p:cNvPr>
          <p:cNvSpPr>
            <a:spLocks noGrp="1"/>
          </p:cNvSpPr>
          <p:nvPr>
            <p:custDataLst>
              <p:tags r:id="rId93"/>
            </p:custDataLst>
          </p:nvPr>
        </p:nvSpPr>
        <p:spPr bwMode="gray">
          <a:xfrm>
            <a:off x="3427413" y="1858963"/>
            <a:ext cx="1524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3F85DAC2-DA64-4E4E-B07F-D280D3671839}" type="datetime'''''''''''''''''5''''''''5''''''''0'''''''''''">
              <a:rPr lang="en-US" altLang="en-US" sz="800" smtClean="0">
                <a:sym typeface="+mn-lt"/>
              </a:rPr>
              <a:pPr algn="ctr">
                <a:spcBef>
                  <a:spcPct val="0"/>
                </a:spcBef>
                <a:spcAft>
                  <a:spcPct val="0"/>
                </a:spcAft>
              </a:pPr>
              <a:t>550</a:t>
            </a:fld>
            <a:endParaRPr lang="en-US" sz="800" dirty="0">
              <a:sym typeface="+mn-lt"/>
            </a:endParaRPr>
          </a:p>
        </p:txBody>
      </p:sp>
      <p:sp>
        <p:nvSpPr>
          <p:cNvPr id="415" name="Text Placeholder 4">
            <a:extLst>
              <a:ext uri="{FF2B5EF4-FFF2-40B4-BE49-F238E27FC236}">
                <a16:creationId xmlns:a16="http://schemas.microsoft.com/office/drawing/2014/main" id="{814E1905-FAD4-41EE-BB06-DF24A6991774}"/>
              </a:ext>
            </a:extLst>
          </p:cNvPr>
          <p:cNvSpPr>
            <a:spLocks noGrp="1"/>
          </p:cNvSpPr>
          <p:nvPr>
            <p:custDataLst>
              <p:tags r:id="rId94"/>
            </p:custDataLst>
          </p:nvPr>
        </p:nvSpPr>
        <p:spPr bwMode="auto">
          <a:xfrm>
            <a:off x="581025" y="2627313"/>
            <a:ext cx="23495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453C1AE1-2FCC-400B-8782-6598A37F1AA3}" type="datetime'''P''''''''''''''''''o''''''''''l''''''''''''''e''''''''''n'">
              <a:rPr lang="en-US" altLang="en-US" sz="800" smtClean="0"/>
              <a:pPr/>
              <a:t>Polen</a:t>
            </a:fld>
            <a:endParaRPr lang="en-US" sz="800" dirty="0">
              <a:sym typeface="+mn-lt"/>
            </a:endParaRPr>
          </a:p>
        </p:txBody>
      </p:sp>
      <p:sp>
        <p:nvSpPr>
          <p:cNvPr id="398" name="Text Placeholder 4">
            <a:extLst>
              <a:ext uri="{FF2B5EF4-FFF2-40B4-BE49-F238E27FC236}">
                <a16:creationId xmlns:a16="http://schemas.microsoft.com/office/drawing/2014/main" id="{F35DA01F-7203-4D71-990F-0B203259CF0A}"/>
              </a:ext>
            </a:extLst>
          </p:cNvPr>
          <p:cNvSpPr>
            <a:spLocks noGrp="1"/>
          </p:cNvSpPr>
          <p:nvPr>
            <p:custDataLst>
              <p:tags r:id="rId95"/>
            </p:custDataLst>
          </p:nvPr>
        </p:nvSpPr>
        <p:spPr bwMode="auto">
          <a:xfrm>
            <a:off x="581025" y="2014538"/>
            <a:ext cx="30321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B8FC54F1-D55A-42F1-BFE3-675E81AEE3B2}" type="datetime'E''''''''''''''''''''''''''''s''''t''''''''''''l''''''a''n''d'">
              <a:rPr lang="en-US" altLang="en-US" sz="800" smtClean="0"/>
              <a:pPr/>
              <a:t>Estland</a:t>
            </a:fld>
            <a:endParaRPr lang="en-US" sz="800" dirty="0">
              <a:sym typeface="+mn-lt"/>
            </a:endParaRPr>
          </a:p>
        </p:txBody>
      </p:sp>
      <p:sp>
        <p:nvSpPr>
          <p:cNvPr id="411" name="Text Placeholder 4">
            <a:extLst>
              <a:ext uri="{FF2B5EF4-FFF2-40B4-BE49-F238E27FC236}">
                <a16:creationId xmlns:a16="http://schemas.microsoft.com/office/drawing/2014/main" id="{20C493A2-7F13-4213-90A2-C3EFD2794CB5}"/>
              </a:ext>
            </a:extLst>
          </p:cNvPr>
          <p:cNvSpPr>
            <a:spLocks noGrp="1"/>
          </p:cNvSpPr>
          <p:nvPr>
            <p:custDataLst>
              <p:tags r:id="rId96"/>
            </p:custDataLst>
          </p:nvPr>
        </p:nvSpPr>
        <p:spPr bwMode="auto">
          <a:xfrm>
            <a:off x="581025" y="2260600"/>
            <a:ext cx="3048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89193AF5-B008-4A90-9D50-54195151AB50}" type="datetime'''''''Fi''n''''''l''''''a''n''''''''''''''''d'''''">
              <a:rPr lang="en-US" altLang="en-US" sz="800" smtClean="0"/>
              <a:pPr/>
              <a:t>Finland</a:t>
            </a:fld>
            <a:endParaRPr lang="en-US" sz="800" dirty="0">
              <a:sym typeface="+mn-lt"/>
            </a:endParaRPr>
          </a:p>
        </p:txBody>
      </p:sp>
      <p:sp>
        <p:nvSpPr>
          <p:cNvPr id="606" name="Text Placeholder 4">
            <a:extLst>
              <a:ext uri="{FF2B5EF4-FFF2-40B4-BE49-F238E27FC236}">
                <a16:creationId xmlns:a16="http://schemas.microsoft.com/office/drawing/2014/main" id="{3B194E06-10E3-4FBD-893D-D1E879278A2A}"/>
              </a:ext>
            </a:extLst>
          </p:cNvPr>
          <p:cNvSpPr>
            <a:spLocks noGrp="1"/>
          </p:cNvSpPr>
          <p:nvPr>
            <p:custDataLst>
              <p:tags r:id="rId97"/>
            </p:custDataLst>
          </p:nvPr>
        </p:nvSpPr>
        <p:spPr bwMode="auto">
          <a:xfrm>
            <a:off x="581025" y="2505075"/>
            <a:ext cx="452438"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7652AD4B-86E2-415A-8EAE-388482C22239}" type="datetime'''Zu''''i''d''''-''''''Ko''''''''''''r''e''''''''''''a'">
              <a:rPr lang="en-US" altLang="en-US" sz="800" smtClean="0"/>
              <a:pPr/>
              <a:t>Zuid-Korea</a:t>
            </a:fld>
            <a:endParaRPr lang="en-US" sz="800" dirty="0">
              <a:sym typeface="+mn-lt"/>
            </a:endParaRPr>
          </a:p>
        </p:txBody>
      </p:sp>
      <p:sp>
        <p:nvSpPr>
          <p:cNvPr id="580" name="Text Placeholder 4">
            <a:extLst>
              <a:ext uri="{FF2B5EF4-FFF2-40B4-BE49-F238E27FC236}">
                <a16:creationId xmlns:a16="http://schemas.microsoft.com/office/drawing/2014/main" id="{FA25E224-EB4A-4126-9447-C3F53872AE95}"/>
              </a:ext>
            </a:extLst>
          </p:cNvPr>
          <p:cNvSpPr>
            <a:spLocks noGrp="1"/>
          </p:cNvSpPr>
          <p:nvPr>
            <p:custDataLst>
              <p:tags r:id="rId98"/>
            </p:custDataLst>
          </p:nvPr>
        </p:nvSpPr>
        <p:spPr bwMode="auto">
          <a:xfrm>
            <a:off x="581025" y="5937250"/>
            <a:ext cx="50482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CA5AEC6A-FE71-4F0A-9D1B-7EF3091C9753}" type="datetime'''''G''r''''''''''ie''''''k''en''''''la''n''''''''''''d'''''">
              <a:rPr lang="en-US" altLang="en-US" sz="800" smtClean="0"/>
              <a:pPr/>
              <a:t>Griekenland</a:t>
            </a:fld>
            <a:endParaRPr lang="en-US" sz="800" dirty="0">
              <a:sym typeface="+mn-lt"/>
            </a:endParaRPr>
          </a:p>
        </p:txBody>
      </p:sp>
      <p:sp>
        <p:nvSpPr>
          <p:cNvPr id="410" name="Text Placeholder 4">
            <a:extLst>
              <a:ext uri="{FF2B5EF4-FFF2-40B4-BE49-F238E27FC236}">
                <a16:creationId xmlns:a16="http://schemas.microsoft.com/office/drawing/2014/main" id="{7F47CE04-69ED-4D4D-B10F-2743CDB37ADC}"/>
              </a:ext>
            </a:extLst>
          </p:cNvPr>
          <p:cNvSpPr>
            <a:spLocks noGrp="1"/>
          </p:cNvSpPr>
          <p:nvPr>
            <p:custDataLst>
              <p:tags r:id="rId99"/>
            </p:custDataLst>
          </p:nvPr>
        </p:nvSpPr>
        <p:spPr bwMode="auto">
          <a:xfrm>
            <a:off x="581025" y="2136775"/>
            <a:ext cx="30956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C62D3BCC-90CF-4347-969A-D32752DD3A0B}" type="datetime'C''''''''''''a''''''''''''n''''a''''''''''d''''a'''''''''''">
              <a:rPr lang="en-US" altLang="en-US" sz="800" smtClean="0"/>
              <a:pPr/>
              <a:t>Canada</a:t>
            </a:fld>
            <a:endParaRPr lang="en-US" sz="800" dirty="0">
              <a:sym typeface="+mn-lt"/>
            </a:endParaRPr>
          </a:p>
        </p:txBody>
      </p:sp>
      <p:sp>
        <p:nvSpPr>
          <p:cNvPr id="413" name="Text Placeholder 4">
            <a:extLst>
              <a:ext uri="{FF2B5EF4-FFF2-40B4-BE49-F238E27FC236}">
                <a16:creationId xmlns:a16="http://schemas.microsoft.com/office/drawing/2014/main" id="{C5CB3D87-AB58-4312-B67A-9A7FEF44C092}"/>
              </a:ext>
            </a:extLst>
          </p:cNvPr>
          <p:cNvSpPr>
            <a:spLocks noGrp="1"/>
          </p:cNvSpPr>
          <p:nvPr>
            <p:custDataLst>
              <p:tags r:id="rId100"/>
            </p:custDataLst>
          </p:nvPr>
        </p:nvSpPr>
        <p:spPr bwMode="auto">
          <a:xfrm>
            <a:off x="581025" y="2382838"/>
            <a:ext cx="2921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962F97F3-0C78-4FE6-91C5-97210AC718F3}" type="datetime'''''I''''''''''e''r''''''''''''''''''''l''a''n''''''''''d'">
              <a:rPr lang="en-US" altLang="en-US" sz="800" smtClean="0"/>
              <a:pPr/>
              <a:t>Ierland</a:t>
            </a:fld>
            <a:endParaRPr lang="en-US" sz="800" dirty="0">
              <a:sym typeface="+mn-lt"/>
            </a:endParaRPr>
          </a:p>
        </p:txBody>
      </p:sp>
      <p:sp>
        <p:nvSpPr>
          <p:cNvPr id="439" name="Text Placeholder 4">
            <a:extLst>
              <a:ext uri="{FF2B5EF4-FFF2-40B4-BE49-F238E27FC236}">
                <a16:creationId xmlns:a16="http://schemas.microsoft.com/office/drawing/2014/main" id="{D1238E6E-E3A7-4A42-B1F1-6593B3B3C5E2}"/>
              </a:ext>
            </a:extLst>
          </p:cNvPr>
          <p:cNvSpPr>
            <a:spLocks noGrp="1"/>
          </p:cNvSpPr>
          <p:nvPr>
            <p:custDataLst>
              <p:tags r:id="rId101"/>
            </p:custDataLst>
          </p:nvPr>
        </p:nvSpPr>
        <p:spPr bwMode="auto">
          <a:xfrm>
            <a:off x="581025" y="5568950"/>
            <a:ext cx="46355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9F0B4AA5-E48F-49FD-AC11-879E24533B5F}" type="datetime'''''''''L''''u''''''''''''x''''''e''''''''mb''u''''''''r''''g'">
              <a:rPr lang="en-US" altLang="en-US" sz="800" smtClean="0"/>
              <a:pPr/>
              <a:t>Luxemburg</a:t>
            </a:fld>
            <a:endParaRPr lang="en-US" sz="800" dirty="0">
              <a:sym typeface="+mn-lt"/>
            </a:endParaRPr>
          </a:p>
        </p:txBody>
      </p:sp>
      <p:sp>
        <p:nvSpPr>
          <p:cNvPr id="428" name="Text Placeholder 4">
            <a:extLst>
              <a:ext uri="{FF2B5EF4-FFF2-40B4-BE49-F238E27FC236}">
                <a16:creationId xmlns:a16="http://schemas.microsoft.com/office/drawing/2014/main" id="{B7F7FDCD-5400-421D-9604-4606496E6034}"/>
              </a:ext>
            </a:extLst>
          </p:cNvPr>
          <p:cNvSpPr>
            <a:spLocks noGrp="1"/>
          </p:cNvSpPr>
          <p:nvPr>
            <p:custDataLst>
              <p:tags r:id="rId102"/>
            </p:custDataLst>
          </p:nvPr>
        </p:nvSpPr>
        <p:spPr bwMode="auto">
          <a:xfrm>
            <a:off x="581025" y="3852863"/>
            <a:ext cx="34925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sz="800" dirty="0"/>
              <a:t>Slovenië</a:t>
            </a:r>
            <a:endParaRPr lang="en-US" sz="800" dirty="0">
              <a:sym typeface="+mn-lt"/>
            </a:endParaRPr>
          </a:p>
        </p:txBody>
      </p:sp>
      <p:sp>
        <p:nvSpPr>
          <p:cNvPr id="417" name="Text Placeholder 4">
            <a:extLst>
              <a:ext uri="{FF2B5EF4-FFF2-40B4-BE49-F238E27FC236}">
                <a16:creationId xmlns:a16="http://schemas.microsoft.com/office/drawing/2014/main" id="{881B5F89-488C-42C4-92BE-6AD43C9BC99A}"/>
              </a:ext>
            </a:extLst>
          </p:cNvPr>
          <p:cNvSpPr>
            <a:spLocks noGrp="1"/>
          </p:cNvSpPr>
          <p:nvPr>
            <p:custDataLst>
              <p:tags r:id="rId103"/>
            </p:custDataLst>
          </p:nvPr>
        </p:nvSpPr>
        <p:spPr bwMode="auto">
          <a:xfrm>
            <a:off x="581025" y="2749550"/>
            <a:ext cx="3302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CFA99D2E-BF28-4D33-9EA7-EE6F35281C2C}" type="datetime'''''''''''Z''''''''wed''e''n'''''''''''''''">
              <a:rPr lang="en-US" altLang="en-US" sz="800" smtClean="0"/>
              <a:pPr/>
              <a:t>Zweden</a:t>
            </a:fld>
            <a:endParaRPr lang="en-US" sz="800" dirty="0">
              <a:sym typeface="+mn-lt"/>
            </a:endParaRPr>
          </a:p>
        </p:txBody>
      </p:sp>
      <p:sp>
        <p:nvSpPr>
          <p:cNvPr id="423" name="Text Placeholder 4">
            <a:extLst>
              <a:ext uri="{FF2B5EF4-FFF2-40B4-BE49-F238E27FC236}">
                <a16:creationId xmlns:a16="http://schemas.microsoft.com/office/drawing/2014/main" id="{2B5D1CA1-6E2E-43A7-94EC-0647D4C7573A}"/>
              </a:ext>
            </a:extLst>
          </p:cNvPr>
          <p:cNvSpPr>
            <a:spLocks noGrp="1"/>
          </p:cNvSpPr>
          <p:nvPr>
            <p:custDataLst>
              <p:tags r:id="rId104"/>
            </p:custDataLst>
          </p:nvPr>
        </p:nvSpPr>
        <p:spPr bwMode="auto">
          <a:xfrm>
            <a:off x="581025" y="3362325"/>
            <a:ext cx="3683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sz="800" dirty="0"/>
              <a:t>Australië</a:t>
            </a:r>
            <a:endParaRPr lang="en-US" sz="800" dirty="0">
              <a:sym typeface="+mn-lt"/>
            </a:endParaRPr>
          </a:p>
        </p:txBody>
      </p:sp>
      <p:sp>
        <p:nvSpPr>
          <p:cNvPr id="419" name="Text Placeholder 4">
            <a:extLst>
              <a:ext uri="{FF2B5EF4-FFF2-40B4-BE49-F238E27FC236}">
                <a16:creationId xmlns:a16="http://schemas.microsoft.com/office/drawing/2014/main" id="{2821A1BD-CE88-4AAD-9AD8-609C7A63FE08}"/>
              </a:ext>
            </a:extLst>
          </p:cNvPr>
          <p:cNvSpPr>
            <a:spLocks noGrp="1"/>
          </p:cNvSpPr>
          <p:nvPr>
            <p:custDataLst>
              <p:tags r:id="rId105"/>
            </p:custDataLst>
          </p:nvPr>
        </p:nvSpPr>
        <p:spPr bwMode="auto">
          <a:xfrm>
            <a:off x="581025" y="2873375"/>
            <a:ext cx="62865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0024396E-BD15-4819-9563-81EE5DF26AED}" type="datetime'N''i''''euw''''''-Z''e''el''a''''''''nd'''''''''''''">
              <a:rPr lang="en-US" altLang="en-US" sz="800" smtClean="0"/>
              <a:pPr/>
              <a:t>Nieuw-Zeeland</a:t>
            </a:fld>
            <a:endParaRPr lang="en-US" sz="800" dirty="0">
              <a:sym typeface="+mn-lt"/>
            </a:endParaRPr>
          </a:p>
        </p:txBody>
      </p:sp>
      <p:sp>
        <p:nvSpPr>
          <p:cNvPr id="420" name="Text Placeholder 4">
            <a:extLst>
              <a:ext uri="{FF2B5EF4-FFF2-40B4-BE49-F238E27FC236}">
                <a16:creationId xmlns:a16="http://schemas.microsoft.com/office/drawing/2014/main" id="{5F3F42C1-5B07-4F90-ACFD-907B64B76C40}"/>
              </a:ext>
            </a:extLst>
          </p:cNvPr>
          <p:cNvSpPr>
            <a:spLocks noGrp="1"/>
          </p:cNvSpPr>
          <p:nvPr>
            <p:custDataLst>
              <p:tags r:id="rId106"/>
            </p:custDataLst>
          </p:nvPr>
        </p:nvSpPr>
        <p:spPr bwMode="auto">
          <a:xfrm>
            <a:off x="581025" y="2995613"/>
            <a:ext cx="712788"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AC1DEFB8-AC6F-4E8C-B469-8447F04F52F0}" type="datetime'''''''Vere''''''n''i''gd''''e'' ''''''S''''''''t''a''t''e''n'">
              <a:rPr lang="en-US" altLang="en-US" sz="800" smtClean="0"/>
              <a:pPr/>
              <a:t>Verenigde Staten</a:t>
            </a:fld>
            <a:endParaRPr lang="en-US" sz="800" dirty="0">
              <a:sym typeface="+mn-lt"/>
            </a:endParaRPr>
          </a:p>
        </p:txBody>
      </p:sp>
      <p:sp>
        <p:nvSpPr>
          <p:cNvPr id="434" name="Text Placeholder 4">
            <a:extLst>
              <a:ext uri="{FF2B5EF4-FFF2-40B4-BE49-F238E27FC236}">
                <a16:creationId xmlns:a16="http://schemas.microsoft.com/office/drawing/2014/main" id="{115A96BD-D4FA-4E14-B40E-39C0C00BE406}"/>
              </a:ext>
            </a:extLst>
          </p:cNvPr>
          <p:cNvSpPr>
            <a:spLocks noGrp="1"/>
          </p:cNvSpPr>
          <p:nvPr>
            <p:custDataLst>
              <p:tags r:id="rId107"/>
            </p:custDataLst>
          </p:nvPr>
        </p:nvSpPr>
        <p:spPr bwMode="auto">
          <a:xfrm>
            <a:off x="581025" y="4465638"/>
            <a:ext cx="44291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D30C7BED-4A05-4DB7-A35A-4BEB5041973A}" type="datetime'''''Ne''d''''''e''''''''''''rl''''''''a''''n''d'''''''''''''''">
              <a:rPr lang="en-US" altLang="en-US" sz="800" b="1" smtClean="0">
                <a:solidFill>
                  <a:schemeClr val="accent2"/>
                </a:solidFill>
              </a:rPr>
              <a:pPr/>
              <a:t>Nederland</a:t>
            </a:fld>
            <a:endParaRPr lang="en-US" sz="800" b="1" dirty="0">
              <a:solidFill>
                <a:schemeClr val="accent2"/>
              </a:solidFill>
              <a:sym typeface="+mn-lt"/>
            </a:endParaRPr>
          </a:p>
        </p:txBody>
      </p:sp>
      <p:sp>
        <p:nvSpPr>
          <p:cNvPr id="579" name="Text Placeholder 4">
            <a:extLst>
              <a:ext uri="{FF2B5EF4-FFF2-40B4-BE49-F238E27FC236}">
                <a16:creationId xmlns:a16="http://schemas.microsoft.com/office/drawing/2014/main" id="{3CD370C0-B139-49CC-A71B-E2410F88F2BC}"/>
              </a:ext>
            </a:extLst>
          </p:cNvPr>
          <p:cNvSpPr>
            <a:spLocks noGrp="1"/>
          </p:cNvSpPr>
          <p:nvPr>
            <p:custDataLst>
              <p:tags r:id="rId108"/>
            </p:custDataLst>
          </p:nvPr>
        </p:nvSpPr>
        <p:spPr bwMode="auto">
          <a:xfrm>
            <a:off x="581026" y="5813425"/>
            <a:ext cx="39052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054024F4-5F74-4098-A0B9-34FD8DE76C31}" type="datetime'''''''''''''Slo''''''w''''''''a''''''''''k''i''j''''''''e'">
              <a:rPr lang="en-US" altLang="en-US" sz="800" smtClean="0"/>
              <a:pPr/>
              <a:t>Slowakije</a:t>
            </a:fld>
            <a:endParaRPr lang="en-US" sz="800" dirty="0">
              <a:sym typeface="+mn-lt"/>
            </a:endParaRPr>
          </a:p>
        </p:txBody>
      </p:sp>
      <p:sp>
        <p:nvSpPr>
          <p:cNvPr id="433" name="Text Placeholder 4">
            <a:extLst>
              <a:ext uri="{FF2B5EF4-FFF2-40B4-BE49-F238E27FC236}">
                <a16:creationId xmlns:a16="http://schemas.microsoft.com/office/drawing/2014/main" id="{8E360682-0B8D-4EBC-9F78-E28F92DAFCE3}"/>
              </a:ext>
            </a:extLst>
          </p:cNvPr>
          <p:cNvSpPr>
            <a:spLocks noGrp="1"/>
          </p:cNvSpPr>
          <p:nvPr>
            <p:custDataLst>
              <p:tags r:id="rId109"/>
            </p:custDataLst>
          </p:nvPr>
        </p:nvSpPr>
        <p:spPr bwMode="auto">
          <a:xfrm>
            <a:off x="581025" y="4343400"/>
            <a:ext cx="33496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sz="800" dirty="0"/>
              <a:t>Tsjechië</a:t>
            </a:r>
          </a:p>
        </p:txBody>
      </p:sp>
      <p:sp>
        <p:nvSpPr>
          <p:cNvPr id="427" name="Text Placeholder 4">
            <a:extLst>
              <a:ext uri="{FF2B5EF4-FFF2-40B4-BE49-F238E27FC236}">
                <a16:creationId xmlns:a16="http://schemas.microsoft.com/office/drawing/2014/main" id="{C155A601-6F41-4B7A-8D33-3E62B5DF362D}"/>
              </a:ext>
            </a:extLst>
          </p:cNvPr>
          <p:cNvSpPr>
            <a:spLocks noGrp="1"/>
          </p:cNvSpPr>
          <p:nvPr>
            <p:custDataLst>
              <p:tags r:id="rId110"/>
            </p:custDataLst>
          </p:nvPr>
        </p:nvSpPr>
        <p:spPr bwMode="auto">
          <a:xfrm>
            <a:off x="581025" y="3730625"/>
            <a:ext cx="3937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180926EF-6B58-4C58-AB14-F68C96197C9F}" type="datetime'''D''''ui''''''t''''''''''''sl''an''d'''''''''">
              <a:rPr lang="en-US" altLang="en-US" sz="800" smtClean="0"/>
              <a:pPr/>
              <a:t>Duitsland</a:t>
            </a:fld>
            <a:endParaRPr lang="en-US" sz="800" dirty="0">
              <a:sym typeface="+mn-lt"/>
            </a:endParaRPr>
          </a:p>
        </p:txBody>
      </p:sp>
      <p:sp>
        <p:nvSpPr>
          <p:cNvPr id="610" name="Text Placeholder 4">
            <a:extLst>
              <a:ext uri="{FF2B5EF4-FFF2-40B4-BE49-F238E27FC236}">
                <a16:creationId xmlns:a16="http://schemas.microsoft.com/office/drawing/2014/main" id="{A6EEDCCA-1A2E-4B2B-A772-5210A6BAC3A8}"/>
              </a:ext>
            </a:extLst>
          </p:cNvPr>
          <p:cNvSpPr>
            <a:spLocks noGrp="1"/>
          </p:cNvSpPr>
          <p:nvPr>
            <p:custDataLst>
              <p:tags r:id="rId111"/>
            </p:custDataLst>
          </p:nvPr>
        </p:nvSpPr>
        <p:spPr bwMode="auto">
          <a:xfrm>
            <a:off x="581026" y="3240088"/>
            <a:ext cx="23812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BAD2CB82-815B-4AAE-B132-4A0855CC58A3}" type="datetime'''''''''''''''''''''J''''''''''''a''''pa''n'''''''''">
              <a:rPr lang="en-US" altLang="en-US" sz="800" smtClean="0"/>
              <a:pPr/>
              <a:t>Japan</a:t>
            </a:fld>
            <a:endParaRPr lang="en-US" sz="800" dirty="0">
              <a:sym typeface="+mn-lt"/>
            </a:endParaRPr>
          </a:p>
        </p:txBody>
      </p:sp>
      <p:sp>
        <p:nvSpPr>
          <p:cNvPr id="409" name="Text Placeholder 4">
            <a:extLst>
              <a:ext uri="{FF2B5EF4-FFF2-40B4-BE49-F238E27FC236}">
                <a16:creationId xmlns:a16="http://schemas.microsoft.com/office/drawing/2014/main" id="{BF0E34AA-4E21-4491-A73C-9173D1E228AF}"/>
              </a:ext>
            </a:extLst>
          </p:cNvPr>
          <p:cNvSpPr>
            <a:spLocks noGrp="1"/>
          </p:cNvSpPr>
          <p:nvPr>
            <p:custDataLst>
              <p:tags r:id="rId112"/>
            </p:custDataLst>
          </p:nvPr>
        </p:nvSpPr>
        <p:spPr bwMode="auto">
          <a:xfrm>
            <a:off x="581025" y="3486150"/>
            <a:ext cx="5334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0F4A395D-4DFA-45E1-8039-255259A02A68}" type="datetime'D''e''n''''''''''e''ma''''''''r''''''''k''''''''''''en'''''">
              <a:rPr lang="en-US" altLang="en-US" sz="800" smtClean="0"/>
              <a:pPr/>
              <a:t>Denemarken</a:t>
            </a:fld>
            <a:endParaRPr lang="en-US" sz="800" dirty="0">
              <a:sym typeface="+mn-lt"/>
            </a:endParaRPr>
          </a:p>
        </p:txBody>
      </p:sp>
      <p:sp>
        <p:nvSpPr>
          <p:cNvPr id="425" name="Text Placeholder 4">
            <a:extLst>
              <a:ext uri="{FF2B5EF4-FFF2-40B4-BE49-F238E27FC236}">
                <a16:creationId xmlns:a16="http://schemas.microsoft.com/office/drawing/2014/main" id="{8E121825-270C-4AC5-BAFE-F82325CA6D65}"/>
              </a:ext>
            </a:extLst>
          </p:cNvPr>
          <p:cNvSpPr>
            <a:spLocks noGrp="1"/>
          </p:cNvSpPr>
          <p:nvPr>
            <p:custDataLst>
              <p:tags r:id="rId113"/>
            </p:custDataLst>
          </p:nvPr>
        </p:nvSpPr>
        <p:spPr bwMode="auto">
          <a:xfrm>
            <a:off x="581025" y="3608388"/>
            <a:ext cx="484188"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3CA00E85-DEBF-404F-8614-D7483AD0BA68}" type="datetime'''''N''oorw''''''e''''''g''e''n'''''''">
              <a:rPr lang="en-US" altLang="en-US" sz="800" smtClean="0"/>
              <a:pPr/>
              <a:t>Noorwegen</a:t>
            </a:fld>
            <a:endParaRPr lang="en-US" sz="800" dirty="0">
              <a:sym typeface="+mn-lt"/>
            </a:endParaRPr>
          </a:p>
        </p:txBody>
      </p:sp>
      <p:sp>
        <p:nvSpPr>
          <p:cNvPr id="437" name="Text Placeholder 4">
            <a:extLst>
              <a:ext uri="{FF2B5EF4-FFF2-40B4-BE49-F238E27FC236}">
                <a16:creationId xmlns:a16="http://schemas.microsoft.com/office/drawing/2014/main" id="{D5705DF9-566B-4635-AE7F-39D631A09BBC}"/>
              </a:ext>
            </a:extLst>
          </p:cNvPr>
          <p:cNvSpPr>
            <a:spLocks noGrp="1"/>
          </p:cNvSpPr>
          <p:nvPr>
            <p:custDataLst>
              <p:tags r:id="rId114"/>
            </p:custDataLst>
          </p:nvPr>
        </p:nvSpPr>
        <p:spPr bwMode="auto">
          <a:xfrm>
            <a:off x="581025" y="5200650"/>
            <a:ext cx="401638"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7B48475F-2132-4163-A764-0C6B0915C2E6}" type="datetime'''H''''''o''ng''''''''''''a''''''r''''''''''ije'''''''''''''">
              <a:rPr lang="en-US" altLang="en-US" sz="800" smtClean="0"/>
              <a:pPr/>
              <a:t>Hongarije</a:t>
            </a:fld>
            <a:endParaRPr lang="en-US" sz="800" dirty="0">
              <a:sym typeface="+mn-lt"/>
            </a:endParaRPr>
          </a:p>
        </p:txBody>
      </p:sp>
      <p:sp>
        <p:nvSpPr>
          <p:cNvPr id="435" name="Text Placeholder 4">
            <a:extLst>
              <a:ext uri="{FF2B5EF4-FFF2-40B4-BE49-F238E27FC236}">
                <a16:creationId xmlns:a16="http://schemas.microsoft.com/office/drawing/2014/main" id="{A1930855-0570-406E-96B0-79CFA781A30E}"/>
              </a:ext>
            </a:extLst>
          </p:cNvPr>
          <p:cNvSpPr>
            <a:spLocks noGrp="1"/>
          </p:cNvSpPr>
          <p:nvPr>
            <p:custDataLst>
              <p:tags r:id="rId115"/>
            </p:custDataLst>
          </p:nvPr>
        </p:nvSpPr>
        <p:spPr bwMode="auto">
          <a:xfrm>
            <a:off x="581025" y="3975100"/>
            <a:ext cx="3587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6859697C-9F99-4DE0-AF26-6D3536BA6E93}" type="datetime'''F''''''''''''''''''''''''''r''''a''''''nk''''''r''i''''jk'">
              <a:rPr lang="en-US" altLang="en-US" sz="800" smtClean="0"/>
              <a:pPr/>
              <a:t>Frankrijk</a:t>
            </a:fld>
            <a:endParaRPr lang="en-US" sz="800" dirty="0">
              <a:sym typeface="+mn-lt"/>
            </a:endParaRPr>
          </a:p>
        </p:txBody>
      </p:sp>
      <p:sp>
        <p:nvSpPr>
          <p:cNvPr id="400" name="Text Placeholder 4">
            <a:extLst>
              <a:ext uri="{FF2B5EF4-FFF2-40B4-BE49-F238E27FC236}">
                <a16:creationId xmlns:a16="http://schemas.microsoft.com/office/drawing/2014/main" id="{05708FDB-ED42-463D-977A-C7FFBCB6DA12}"/>
              </a:ext>
            </a:extLst>
          </p:cNvPr>
          <p:cNvSpPr>
            <a:spLocks noGrp="1"/>
          </p:cNvSpPr>
          <p:nvPr>
            <p:custDataLst>
              <p:tags r:id="rId116"/>
            </p:custDataLst>
          </p:nvPr>
        </p:nvSpPr>
        <p:spPr bwMode="auto">
          <a:xfrm>
            <a:off x="581025" y="4098925"/>
            <a:ext cx="25241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sz="800" dirty="0"/>
              <a:t>België</a:t>
            </a:r>
            <a:endParaRPr lang="en-US" sz="800" dirty="0">
              <a:sym typeface="+mn-lt"/>
            </a:endParaRPr>
          </a:p>
        </p:txBody>
      </p:sp>
      <p:sp>
        <p:nvSpPr>
          <p:cNvPr id="619" name="Text Placeholder 4">
            <a:extLst>
              <a:ext uri="{FF2B5EF4-FFF2-40B4-BE49-F238E27FC236}">
                <a16:creationId xmlns:a16="http://schemas.microsoft.com/office/drawing/2014/main" id="{2E7F7590-221A-449C-AB43-4C4E0B974930}"/>
              </a:ext>
            </a:extLst>
          </p:cNvPr>
          <p:cNvSpPr>
            <a:spLocks noGrp="1"/>
          </p:cNvSpPr>
          <p:nvPr>
            <p:custDataLst>
              <p:tags r:id="rId117"/>
            </p:custDataLst>
          </p:nvPr>
        </p:nvSpPr>
        <p:spPr bwMode="auto">
          <a:xfrm>
            <a:off x="581026" y="5691188"/>
            <a:ext cx="2825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7FEF0759-A83D-4036-87C8-75D4FBCF0BDF}" type="datetime'''''''''''''T''''u''''rk''''''''''i''''j''''''e'''''''''''''">
              <a:rPr lang="en-US" altLang="en-US" sz="800" smtClean="0"/>
              <a:pPr/>
              <a:t>Turkije</a:t>
            </a:fld>
            <a:endParaRPr lang="en-US" sz="800" dirty="0">
              <a:sym typeface="+mn-lt"/>
            </a:endParaRPr>
          </a:p>
        </p:txBody>
      </p:sp>
      <p:sp>
        <p:nvSpPr>
          <p:cNvPr id="430" name="Text Placeholder 4">
            <a:extLst>
              <a:ext uri="{FF2B5EF4-FFF2-40B4-BE49-F238E27FC236}">
                <a16:creationId xmlns:a16="http://schemas.microsoft.com/office/drawing/2014/main" id="{9E20522B-02E3-4BB5-B8DF-3353ED06296C}"/>
              </a:ext>
            </a:extLst>
          </p:cNvPr>
          <p:cNvSpPr>
            <a:spLocks noGrp="1"/>
          </p:cNvSpPr>
          <p:nvPr>
            <p:custDataLst>
              <p:tags r:id="rId118"/>
            </p:custDataLst>
          </p:nvPr>
        </p:nvSpPr>
        <p:spPr bwMode="auto">
          <a:xfrm>
            <a:off x="581025" y="4221163"/>
            <a:ext cx="34925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76357B3C-7304-41D2-B74E-8601880C427A}" type="datetime'P''''''o''rt''''''''''''u''''''ga''''''''''''''''''l'''">
              <a:rPr lang="en-US" altLang="en-US" sz="800" smtClean="0"/>
              <a:pPr/>
              <a:t>Portugal</a:t>
            </a:fld>
            <a:endParaRPr lang="en-US" sz="800" dirty="0">
              <a:sym typeface="+mn-lt"/>
            </a:endParaRPr>
          </a:p>
        </p:txBody>
      </p:sp>
      <p:sp>
        <p:nvSpPr>
          <p:cNvPr id="431" name="Text Placeholder 4">
            <a:extLst>
              <a:ext uri="{FF2B5EF4-FFF2-40B4-BE49-F238E27FC236}">
                <a16:creationId xmlns:a16="http://schemas.microsoft.com/office/drawing/2014/main" id="{12EA8742-2AD5-4D49-891D-978B2F6F0AC7}"/>
              </a:ext>
            </a:extLst>
          </p:cNvPr>
          <p:cNvSpPr>
            <a:spLocks noGrp="1"/>
          </p:cNvSpPr>
          <p:nvPr>
            <p:custDataLst>
              <p:tags r:id="rId119"/>
            </p:custDataLst>
          </p:nvPr>
        </p:nvSpPr>
        <p:spPr bwMode="auto">
          <a:xfrm>
            <a:off x="581025" y="4587875"/>
            <a:ext cx="427038"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97400176-1B5C-481B-8D40-7F0A64336A2B}" type="datetime'''''''''''O''''''''os''''t''''''''''''''e''''n''''''''ri''jk'">
              <a:rPr lang="en-US" altLang="en-US" sz="800" smtClean="0"/>
              <a:pPr/>
              <a:t>Oostenrijk</a:t>
            </a:fld>
            <a:endParaRPr lang="en-US" sz="800" dirty="0">
              <a:sym typeface="+mn-lt"/>
            </a:endParaRPr>
          </a:p>
        </p:txBody>
      </p:sp>
      <p:sp>
        <p:nvSpPr>
          <p:cNvPr id="440" name="Text Placeholder 4">
            <a:extLst>
              <a:ext uri="{FF2B5EF4-FFF2-40B4-BE49-F238E27FC236}">
                <a16:creationId xmlns:a16="http://schemas.microsoft.com/office/drawing/2014/main" id="{7921D2A6-6D59-44C2-83D5-5F423EE5C943}"/>
              </a:ext>
            </a:extLst>
          </p:cNvPr>
          <p:cNvSpPr>
            <a:spLocks noGrp="1"/>
          </p:cNvSpPr>
          <p:nvPr>
            <p:custDataLst>
              <p:tags r:id="rId120"/>
            </p:custDataLst>
          </p:nvPr>
        </p:nvSpPr>
        <p:spPr bwMode="auto">
          <a:xfrm>
            <a:off x="581025" y="4711700"/>
            <a:ext cx="484188"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DA9A5E21-574B-4970-B112-0B56A63DC129}" type="datetime'''''''''''''Z''''''''''''wits''''e''rlan''''''''''''d'''''''''">
              <a:rPr lang="en-US" altLang="en-US" sz="800" smtClean="0"/>
              <a:pPr/>
              <a:t>Zwitserland</a:t>
            </a:fld>
            <a:endParaRPr lang="en-US" sz="800" dirty="0">
              <a:sym typeface="+mn-lt"/>
            </a:endParaRPr>
          </a:p>
        </p:txBody>
      </p:sp>
      <p:sp>
        <p:nvSpPr>
          <p:cNvPr id="581" name="Text Placeholder 4">
            <a:extLst>
              <a:ext uri="{FF2B5EF4-FFF2-40B4-BE49-F238E27FC236}">
                <a16:creationId xmlns:a16="http://schemas.microsoft.com/office/drawing/2014/main" id="{2F5A460F-AE3D-4ECB-AA56-F06EB3BEF529}"/>
              </a:ext>
            </a:extLst>
          </p:cNvPr>
          <p:cNvSpPr>
            <a:spLocks noGrp="1"/>
          </p:cNvSpPr>
          <p:nvPr>
            <p:custDataLst>
              <p:tags r:id="rId121"/>
            </p:custDataLst>
          </p:nvPr>
        </p:nvSpPr>
        <p:spPr bwMode="auto">
          <a:xfrm>
            <a:off x="581025" y="6181725"/>
            <a:ext cx="30321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B54803E6-A4B9-4C02-AD74-F5F4519B34AF}" type="datetime'''''''M''''''''''e''''''''''''''''x''i''''''c''o'''''''''''">
              <a:rPr lang="en-US" altLang="en-US" sz="800" smtClean="0"/>
              <a:pPr/>
              <a:t>Mexico</a:t>
            </a:fld>
            <a:endParaRPr lang="en-US" sz="800" dirty="0">
              <a:sym typeface="+mn-lt"/>
            </a:endParaRPr>
          </a:p>
        </p:txBody>
      </p:sp>
      <p:sp>
        <p:nvSpPr>
          <p:cNvPr id="403" name="Text Placeholder 4">
            <a:extLst>
              <a:ext uri="{FF2B5EF4-FFF2-40B4-BE49-F238E27FC236}">
                <a16:creationId xmlns:a16="http://schemas.microsoft.com/office/drawing/2014/main" id="{D21A2835-87B7-40BA-BDF2-EF529EAA642B}"/>
              </a:ext>
            </a:extLst>
          </p:cNvPr>
          <p:cNvSpPr>
            <a:spLocks noGrp="1"/>
          </p:cNvSpPr>
          <p:nvPr>
            <p:custDataLst>
              <p:tags r:id="rId122"/>
            </p:custDataLst>
          </p:nvPr>
        </p:nvSpPr>
        <p:spPr bwMode="auto">
          <a:xfrm>
            <a:off x="581025" y="4833938"/>
            <a:ext cx="3079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0099E252-505C-4A49-8319-E7E75037C52E}" type="datetime'''''''''''''''Let''''''''''''''''''''''l''a''n''''''''''d'''''">
              <a:rPr lang="en-US" altLang="en-US" sz="800" smtClean="0"/>
              <a:pPr/>
              <a:t>Letland</a:t>
            </a:fld>
            <a:endParaRPr lang="en-US" sz="800" dirty="0">
              <a:sym typeface="+mn-lt"/>
            </a:endParaRPr>
          </a:p>
        </p:txBody>
      </p:sp>
      <p:sp>
        <p:nvSpPr>
          <p:cNvPr id="418" name="Text Placeholder 4">
            <a:extLst>
              <a:ext uri="{FF2B5EF4-FFF2-40B4-BE49-F238E27FC236}">
                <a16:creationId xmlns:a16="http://schemas.microsoft.com/office/drawing/2014/main" id="{A88283D1-67D1-47B3-831E-86049268E361}"/>
              </a:ext>
            </a:extLst>
          </p:cNvPr>
          <p:cNvSpPr>
            <a:spLocks noGrp="1"/>
          </p:cNvSpPr>
          <p:nvPr>
            <p:custDataLst>
              <p:tags r:id="rId123"/>
            </p:custDataLst>
          </p:nvPr>
        </p:nvSpPr>
        <p:spPr bwMode="auto">
          <a:xfrm>
            <a:off x="581025" y="4956175"/>
            <a:ext cx="27781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3D9DC8F2-D060-41D2-87C4-B3673EADBA00}" type="datetime'''''''''''''''Sp''''''''''''''a''n''''''''''je'''''">
              <a:rPr lang="en-US" altLang="en-US" sz="800" smtClean="0"/>
              <a:pPr/>
              <a:t>Spanje</a:t>
            </a:fld>
            <a:endParaRPr lang="en-US" sz="800" dirty="0">
              <a:sym typeface="+mn-lt"/>
            </a:endParaRPr>
          </a:p>
        </p:txBody>
      </p:sp>
      <p:sp>
        <p:nvSpPr>
          <p:cNvPr id="429" name="Text Placeholder 4">
            <a:extLst>
              <a:ext uri="{FF2B5EF4-FFF2-40B4-BE49-F238E27FC236}">
                <a16:creationId xmlns:a16="http://schemas.microsoft.com/office/drawing/2014/main" id="{104CB855-5792-4E5C-B7FA-FC881AB2A2F4}"/>
              </a:ext>
            </a:extLst>
          </p:cNvPr>
          <p:cNvSpPr>
            <a:spLocks noGrp="1"/>
          </p:cNvSpPr>
          <p:nvPr>
            <p:custDataLst>
              <p:tags r:id="rId124"/>
            </p:custDataLst>
          </p:nvPr>
        </p:nvSpPr>
        <p:spPr bwMode="auto">
          <a:xfrm>
            <a:off x="581025" y="5078413"/>
            <a:ext cx="20637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3FDB2BC5-257B-4D79-96C8-CE4504348A6C}" type="datetime'''''I''''t''''''''''ali''''''''''''''ë'''''''''''''''''">
              <a:rPr lang="en-US" altLang="en-US" sz="800" smtClean="0"/>
              <a:pPr/>
              <a:t>Italië</a:t>
            </a:fld>
            <a:endParaRPr lang="en-US" sz="800" dirty="0">
              <a:sym typeface="+mn-lt"/>
            </a:endParaRPr>
          </a:p>
        </p:txBody>
      </p:sp>
      <p:sp>
        <p:nvSpPr>
          <p:cNvPr id="402" name="Text Placeholder 4">
            <a:extLst>
              <a:ext uri="{FF2B5EF4-FFF2-40B4-BE49-F238E27FC236}">
                <a16:creationId xmlns:a16="http://schemas.microsoft.com/office/drawing/2014/main" id="{A6A96BF6-E832-42A4-9FB2-61A585961068}"/>
              </a:ext>
            </a:extLst>
          </p:cNvPr>
          <p:cNvSpPr>
            <a:spLocks noGrp="1"/>
          </p:cNvSpPr>
          <p:nvPr>
            <p:custDataLst>
              <p:tags r:id="rId125"/>
            </p:custDataLst>
          </p:nvPr>
        </p:nvSpPr>
        <p:spPr bwMode="auto">
          <a:xfrm>
            <a:off x="581025" y="5324475"/>
            <a:ext cx="27781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716C9EFF-418F-44C7-9900-C9322E669132}" type="datetime'''''''''I''''Js''''''''''la''''''''''''n''d'''''''''''''''''">
              <a:rPr lang="en-US" altLang="en-US" sz="800" smtClean="0"/>
              <a:pPr/>
              <a:t>IJsland</a:t>
            </a:fld>
            <a:endParaRPr lang="en-US" sz="800" dirty="0">
              <a:sym typeface="+mn-lt"/>
            </a:endParaRPr>
          </a:p>
        </p:txBody>
      </p:sp>
      <p:sp>
        <p:nvSpPr>
          <p:cNvPr id="412" name="Text Placeholder 4">
            <a:extLst>
              <a:ext uri="{FF2B5EF4-FFF2-40B4-BE49-F238E27FC236}">
                <a16:creationId xmlns:a16="http://schemas.microsoft.com/office/drawing/2014/main" id="{645B4FDF-E47A-42A3-83C2-32C616C16496}"/>
              </a:ext>
            </a:extLst>
          </p:cNvPr>
          <p:cNvSpPr>
            <a:spLocks noGrp="1"/>
          </p:cNvSpPr>
          <p:nvPr>
            <p:custDataLst>
              <p:tags r:id="rId126"/>
            </p:custDataLst>
          </p:nvPr>
        </p:nvSpPr>
        <p:spPr bwMode="auto">
          <a:xfrm>
            <a:off x="581025" y="5446713"/>
            <a:ext cx="223838"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73F672FE-6DFF-4F4A-8246-38D03BA55BE4}" type="datetime'''I''''''''s''''''''r''a''''ël'''''''''''''''''">
              <a:rPr lang="en-US" altLang="en-US" sz="800" smtClean="0"/>
              <a:pPr/>
              <a:t>Israël</a:t>
            </a:fld>
            <a:endParaRPr lang="en-US" sz="800" dirty="0">
              <a:sym typeface="+mn-lt"/>
            </a:endParaRPr>
          </a:p>
        </p:txBody>
      </p:sp>
      <p:sp>
        <p:nvSpPr>
          <p:cNvPr id="623" name="Text Placeholder 4">
            <a:extLst>
              <a:ext uri="{FF2B5EF4-FFF2-40B4-BE49-F238E27FC236}">
                <a16:creationId xmlns:a16="http://schemas.microsoft.com/office/drawing/2014/main" id="{32710D66-D93B-46AF-BD5D-302A7AF018BB}"/>
              </a:ext>
            </a:extLst>
          </p:cNvPr>
          <p:cNvSpPr>
            <a:spLocks noGrp="1"/>
          </p:cNvSpPr>
          <p:nvPr>
            <p:custDataLst>
              <p:tags r:id="rId127"/>
            </p:custDataLst>
          </p:nvPr>
        </p:nvSpPr>
        <p:spPr bwMode="auto">
          <a:xfrm>
            <a:off x="581025" y="6059488"/>
            <a:ext cx="179388"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4661D42E-2D02-4264-9C71-8B2DD21FD4D4}" type="datetime'''''''''''''''''''''''C''''''''''''h''''''''''i''l''''''''i'''">
              <a:rPr lang="en-US" altLang="en-US" sz="800" smtClean="0"/>
              <a:pPr/>
              <a:t>Chili</a:t>
            </a:fld>
            <a:endParaRPr lang="en-US" sz="800" dirty="0">
              <a:sym typeface="+mn-lt"/>
            </a:endParaRPr>
          </a:p>
        </p:txBody>
      </p:sp>
      <p:sp>
        <p:nvSpPr>
          <p:cNvPr id="422" name="Text Placeholder 4">
            <a:extLst>
              <a:ext uri="{FF2B5EF4-FFF2-40B4-BE49-F238E27FC236}">
                <a16:creationId xmlns:a16="http://schemas.microsoft.com/office/drawing/2014/main" id="{31FEEFEE-A601-4793-BB1F-C53D652677AA}"/>
              </a:ext>
            </a:extLst>
          </p:cNvPr>
          <p:cNvSpPr>
            <a:spLocks noGrp="1"/>
          </p:cNvSpPr>
          <p:nvPr>
            <p:custDataLst>
              <p:tags r:id="rId128"/>
            </p:custDataLst>
          </p:nvPr>
        </p:nvSpPr>
        <p:spPr bwMode="auto">
          <a:xfrm>
            <a:off x="581025" y="3117850"/>
            <a:ext cx="808038"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9D62F34D-4FD8-463C-A72D-835E32792029}" type="datetime'''''''Ve''re''''ni''g''d'''' K''''on''i''''nk''''''ri''''jk'">
              <a:rPr lang="en-US" altLang="en-US" sz="800" smtClean="0"/>
              <a:pPr/>
              <a:t>Verenigd Koninkrijk</a:t>
            </a:fld>
            <a:endParaRPr lang="en-US" sz="800" dirty="0">
              <a:sym typeface="+mn-lt"/>
            </a:endParaRPr>
          </a:p>
        </p:txBody>
      </p:sp>
      <p:sp>
        <p:nvSpPr>
          <p:cNvPr id="710" name="5. Source">
            <a:extLst>
              <a:ext uri="{FF2B5EF4-FFF2-40B4-BE49-F238E27FC236}">
                <a16:creationId xmlns:a16="http://schemas.microsoft.com/office/drawing/2014/main" id="{9867DFDC-087E-4E5D-8B5E-B67C92FD3B3E}"/>
              </a:ext>
            </a:extLst>
          </p:cNvPr>
          <p:cNvSpPr txBox="1"/>
          <p:nvPr>
            <p:custDataLst>
              <p:tags r:id="rId129"/>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Bron: PISA-onderzoeken</a:t>
            </a:r>
          </a:p>
        </p:txBody>
      </p:sp>
      <p:cxnSp>
        <p:nvCxnSpPr>
          <p:cNvPr id="713" name="LineContentSeparatorDefaultVertical 11">
            <a:extLst>
              <a:ext uri="{FF2B5EF4-FFF2-40B4-BE49-F238E27FC236}">
                <a16:creationId xmlns:a16="http://schemas.microsoft.com/office/drawing/2014/main" id="{ED41718F-789D-4740-842D-D0DE65AC774E}"/>
              </a:ext>
            </a:extLst>
          </p:cNvPr>
          <p:cNvCxnSpPr>
            <a:cxnSpLocks/>
          </p:cNvCxnSpPr>
          <p:nvPr>
            <p:custDataLst>
              <p:tags r:id="rId130"/>
            </p:custDataLst>
          </p:nvPr>
        </p:nvCxnSpPr>
        <p:spPr>
          <a:xfrm>
            <a:off x="7807040" y="1289051"/>
            <a:ext cx="0" cy="5097462"/>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798428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D365F2E-AB53-4982-AB31-AF2EA4B2C75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5"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FD365F2E-AB53-4982-AB31-AF2EA4B2C75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1" hidden="1">
            <a:extLst>
              <a:ext uri="{FF2B5EF4-FFF2-40B4-BE49-F238E27FC236}">
                <a16:creationId xmlns:a16="http://schemas.microsoft.com/office/drawing/2014/main" id="{4D267344-2004-4719-8334-16F5658C48AA}"/>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nl-NL" sz="2500" b="1" dirty="0">
              <a:solidFill>
                <a:schemeClr val="bg1"/>
              </a:solidFill>
              <a:latin typeface="Calibri" panose="020F0502020204030204" pitchFamily="34" charset="0"/>
              <a:ea typeface="+mj-ea"/>
              <a:cs typeface="+mj-cs"/>
              <a:sym typeface="Calibri" panose="020F0502020204030204" pitchFamily="34" charset="0"/>
            </a:endParaRPr>
          </a:p>
        </p:txBody>
      </p:sp>
      <p:pic>
        <p:nvPicPr>
          <p:cNvPr id="6" name="Picture 5">
            <a:extLst>
              <a:ext uri="{FF2B5EF4-FFF2-40B4-BE49-F238E27FC236}">
                <a16:creationId xmlns:a16="http://schemas.microsoft.com/office/drawing/2014/main" id="{DA5F8E21-5CDF-4841-B438-E7A067842FCC}"/>
              </a:ext>
            </a:extLst>
          </p:cNvPr>
          <p:cNvPicPr>
            <a:picLocks noChangeAspect="1"/>
          </p:cNvPicPr>
          <p:nvPr/>
        </p:nvPicPr>
        <p:blipFill rotWithShape="1">
          <a:blip r:embed="rId7"/>
          <a:srcRect r="7574"/>
          <a:stretch/>
        </p:blipFill>
        <p:spPr>
          <a:xfrm>
            <a:off x="2517410" y="1719298"/>
            <a:ext cx="7203427" cy="3975046"/>
          </a:xfrm>
          <a:prstGeom prst="rect">
            <a:avLst/>
          </a:prstGeom>
        </p:spPr>
      </p:pic>
      <p:pic>
        <p:nvPicPr>
          <p:cNvPr id="9" name="Picture 8">
            <a:extLst>
              <a:ext uri="{FF2B5EF4-FFF2-40B4-BE49-F238E27FC236}">
                <a16:creationId xmlns:a16="http://schemas.microsoft.com/office/drawing/2014/main" id="{4EBF1AD9-A094-4001-8A89-796F017123A0}"/>
              </a:ext>
            </a:extLst>
          </p:cNvPr>
          <p:cNvPicPr>
            <a:picLocks noChangeAspect="1"/>
          </p:cNvPicPr>
          <p:nvPr/>
        </p:nvPicPr>
        <p:blipFill rotWithShape="1">
          <a:blip r:embed="rId8"/>
          <a:srcRect t="32800" b="12200"/>
          <a:stretch/>
        </p:blipFill>
        <p:spPr>
          <a:xfrm>
            <a:off x="1426596" y="1719297"/>
            <a:ext cx="9338807" cy="4740079"/>
          </a:xfrm>
          <a:prstGeom prst="rect">
            <a:avLst/>
          </a:prstGeom>
        </p:spPr>
      </p:pic>
      <p:pic>
        <p:nvPicPr>
          <p:cNvPr id="14" name="Graphic 13">
            <a:hlinkClick r:id="rId9"/>
            <a:extLst>
              <a:ext uri="{FF2B5EF4-FFF2-40B4-BE49-F238E27FC236}">
                <a16:creationId xmlns:a16="http://schemas.microsoft.com/office/drawing/2014/main" id="{E6FA9DE2-079B-4B10-AB25-BD3D4DC2130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021660" y="3489971"/>
            <a:ext cx="443865" cy="443865"/>
          </a:xfrm>
          <a:prstGeom prst="rect">
            <a:avLst/>
          </a:prstGeom>
        </p:spPr>
      </p:pic>
      <p:sp>
        <p:nvSpPr>
          <p:cNvPr id="2" name="Title 1">
            <a:extLst>
              <a:ext uri="{FF2B5EF4-FFF2-40B4-BE49-F238E27FC236}">
                <a16:creationId xmlns:a16="http://schemas.microsoft.com/office/drawing/2014/main" id="{328F0CD5-A3C9-4FFF-B7B0-F8A215D45450}"/>
              </a:ext>
            </a:extLst>
          </p:cNvPr>
          <p:cNvSpPr>
            <a:spLocks noGrp="1"/>
          </p:cNvSpPr>
          <p:nvPr>
            <p:ph type="title"/>
          </p:nvPr>
        </p:nvSpPr>
        <p:spPr>
          <a:xfrm>
            <a:off x="554736" y="519011"/>
            <a:ext cx="11082528" cy="384721"/>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nl-NL" dirty="0"/>
              <a:t>Gemiddeld gaat het redelijk goed, maar dat geldt niet voor iedereen</a:t>
            </a:r>
          </a:p>
        </p:txBody>
      </p:sp>
      <p:pic>
        <p:nvPicPr>
          <p:cNvPr id="4" name="Afbeelding 3">
            <a:extLst>
              <a:ext uri="{FF2B5EF4-FFF2-40B4-BE49-F238E27FC236}">
                <a16:creationId xmlns:a16="http://schemas.microsoft.com/office/drawing/2014/main" id="{5C0752EB-C63B-49C5-A01B-CB4E88811D1C}"/>
              </a:ext>
            </a:extLst>
          </p:cNvPr>
          <p:cNvPicPr>
            <a:picLocks noChangeAspect="1"/>
          </p:cNvPicPr>
          <p:nvPr/>
        </p:nvPicPr>
        <p:blipFill>
          <a:blip r:embed="rId12"/>
          <a:stretch>
            <a:fillRect/>
          </a:stretch>
        </p:blipFill>
        <p:spPr>
          <a:xfrm>
            <a:off x="2517410" y="2091630"/>
            <a:ext cx="7218578" cy="3655135"/>
          </a:xfrm>
          <a:prstGeom prst="rect">
            <a:avLst/>
          </a:prstGeom>
        </p:spPr>
      </p:pic>
    </p:spTree>
    <p:extLst>
      <p:ext uri="{BB962C8B-B14F-4D97-AF65-F5344CB8AC3E}">
        <p14:creationId xmlns:p14="http://schemas.microsoft.com/office/powerpoint/2010/main" val="237362858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2" hidden="1">
            <a:extLst>
              <a:ext uri="{FF2B5EF4-FFF2-40B4-BE49-F238E27FC236}">
                <a16:creationId xmlns:a16="http://schemas.microsoft.com/office/drawing/2014/main" id="{5B485DF3-439B-4963-BDFE-AC5558171C93}"/>
              </a:ext>
            </a:extLst>
          </p:cNvPr>
          <p:cNvGraphicFramePr>
            <a:graphicFrameLocks noChangeAspect="1"/>
          </p:cNvGraphicFramePr>
          <p:nvPr>
            <p:custDataLst>
              <p:tags r:id="rId2"/>
            </p:custDataLst>
            <p:extLst>
              <p:ext uri="{D42A27DB-BD31-4B8C-83A1-F6EECF244321}">
                <p14:modId xmlns:p14="http://schemas.microsoft.com/office/powerpoint/2010/main" val="3863503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39" name="think-cell Slide" r:id="rId7" imgW="395" imgH="394" progId="TCLayout.ActiveDocument.1">
                  <p:embed/>
                </p:oleObj>
              </mc:Choice>
              <mc:Fallback>
                <p:oleObj name="think-cell Slide" r:id="rId7" imgW="395" imgH="394" progId="TCLayout.ActiveDocument.1">
                  <p:embed/>
                  <p:pic>
                    <p:nvPicPr>
                      <p:cNvPr id="6" name="Object 2" hidden="1">
                        <a:extLst>
                          <a:ext uri="{FF2B5EF4-FFF2-40B4-BE49-F238E27FC236}">
                            <a16:creationId xmlns:a16="http://schemas.microsoft.com/office/drawing/2014/main" id="{5B485DF3-439B-4963-BDFE-AC5558171C9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Rectangle 1" hidden="1">
            <a:extLst>
              <a:ext uri="{FF2B5EF4-FFF2-40B4-BE49-F238E27FC236}">
                <a16:creationId xmlns:a16="http://schemas.microsoft.com/office/drawing/2014/main" id="{1A14C10C-48E3-4FBF-89B6-5DDA2F098BB7}"/>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a:solidFill>
                <a:schemeClr val="bg1"/>
              </a:solidFill>
              <a:latin typeface="Calibri" panose="020F0502020204030204" pitchFamily="34" charset="0"/>
              <a:ea typeface="+mj-ea"/>
              <a:cs typeface="+mj-cs"/>
              <a:sym typeface="Calibri" panose="020F0502020204030204" pitchFamily="34" charset="0"/>
            </a:endParaRPr>
          </a:p>
        </p:txBody>
      </p:sp>
      <p:sp>
        <p:nvSpPr>
          <p:cNvPr id="2" name="2. Slide Title">
            <a:extLst>
              <a:ext uri="{FF2B5EF4-FFF2-40B4-BE49-F238E27FC236}">
                <a16:creationId xmlns:a16="http://schemas.microsoft.com/office/drawing/2014/main" id="{779F8892-6158-4B73-B6C6-9C646BEAC748}"/>
              </a:ext>
            </a:extLst>
          </p:cNvPr>
          <p:cNvSpPr>
            <a:spLocks noGrp="1"/>
          </p:cNvSpPr>
          <p:nvPr>
            <p:ph type="title"/>
            <p:custDataLst>
              <p:tags r:id="rId4"/>
            </p:custDataLst>
          </p:nvPr>
        </p:nvSpPr>
        <p:spPr>
          <a:xfrm>
            <a:off x="554737" y="144451"/>
            <a:ext cx="11082528" cy="769441"/>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dirty="0"/>
              <a:t>Talloze rapporten laten echter zien dat de kansenongelijkheid in het Nederlandse onderwijs steeds groter wordt</a:t>
            </a:r>
          </a:p>
        </p:txBody>
      </p:sp>
      <p:sp>
        <p:nvSpPr>
          <p:cNvPr id="22" name="5. Source">
            <a:extLst>
              <a:ext uri="{FF2B5EF4-FFF2-40B4-BE49-F238E27FC236}">
                <a16:creationId xmlns:a16="http://schemas.microsoft.com/office/drawing/2014/main" id="{209BBB41-D351-4B9B-9FE2-8CC958090E89}"/>
              </a:ext>
            </a:extLst>
          </p:cNvPr>
          <p:cNvSpPr txBox="1"/>
          <p:nvPr>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Bron: Onderwijsinspectie, McKinsey, PISA</a:t>
            </a:r>
          </a:p>
        </p:txBody>
      </p:sp>
      <p:sp>
        <p:nvSpPr>
          <p:cNvPr id="3" name="TextBox 2">
            <a:extLst>
              <a:ext uri="{FF2B5EF4-FFF2-40B4-BE49-F238E27FC236}">
                <a16:creationId xmlns:a16="http://schemas.microsoft.com/office/drawing/2014/main" id="{482067FF-25A1-4B3F-8F19-E1124A49DDF4}"/>
              </a:ext>
            </a:extLst>
          </p:cNvPr>
          <p:cNvSpPr txBox="1"/>
          <p:nvPr/>
        </p:nvSpPr>
        <p:spPr>
          <a:xfrm>
            <a:off x="554736" y="1697419"/>
            <a:ext cx="3102862" cy="400109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nl-NL" sz="2000" b="1" dirty="0">
                <a:cs typeface="+mn-cs"/>
              </a:rPr>
              <a:t>Kansenongelijkheid is een groot probleem in het Nederlandse onderwijs.</a:t>
            </a:r>
          </a:p>
          <a:p>
            <a:endParaRPr lang="en-US" sz="2000" b="1" dirty="0">
              <a:cs typeface="+mn-cs"/>
            </a:endParaRPr>
          </a:p>
          <a:p>
            <a:r>
              <a:rPr lang="nl-NL" sz="2000" b="1" dirty="0">
                <a:cs typeface="+mn-cs"/>
              </a:rPr>
              <a:t>Nederlandse scholen verschillen kwalitatief enorm van elkaar, en de ongelijkheid neemt alleen maar verder toe. </a:t>
            </a:r>
          </a:p>
          <a:p>
            <a:endParaRPr lang="en-US" sz="2000" b="1" dirty="0">
              <a:cs typeface="+mn-cs"/>
            </a:endParaRPr>
          </a:p>
          <a:p>
            <a:r>
              <a:rPr lang="nl-NL" sz="2000" b="1" dirty="0">
                <a:cs typeface="+mn-cs"/>
              </a:rPr>
              <a:t>Miljoenen kinderen zijn hier elk jaar de dupe van</a:t>
            </a:r>
            <a:endParaRPr lang="en-US" sz="2000" b="1" dirty="0">
              <a:cs typeface="+mn-cs"/>
            </a:endParaRPr>
          </a:p>
        </p:txBody>
      </p:sp>
      <p:cxnSp>
        <p:nvCxnSpPr>
          <p:cNvPr id="8" name="Straight Connector 7">
            <a:extLst>
              <a:ext uri="{FF2B5EF4-FFF2-40B4-BE49-F238E27FC236}">
                <a16:creationId xmlns:a16="http://schemas.microsoft.com/office/drawing/2014/main" id="{9D9A5D8D-0D4C-4399-867A-386C12A1BAB4}"/>
              </a:ext>
            </a:extLst>
          </p:cNvPr>
          <p:cNvCxnSpPr/>
          <p:nvPr/>
        </p:nvCxnSpPr>
        <p:spPr>
          <a:xfrm>
            <a:off x="3875824" y="1706563"/>
            <a:ext cx="0" cy="4503737"/>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26" name="Group 25">
            <a:extLst>
              <a:ext uri="{FF2B5EF4-FFF2-40B4-BE49-F238E27FC236}">
                <a16:creationId xmlns:a16="http://schemas.microsoft.com/office/drawing/2014/main" id="{3D5267A8-C1F6-46A3-8165-CAF5336D37E4}"/>
              </a:ext>
            </a:extLst>
          </p:cNvPr>
          <p:cNvGrpSpPr/>
          <p:nvPr/>
        </p:nvGrpSpPr>
        <p:grpSpPr>
          <a:xfrm>
            <a:off x="4094051" y="1706563"/>
            <a:ext cx="7543215" cy="993390"/>
            <a:chOff x="4094051" y="1805214"/>
            <a:chExt cx="7543215" cy="993390"/>
          </a:xfrm>
        </p:grpSpPr>
        <p:pic>
          <p:nvPicPr>
            <p:cNvPr id="13" name="Picture 12">
              <a:extLst>
                <a:ext uri="{FF2B5EF4-FFF2-40B4-BE49-F238E27FC236}">
                  <a16:creationId xmlns:a16="http://schemas.microsoft.com/office/drawing/2014/main" id="{34F939F9-A242-4BFA-893E-CF3DE0CA428F}"/>
                </a:ext>
              </a:extLst>
            </p:cNvPr>
            <p:cNvPicPr>
              <a:picLocks/>
            </p:cNvPicPr>
            <p:nvPr/>
          </p:nvPicPr>
          <p:blipFill>
            <a:blip r:embed="rId9"/>
            <a:stretch>
              <a:fillRect/>
            </a:stretch>
          </p:blipFill>
          <p:spPr>
            <a:xfrm>
              <a:off x="4094051" y="1805214"/>
              <a:ext cx="716098" cy="993390"/>
            </a:xfrm>
            <a:prstGeom prst="rect">
              <a:avLst/>
            </a:prstGeom>
          </p:spPr>
        </p:pic>
        <p:sp>
          <p:nvSpPr>
            <p:cNvPr id="9" name="TextBox 8">
              <a:extLst>
                <a:ext uri="{FF2B5EF4-FFF2-40B4-BE49-F238E27FC236}">
                  <a16:creationId xmlns:a16="http://schemas.microsoft.com/office/drawing/2014/main" id="{5753A5E7-DD6D-43A2-BDC1-237C8E5D1F4A}"/>
                </a:ext>
              </a:extLst>
            </p:cNvPr>
            <p:cNvSpPr txBox="1">
              <a:spLocks/>
            </p:cNvSpPr>
            <p:nvPr/>
          </p:nvSpPr>
          <p:spPr>
            <a:xfrm>
              <a:off x="4928626" y="1805214"/>
              <a:ext cx="6708640" cy="86946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Aft>
                  <a:spcPts val="0"/>
                </a:spcAft>
              </a:pPr>
              <a:r>
                <a:rPr lang="nl-NL" sz="1800" dirty="0">
                  <a:cs typeface="+mn-cs"/>
                </a:rPr>
                <a:t>“Nederland [is] internationaal koploper geworden in niveauverschillen tussen scholen voor VO”</a:t>
              </a:r>
            </a:p>
            <a:p>
              <a:pPr>
                <a:spcAft>
                  <a:spcPts val="0"/>
                </a:spcAft>
              </a:pPr>
              <a:r>
                <a:rPr lang="en-US" sz="1800" b="1" dirty="0">
                  <a:latin typeface="Arial" panose="020B0604020202020204" pitchFamily="34" charset="0"/>
                </a:rPr>
                <a:t>–</a:t>
              </a:r>
              <a:r>
                <a:rPr lang="en-US" sz="1800" b="1" dirty="0">
                  <a:cs typeface="+mn-cs"/>
                </a:rPr>
                <a:t> Onderwijsinspectie, 2017</a:t>
              </a:r>
            </a:p>
          </p:txBody>
        </p:sp>
      </p:grpSp>
      <p:grpSp>
        <p:nvGrpSpPr>
          <p:cNvPr id="27" name="Group 26">
            <a:extLst>
              <a:ext uri="{FF2B5EF4-FFF2-40B4-BE49-F238E27FC236}">
                <a16:creationId xmlns:a16="http://schemas.microsoft.com/office/drawing/2014/main" id="{18D6AC18-105D-4CC5-9361-F76BA34CB12F}"/>
              </a:ext>
            </a:extLst>
          </p:cNvPr>
          <p:cNvGrpSpPr/>
          <p:nvPr/>
        </p:nvGrpSpPr>
        <p:grpSpPr>
          <a:xfrm>
            <a:off x="4094050" y="2876679"/>
            <a:ext cx="7543215" cy="993390"/>
            <a:chOff x="4094050" y="3042082"/>
            <a:chExt cx="7543215" cy="993390"/>
          </a:xfrm>
        </p:grpSpPr>
        <p:pic>
          <p:nvPicPr>
            <p:cNvPr id="16" name="Picture 15">
              <a:extLst>
                <a:ext uri="{FF2B5EF4-FFF2-40B4-BE49-F238E27FC236}">
                  <a16:creationId xmlns:a16="http://schemas.microsoft.com/office/drawing/2014/main" id="{09EF819E-B978-4851-AD34-1BAF27EFE866}"/>
                </a:ext>
              </a:extLst>
            </p:cNvPr>
            <p:cNvPicPr>
              <a:picLocks/>
            </p:cNvPicPr>
            <p:nvPr/>
          </p:nvPicPr>
          <p:blipFill>
            <a:blip r:embed="rId10"/>
            <a:stretch>
              <a:fillRect/>
            </a:stretch>
          </p:blipFill>
          <p:spPr>
            <a:xfrm>
              <a:off x="10921167" y="3042082"/>
              <a:ext cx="716098" cy="993390"/>
            </a:xfrm>
            <a:prstGeom prst="rect">
              <a:avLst/>
            </a:prstGeom>
          </p:spPr>
        </p:pic>
        <p:sp>
          <p:nvSpPr>
            <p:cNvPr id="15" name="TextBox 14">
              <a:extLst>
                <a:ext uri="{FF2B5EF4-FFF2-40B4-BE49-F238E27FC236}">
                  <a16:creationId xmlns:a16="http://schemas.microsoft.com/office/drawing/2014/main" id="{BB46C1E1-7107-4382-ABB7-0F624E8AA940}"/>
                </a:ext>
              </a:extLst>
            </p:cNvPr>
            <p:cNvSpPr txBox="1">
              <a:spLocks/>
            </p:cNvSpPr>
            <p:nvPr/>
          </p:nvSpPr>
          <p:spPr>
            <a:xfrm>
              <a:off x="4094050" y="3042082"/>
              <a:ext cx="6708640" cy="86946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Aft>
                  <a:spcPts val="0"/>
                </a:spcAft>
              </a:pPr>
              <a:r>
                <a:rPr lang="nl-NL" sz="1800" dirty="0">
                  <a:cs typeface="+mn-cs"/>
                </a:rPr>
                <a:t>“Het opleidingsniveau van ouders hangt sterk samen met de prestaties van hun kinderen op de PISA-toets”</a:t>
              </a:r>
            </a:p>
            <a:p>
              <a:pPr>
                <a:spcAft>
                  <a:spcPts val="0"/>
                </a:spcAft>
              </a:pPr>
              <a:r>
                <a:rPr lang="en-US" sz="1800" b="1" dirty="0">
                  <a:latin typeface="Arial" panose="020B0604020202020204" pitchFamily="34" charset="0"/>
                </a:rPr>
                <a:t>–</a:t>
              </a:r>
              <a:r>
                <a:rPr lang="en-US" sz="1800" b="1" dirty="0">
                  <a:cs typeface="+mn-cs"/>
                </a:rPr>
                <a:t> PISA, 2019</a:t>
              </a:r>
            </a:p>
          </p:txBody>
        </p:sp>
      </p:grpSp>
      <p:grpSp>
        <p:nvGrpSpPr>
          <p:cNvPr id="28" name="Group 27">
            <a:extLst>
              <a:ext uri="{FF2B5EF4-FFF2-40B4-BE49-F238E27FC236}">
                <a16:creationId xmlns:a16="http://schemas.microsoft.com/office/drawing/2014/main" id="{95152B7B-321C-4546-9BF3-D0ED4F071C24}"/>
              </a:ext>
            </a:extLst>
          </p:cNvPr>
          <p:cNvGrpSpPr/>
          <p:nvPr/>
        </p:nvGrpSpPr>
        <p:grpSpPr>
          <a:xfrm>
            <a:off x="4094052" y="4046795"/>
            <a:ext cx="7543214" cy="993390"/>
            <a:chOff x="4094052" y="4222405"/>
            <a:chExt cx="7543214" cy="993390"/>
          </a:xfrm>
        </p:grpSpPr>
        <p:pic>
          <p:nvPicPr>
            <p:cNvPr id="19" name="Picture 18">
              <a:extLst>
                <a:ext uri="{FF2B5EF4-FFF2-40B4-BE49-F238E27FC236}">
                  <a16:creationId xmlns:a16="http://schemas.microsoft.com/office/drawing/2014/main" id="{199C3BAD-3B77-4D0A-8EB9-D4131D110F8A}"/>
                </a:ext>
              </a:extLst>
            </p:cNvPr>
            <p:cNvPicPr>
              <a:picLocks/>
            </p:cNvPicPr>
            <p:nvPr/>
          </p:nvPicPr>
          <p:blipFill>
            <a:blip r:embed="rId11"/>
            <a:stretch>
              <a:fillRect/>
            </a:stretch>
          </p:blipFill>
          <p:spPr>
            <a:xfrm>
              <a:off x="4094052" y="4222405"/>
              <a:ext cx="716098" cy="993390"/>
            </a:xfrm>
            <a:prstGeom prst="rect">
              <a:avLst/>
            </a:prstGeom>
          </p:spPr>
        </p:pic>
        <p:sp>
          <p:nvSpPr>
            <p:cNvPr id="21" name="TextBox 20">
              <a:extLst>
                <a:ext uri="{FF2B5EF4-FFF2-40B4-BE49-F238E27FC236}">
                  <a16:creationId xmlns:a16="http://schemas.microsoft.com/office/drawing/2014/main" id="{36D976FE-5C6E-4947-93B6-C0FDA77DF7FD}"/>
                </a:ext>
              </a:extLst>
            </p:cNvPr>
            <p:cNvSpPr txBox="1">
              <a:spLocks/>
            </p:cNvSpPr>
            <p:nvPr/>
          </p:nvSpPr>
          <p:spPr>
            <a:xfrm>
              <a:off x="4928626" y="4222405"/>
              <a:ext cx="6708640" cy="86946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Aft>
                  <a:spcPts val="0"/>
                </a:spcAft>
              </a:pPr>
              <a:r>
                <a:rPr lang="nl-NL" sz="1800" dirty="0">
                  <a:cs typeface="+mn-cs"/>
                </a:rPr>
                <a:t>“De ongelijkheid tussen scholen is toegenomen, omdat de zwakste leerlingen en scholen meer dan in andere landen achterblijven”</a:t>
              </a:r>
            </a:p>
            <a:p>
              <a:pPr>
                <a:spcAft>
                  <a:spcPts val="0"/>
                </a:spcAft>
              </a:pPr>
              <a:r>
                <a:rPr lang="en-US" sz="1800" b="1" dirty="0">
                  <a:latin typeface="Arial" panose="020B0604020202020204" pitchFamily="34" charset="0"/>
                </a:rPr>
                <a:t>–</a:t>
              </a:r>
              <a:r>
                <a:rPr lang="en-US" sz="1800" b="1" dirty="0">
                  <a:cs typeface="+mn-cs"/>
                </a:rPr>
                <a:t> McKinsey, 2020</a:t>
              </a:r>
            </a:p>
          </p:txBody>
        </p:sp>
      </p:grpSp>
      <p:grpSp>
        <p:nvGrpSpPr>
          <p:cNvPr id="29" name="Group 28">
            <a:extLst>
              <a:ext uri="{FF2B5EF4-FFF2-40B4-BE49-F238E27FC236}">
                <a16:creationId xmlns:a16="http://schemas.microsoft.com/office/drawing/2014/main" id="{72EA2490-5474-4F1C-8AAB-3CE9BBD96446}"/>
              </a:ext>
            </a:extLst>
          </p:cNvPr>
          <p:cNvGrpSpPr/>
          <p:nvPr/>
        </p:nvGrpSpPr>
        <p:grpSpPr>
          <a:xfrm>
            <a:off x="4094050" y="5216910"/>
            <a:ext cx="7543215" cy="993390"/>
            <a:chOff x="4094050" y="5216910"/>
            <a:chExt cx="7543215" cy="993390"/>
          </a:xfrm>
        </p:grpSpPr>
        <p:pic>
          <p:nvPicPr>
            <p:cNvPr id="90120" name="Picture 8" descr="Inspectie van het Onderwijs | Inspectie van het onderwijs">
              <a:extLst>
                <a:ext uri="{FF2B5EF4-FFF2-40B4-BE49-F238E27FC236}">
                  <a16:creationId xmlns:a16="http://schemas.microsoft.com/office/drawing/2014/main" id="{EC8A034E-70DB-49EE-A017-04C0BA1C96EE}"/>
                </a:ext>
              </a:extLst>
            </p:cNvPr>
            <p:cNvPicPr>
              <a:picLocks noChangeArrowheads="1"/>
            </p:cNvPicPr>
            <p:nvPr/>
          </p:nvPicPr>
          <p:blipFill rotWithShape="1">
            <a:blip r:embed="rId12">
              <a:extLst>
                <a:ext uri="{28A0092B-C50C-407E-A947-70E740481C1C}">
                  <a14:useLocalDpi xmlns:a14="http://schemas.microsoft.com/office/drawing/2010/main" val="0"/>
                </a:ext>
              </a:extLst>
            </a:blip>
            <a:srcRect l="15438" r="17937"/>
            <a:stretch/>
          </p:blipFill>
          <p:spPr bwMode="auto">
            <a:xfrm>
              <a:off x="10921167" y="5216910"/>
              <a:ext cx="716098" cy="993390"/>
            </a:xfrm>
            <a:prstGeom prst="rect">
              <a:avLst/>
            </a:prstGeom>
            <a:noFill/>
            <a:extLst>
              <a:ext uri="{909E8E84-426E-40DD-AFC4-6F175D3DCCD1}">
                <a14:hiddenFill xmlns:a14="http://schemas.microsoft.com/office/drawing/2010/main">
                  <a:solidFill>
                    <a:srgbClr val="FFFFFF"/>
                  </a:solidFill>
                </a14:hiddenFill>
              </a:ext>
            </a:extLst>
          </p:spPr>
        </p:pic>
        <p:sp>
          <p:nvSpPr>
            <p:cNvPr id="24" name="TextBox 23">
              <a:extLst>
                <a:ext uri="{FF2B5EF4-FFF2-40B4-BE49-F238E27FC236}">
                  <a16:creationId xmlns:a16="http://schemas.microsoft.com/office/drawing/2014/main" id="{A29FFA52-C42C-49CE-A7CC-BC3E65EA6B32}"/>
                </a:ext>
              </a:extLst>
            </p:cNvPr>
            <p:cNvSpPr txBox="1">
              <a:spLocks/>
            </p:cNvSpPr>
            <p:nvPr/>
          </p:nvSpPr>
          <p:spPr>
            <a:xfrm>
              <a:off x="4094050" y="5216910"/>
              <a:ext cx="6708640" cy="86946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359994" lvl="2" indent="-179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Aft>
                  <a:spcPts val="0"/>
                </a:spcAft>
              </a:pPr>
              <a:r>
                <a:rPr lang="nl-NL" sz="1800" dirty="0">
                  <a:cs typeface="+mn-cs"/>
                </a:rPr>
                <a:t>“Onderwijs tijdens Covid-19: [...] Er leefden daarom zorgen over [...] het risico op groeiende kansenongelijkheid”</a:t>
              </a:r>
            </a:p>
            <a:p>
              <a:pPr>
                <a:spcAft>
                  <a:spcPts val="0"/>
                </a:spcAft>
              </a:pPr>
              <a:r>
                <a:rPr lang="en-US" sz="1800" b="1" dirty="0">
                  <a:latin typeface="Arial" panose="020B0604020202020204" pitchFamily="34" charset="0"/>
                </a:rPr>
                <a:t>–</a:t>
              </a:r>
              <a:r>
                <a:rPr lang="en-US" sz="1800" b="1" dirty="0">
                  <a:cs typeface="+mn-cs"/>
                </a:rPr>
                <a:t> Onderwijsinspectie, 2020</a:t>
              </a:r>
            </a:p>
          </p:txBody>
        </p:sp>
      </p:grpSp>
    </p:spTree>
    <p:extLst>
      <p:ext uri="{BB962C8B-B14F-4D97-AF65-F5344CB8AC3E}">
        <p14:creationId xmlns:p14="http://schemas.microsoft.com/office/powerpoint/2010/main" val="14627796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CTFIXED" val="Yes"/>
  <p:tag name="TEMPLATELASTEDITED" val="2021-01-07 02:41 PM"/>
  <p:tag name="THINKCELLPRESENTATIONDONOTDELETE" val="&lt;?xml version=&quot;1.0&quot; encoding=&quot;UTF-16&quot; standalone=&quot;yes&quot;?&gt;&lt;root reqver=&quot;25060&quot;&gt;&lt;version val=&quot;2843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2&quot;&gt;&lt;elem m_fUsage=&quot;7.45813417167100034533E+00&quot;&gt;&lt;m_msothmcolidx val=&quot;0&quot;/&gt;&lt;m_rgb r=&quot;FF&quot; g=&quot;9B&quot; b=&quot;42&quot;/&gt;&lt;m_nBrightness endver=&quot;26206&quot; val=&quot;0&quot;/&gt;&lt;/elem&gt;&lt;elem m_fUsage=&quot;1.19101411065600837347E+00&quot;&gt;&lt;m_msothmcolidx val=&quot;0&quot;/&gt;&lt;m_rgb r=&quot;CD&quot; g=&quot;20&quot; b=&quot;2C&quot;/&gt;&lt;m_nBrightness endver=&quot;26206&quot;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StrongCallout"/>
</p:tagLst>
</file>

<file path=ppt/tags/tag100.xml><?xml version="1.0" encoding="utf-8"?>
<p:tagLst xmlns:a="http://schemas.openxmlformats.org/drawingml/2006/main" xmlns:r="http://schemas.openxmlformats.org/officeDocument/2006/relationships" xmlns:p="http://schemas.openxmlformats.org/presentationml/2006/main">
  <p:tag name="SHAPENAME" val="TopLin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10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7.xml><?xml version="1.0" encoding="utf-8"?>
<p:tagLst xmlns:a="http://schemas.openxmlformats.org/drawingml/2006/main" xmlns:r="http://schemas.openxmlformats.org/officeDocument/2006/relationships" xmlns:p="http://schemas.openxmlformats.org/presentationml/2006/main">
  <p:tag name="SHAPENAME" val="5. Source"/>
</p:tagLst>
</file>

<file path=ppt/tags/tag10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9.xml><?xml version="1.0" encoding="utf-8"?>
<p:tagLst xmlns:a="http://schemas.openxmlformats.org/drawingml/2006/main" xmlns:r="http://schemas.openxmlformats.org/officeDocument/2006/relationships" xmlns:p="http://schemas.openxmlformats.org/presentationml/2006/main">
  <p:tag name="SHAPENAME" val="TopLine"/>
</p:tagLst>
</file>

<file path=ppt/tags/tag11.xml><?xml version="1.0" encoding="utf-8"?>
<p:tagLst xmlns:a="http://schemas.openxmlformats.org/drawingml/2006/main" xmlns:r="http://schemas.openxmlformats.org/officeDocument/2006/relationships" xmlns:p="http://schemas.openxmlformats.org/presentationml/2006/main">
  <p:tag name="NAME" val="SingleBoatShap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6.xml><?xml version="1.0" encoding="utf-8"?>
<p:tagLst xmlns:a="http://schemas.openxmlformats.org/drawingml/2006/main" xmlns:r="http://schemas.openxmlformats.org/officeDocument/2006/relationships" xmlns:p="http://schemas.openxmlformats.org/presentationml/2006/main">
  <p:tag name="SHAPENAME" val="5. Source"/>
</p:tagLst>
</file>

<file path=ppt/tags/tag11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8.xml><?xml version="1.0" encoding="utf-8"?>
<p:tagLst xmlns:a="http://schemas.openxmlformats.org/drawingml/2006/main" xmlns:r="http://schemas.openxmlformats.org/officeDocument/2006/relationships" xmlns:p="http://schemas.openxmlformats.org/presentationml/2006/main">
  <p:tag name="SHAPENAME" val="TopLin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NAME" val="SingleBoatText"/>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12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2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5.xml><?xml version="1.0" encoding="utf-8"?>
<p:tagLst xmlns:a="http://schemas.openxmlformats.org/drawingml/2006/main" xmlns:r="http://schemas.openxmlformats.org/officeDocument/2006/relationships" xmlns:p="http://schemas.openxmlformats.org/presentationml/2006/main">
  <p:tag name="SHAPENAME" val="5. Source"/>
</p:tagLst>
</file>

<file path=ppt/tags/tag1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7.xml><?xml version="1.0" encoding="utf-8"?>
<p:tagLst xmlns:a="http://schemas.openxmlformats.org/drawingml/2006/main" xmlns:r="http://schemas.openxmlformats.org/officeDocument/2006/relationships" xmlns:p="http://schemas.openxmlformats.org/presentationml/2006/main">
  <p:tag name="SHAPENAME" val="TopLin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3.xml><?xml version="1.0" encoding="utf-8"?>
<p:tagLst xmlns:a="http://schemas.openxmlformats.org/drawingml/2006/main" xmlns:r="http://schemas.openxmlformats.org/officeDocument/2006/relationships" xmlns:p="http://schemas.openxmlformats.org/presentationml/2006/main">
  <p:tag name="NAME" val="1BoatTopShape"/>
</p:tagLst>
</file>

<file path=ppt/tags/tag13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2.xml><?xml version="1.0" encoding="utf-8"?>
<p:tagLst xmlns:a="http://schemas.openxmlformats.org/drawingml/2006/main" xmlns:r="http://schemas.openxmlformats.org/officeDocument/2006/relationships" xmlns:p="http://schemas.openxmlformats.org/presentationml/2006/main">
  <p:tag name="SHAPENAME" val="5. Source"/>
</p:tagLst>
</file>

<file path=ppt/tags/tag1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4.xml><?xml version="1.0" encoding="utf-8"?>
<p:tagLst xmlns:a="http://schemas.openxmlformats.org/drawingml/2006/main" xmlns:r="http://schemas.openxmlformats.org/officeDocument/2006/relationships" xmlns:p="http://schemas.openxmlformats.org/presentationml/2006/main">
  <p:tag name="SHAPENAME" val="TopLin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7.xml><?xml version="1.0" encoding="utf-8"?>
<p:tagLst xmlns:a="http://schemas.openxmlformats.org/drawingml/2006/main" xmlns:r="http://schemas.openxmlformats.org/officeDocument/2006/relationships" xmlns:p="http://schemas.openxmlformats.org/presentationml/2006/main">
  <p:tag name="SHAPENAME" val="5. Source"/>
</p:tagLst>
</file>

<file path=ppt/tags/tag1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NAME" val="1BoatTopText"/>
</p:tagLst>
</file>

<file path=ppt/tags/tag140.xml><?xml version="1.0" encoding="utf-8"?>
<p:tagLst xmlns:a="http://schemas.openxmlformats.org/drawingml/2006/main" xmlns:r="http://schemas.openxmlformats.org/officeDocument/2006/relationships" xmlns:p="http://schemas.openxmlformats.org/presentationml/2006/main">
  <p:tag name="SHAPENAME" val="5. Sourc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5.xml><?xml version="1.0" encoding="utf-8"?>
<p:tagLst xmlns:a="http://schemas.openxmlformats.org/drawingml/2006/main" xmlns:r="http://schemas.openxmlformats.org/officeDocument/2006/relationships" xmlns:p="http://schemas.openxmlformats.org/presentationml/2006/main">
  <p:tag name="SHAPENAME" val="5. Source"/>
</p:tagLst>
</file>

<file path=ppt/tags/tag14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IBBgOamP5r1kfGN4YlaKLA"/>
</p:tagLst>
</file>

<file path=ppt/tags/tag15.xml><?xml version="1.0" encoding="utf-8"?>
<p:tagLst xmlns:a="http://schemas.openxmlformats.org/drawingml/2006/main" xmlns:r="http://schemas.openxmlformats.org/officeDocument/2006/relationships" xmlns:p="http://schemas.openxmlformats.org/presentationml/2006/main">
  <p:tag name="NAME" val="1BoatBottomShape"/>
</p:tagLst>
</file>

<file path=ppt/tags/tag1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2.xml><?xml version="1.0" encoding="utf-8"?>
<p:tagLst xmlns:a="http://schemas.openxmlformats.org/drawingml/2006/main" xmlns:r="http://schemas.openxmlformats.org/officeDocument/2006/relationships" xmlns:p="http://schemas.openxmlformats.org/presentationml/2006/main">
  <p:tag name="SHAPENAME" val="5. Source"/>
</p:tagLst>
</file>

<file path=ppt/tags/tag1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ZRYLYSbLzP8DsqQ5_IDvMg"/>
</p:tagLst>
</file>

<file path=ppt/tags/tag1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7.xml><?xml version="1.0" encoding="utf-8"?>
<p:tagLst xmlns:a="http://schemas.openxmlformats.org/drawingml/2006/main" xmlns:r="http://schemas.openxmlformats.org/officeDocument/2006/relationships" xmlns:p="http://schemas.openxmlformats.org/presentationml/2006/main">
  <p:tag name="SHAPENAME" val="Grid"/>
</p:tagLst>
</file>

<file path=ppt/tags/tag158.xml><?xml version="1.0" encoding="utf-8"?>
<p:tagLst xmlns:a="http://schemas.openxmlformats.org/drawingml/2006/main" xmlns:r="http://schemas.openxmlformats.org/officeDocument/2006/relationships" xmlns:p="http://schemas.openxmlformats.org/presentationml/2006/main">
  <p:tag name="SHAPENAME" val="4. Footnote"/>
</p:tagLst>
</file>

<file path=ppt/tags/tag159.xml><?xml version="1.0" encoding="utf-8"?>
<p:tagLst xmlns:a="http://schemas.openxmlformats.org/drawingml/2006/main" xmlns:r="http://schemas.openxmlformats.org/officeDocument/2006/relationships" xmlns:p="http://schemas.openxmlformats.org/presentationml/2006/main">
  <p:tag name="SHAPENAME" val="TopLine"/>
</p:tagLst>
</file>

<file path=ppt/tags/tag16.xml><?xml version="1.0" encoding="utf-8"?>
<p:tagLst xmlns:a="http://schemas.openxmlformats.org/drawingml/2006/main" xmlns:r="http://schemas.openxmlformats.org/officeDocument/2006/relationships" xmlns:p="http://schemas.openxmlformats.org/presentationml/2006/main">
  <p:tag name="NAME" val="1BoatBottomText"/>
</p:tagLst>
</file>

<file path=ppt/tags/tag160.xml><?xml version="1.0" encoding="utf-8"?>
<p:tagLst xmlns:a="http://schemas.openxmlformats.org/drawingml/2006/main" xmlns:r="http://schemas.openxmlformats.org/officeDocument/2006/relationships" xmlns:p="http://schemas.openxmlformats.org/presentationml/2006/main">
  <p:tag name="NAME" val="ACET"/>
</p:tagLst>
</file>

<file path=ppt/tags/tag161.xml><?xml version="1.0" encoding="utf-8"?>
<p:tagLst xmlns:a="http://schemas.openxmlformats.org/drawingml/2006/main" xmlns:r="http://schemas.openxmlformats.org/officeDocument/2006/relationships" xmlns:p="http://schemas.openxmlformats.org/presentationml/2006/main">
  <p:tag name="NAME" val="Moon"/>
</p:tagLst>
</file>

<file path=ppt/tags/tag162.xml><?xml version="1.0" encoding="utf-8"?>
<p:tagLst xmlns:a="http://schemas.openxmlformats.org/drawingml/2006/main" xmlns:r="http://schemas.openxmlformats.org/officeDocument/2006/relationships" xmlns:p="http://schemas.openxmlformats.org/presentationml/2006/main">
  <p:tag name="NAME" val="Moon"/>
</p:tagLst>
</file>

<file path=ppt/tags/tag163.xml><?xml version="1.0" encoding="utf-8"?>
<p:tagLst xmlns:a="http://schemas.openxmlformats.org/drawingml/2006/main" xmlns:r="http://schemas.openxmlformats.org/officeDocument/2006/relationships" xmlns:p="http://schemas.openxmlformats.org/presentationml/2006/main">
  <p:tag name="NAME" val="Moon"/>
</p:tagLst>
</file>

<file path=ppt/tags/tag164.xml><?xml version="1.0" encoding="utf-8"?>
<p:tagLst xmlns:a="http://schemas.openxmlformats.org/drawingml/2006/main" xmlns:r="http://schemas.openxmlformats.org/officeDocument/2006/relationships" xmlns:p="http://schemas.openxmlformats.org/presentationml/2006/main">
  <p:tag name="NAME" val="Moon"/>
</p:tagLst>
</file>

<file path=ppt/tags/tag165.xml><?xml version="1.0" encoding="utf-8"?>
<p:tagLst xmlns:a="http://schemas.openxmlformats.org/drawingml/2006/main" xmlns:r="http://schemas.openxmlformats.org/officeDocument/2006/relationships" xmlns:p="http://schemas.openxmlformats.org/presentationml/2006/main">
  <p:tag name="NAME" val="Moon"/>
</p:tagLst>
</file>

<file path=ppt/tags/tag166.xml><?xml version="1.0" encoding="utf-8"?>
<p:tagLst xmlns:a="http://schemas.openxmlformats.org/drawingml/2006/main" xmlns:r="http://schemas.openxmlformats.org/officeDocument/2006/relationships" xmlns:p="http://schemas.openxmlformats.org/presentationml/2006/main">
  <p:tag name="ANGLE" val="5"/>
</p:tagLst>
</file>

<file path=ppt/tags/tag167.xml><?xml version="1.0" encoding="utf-8"?>
<p:tagLst xmlns:a="http://schemas.openxmlformats.org/drawingml/2006/main" xmlns:r="http://schemas.openxmlformats.org/officeDocument/2006/relationships" xmlns:p="http://schemas.openxmlformats.org/presentationml/2006/main">
  <p:tag name="ANGLE" val="5"/>
</p:tagLst>
</file>

<file path=ppt/tags/tag168.xml><?xml version="1.0" encoding="utf-8"?>
<p:tagLst xmlns:a="http://schemas.openxmlformats.org/drawingml/2006/main" xmlns:r="http://schemas.openxmlformats.org/officeDocument/2006/relationships" xmlns:p="http://schemas.openxmlformats.org/presentationml/2006/main">
  <p:tag name="ANGLE" val="4"/>
</p:tagLst>
</file>

<file path=ppt/tags/tag169.xml><?xml version="1.0" encoding="utf-8"?>
<p:tagLst xmlns:a="http://schemas.openxmlformats.org/drawingml/2006/main" xmlns:r="http://schemas.openxmlformats.org/officeDocument/2006/relationships" xmlns:p="http://schemas.openxmlformats.org/presentationml/2006/main">
  <p:tag name="ANGLE" val="4"/>
</p:tagLst>
</file>

<file path=ppt/tags/tag17.xml><?xml version="1.0" encoding="utf-8"?>
<p:tagLst xmlns:a="http://schemas.openxmlformats.org/drawingml/2006/main" xmlns:r="http://schemas.openxmlformats.org/officeDocument/2006/relationships" xmlns:p="http://schemas.openxmlformats.org/presentationml/2006/main">
  <p:tag name="NAME" val="2BoatBottomShape"/>
</p:tagLst>
</file>

<file path=ppt/tags/tag170.xml><?xml version="1.0" encoding="utf-8"?>
<p:tagLst xmlns:a="http://schemas.openxmlformats.org/drawingml/2006/main" xmlns:r="http://schemas.openxmlformats.org/officeDocument/2006/relationships" xmlns:p="http://schemas.openxmlformats.org/presentationml/2006/main">
  <p:tag name="ANGLE" val="3"/>
</p:tagLst>
</file>

<file path=ppt/tags/tag171.xml><?xml version="1.0" encoding="utf-8"?>
<p:tagLst xmlns:a="http://schemas.openxmlformats.org/drawingml/2006/main" xmlns:r="http://schemas.openxmlformats.org/officeDocument/2006/relationships" xmlns:p="http://schemas.openxmlformats.org/presentationml/2006/main">
  <p:tag name="ANGLE" val="3"/>
</p:tagLst>
</file>

<file path=ppt/tags/tag172.xml><?xml version="1.0" encoding="utf-8"?>
<p:tagLst xmlns:a="http://schemas.openxmlformats.org/drawingml/2006/main" xmlns:r="http://schemas.openxmlformats.org/officeDocument/2006/relationships" xmlns:p="http://schemas.openxmlformats.org/presentationml/2006/main">
  <p:tag name="ANGLE" val="2"/>
</p:tagLst>
</file>

<file path=ppt/tags/tag173.xml><?xml version="1.0" encoding="utf-8"?>
<p:tagLst xmlns:a="http://schemas.openxmlformats.org/drawingml/2006/main" xmlns:r="http://schemas.openxmlformats.org/officeDocument/2006/relationships" xmlns:p="http://schemas.openxmlformats.org/presentationml/2006/main">
  <p:tag name="ANGLE" val="2"/>
</p:tagLst>
</file>

<file path=ppt/tags/tag174.xml><?xml version="1.0" encoding="utf-8"?>
<p:tagLst xmlns:a="http://schemas.openxmlformats.org/drawingml/2006/main" xmlns:r="http://schemas.openxmlformats.org/officeDocument/2006/relationships" xmlns:p="http://schemas.openxmlformats.org/presentationml/2006/main">
  <p:tag name="ANGLE" val="1"/>
</p:tagLst>
</file>

<file path=ppt/tags/tag175.xml><?xml version="1.0" encoding="utf-8"?>
<p:tagLst xmlns:a="http://schemas.openxmlformats.org/drawingml/2006/main" xmlns:r="http://schemas.openxmlformats.org/officeDocument/2006/relationships" xmlns:p="http://schemas.openxmlformats.org/presentationml/2006/main">
  <p:tag name="ANGLE" val="1"/>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2f7hxSlB1usQUt7DMKiguw"/>
</p:tagLst>
</file>

<file path=ppt/tags/tag17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79.xml><?xml version="1.0" encoding="utf-8"?>
<p:tagLst xmlns:a="http://schemas.openxmlformats.org/drawingml/2006/main" xmlns:r="http://schemas.openxmlformats.org/officeDocument/2006/relationships" xmlns:p="http://schemas.openxmlformats.org/presentationml/2006/main">
  <p:tag name="SHAPENAME" val="Subtitle"/>
</p:tagLst>
</file>

<file path=ppt/tags/tag18.xml><?xml version="1.0" encoding="utf-8"?>
<p:tagLst xmlns:a="http://schemas.openxmlformats.org/drawingml/2006/main" xmlns:r="http://schemas.openxmlformats.org/officeDocument/2006/relationships" xmlns:p="http://schemas.openxmlformats.org/presentationml/2006/main">
  <p:tag name="NAME" val="2BoatBottomText"/>
</p:tagLst>
</file>

<file path=ppt/tags/tag180.xml><?xml version="1.0" encoding="utf-8"?>
<p:tagLst xmlns:a="http://schemas.openxmlformats.org/drawingml/2006/main" xmlns:r="http://schemas.openxmlformats.org/officeDocument/2006/relationships" xmlns:p="http://schemas.openxmlformats.org/presentationml/2006/main">
  <p:tag name="SHAPENAME" val="Titl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1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6.xml><?xml version="1.0" encoding="utf-8"?>
<p:tagLst xmlns:a="http://schemas.openxmlformats.org/drawingml/2006/main" xmlns:r="http://schemas.openxmlformats.org/officeDocument/2006/relationships" xmlns:p="http://schemas.openxmlformats.org/presentationml/2006/main">
  <p:tag name="SHAPENAME" val="5. Source"/>
</p:tagLst>
</file>

<file path=ppt/tags/tag1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FWrJZYiK81Dqg3AKqhPXmQ"/>
</p:tagLst>
</file>

<file path=ppt/tags/tag19.xml><?xml version="1.0" encoding="utf-8"?>
<p:tagLst xmlns:a="http://schemas.openxmlformats.org/drawingml/2006/main" xmlns:r="http://schemas.openxmlformats.org/officeDocument/2006/relationships" xmlns:p="http://schemas.openxmlformats.org/presentationml/2006/main">
  <p:tag name="NAME" val="Moon"/>
</p:tagLst>
</file>

<file path=ppt/tags/tag1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2.xml><?xml version="1.0" encoding="utf-8"?>
<p:tagLst xmlns:a="http://schemas.openxmlformats.org/drawingml/2006/main" xmlns:r="http://schemas.openxmlformats.org/officeDocument/2006/relationships" xmlns:p="http://schemas.openxmlformats.org/presentationml/2006/main">
  <p:tag name="SHAPENAME" val="5. Source"/>
</p:tagLst>
</file>

<file path=ppt/tags/tag1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TqRLcqlXddAIBcoL4_FmkA"/>
</p:tagLst>
</file>

<file path=ppt/tags/tag1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8.xml><?xml version="1.0" encoding="utf-8"?>
<p:tagLst xmlns:a="http://schemas.openxmlformats.org/drawingml/2006/main" xmlns:r="http://schemas.openxmlformats.org/officeDocument/2006/relationships" xmlns:p="http://schemas.openxmlformats.org/presentationml/2006/main">
  <p:tag name="SHAPENAME" val="5. Source"/>
</p:tagLst>
</file>

<file path=ppt/tags/tag19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AME" val="Moon"/>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zFTi586bxaRXNGLyq6cjUQ"/>
</p:tagLst>
</file>

<file path=ppt/tags/tag2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4.xml><?xml version="1.0" encoding="utf-8"?>
<p:tagLst xmlns:a="http://schemas.openxmlformats.org/drawingml/2006/main" xmlns:r="http://schemas.openxmlformats.org/officeDocument/2006/relationships" xmlns:p="http://schemas.openxmlformats.org/presentationml/2006/main">
  <p:tag name="SHAPENAME" val="5. Source"/>
</p:tagLst>
</file>

<file path=ppt/tags/tag20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fRnDxEIFDMpZ7XFucXEwcQ"/>
</p:tagLst>
</file>

<file path=ppt/tags/tag2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9.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xml><?xml version="1.0" encoding="utf-8"?>
<p:tagLst xmlns:a="http://schemas.openxmlformats.org/drawingml/2006/main" xmlns:r="http://schemas.openxmlformats.org/officeDocument/2006/relationships" xmlns:p="http://schemas.openxmlformats.org/presentationml/2006/main">
  <p:tag name="NAME" val="Moon"/>
</p:tagLst>
</file>

<file path=ppt/tags/tag2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1.xml><?xml version="1.0" encoding="utf-8"?>
<p:tagLst xmlns:a="http://schemas.openxmlformats.org/drawingml/2006/main" xmlns:r="http://schemas.openxmlformats.org/officeDocument/2006/relationships" xmlns:p="http://schemas.openxmlformats.org/presentationml/2006/main">
  <p:tag name="SHAPENAME" val="5. Source"/>
</p:tagLst>
</file>

<file path=ppt/tags/tag2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Mlpk7TYHRxaIHe6.SUx9jg"/>
</p:tagLst>
</file>

<file path=ppt/tags/tag215.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9.xml><?xml version="1.0" encoding="utf-8"?>
<p:tagLst xmlns:a="http://schemas.openxmlformats.org/drawingml/2006/main" xmlns:r="http://schemas.openxmlformats.org/officeDocument/2006/relationships" xmlns:p="http://schemas.openxmlformats.org/presentationml/2006/main">
  <p:tag name="SHAPENAME" val="5. Source"/>
</p:tagLst>
</file>

<file path=ppt/tags/tag22.xml><?xml version="1.0" encoding="utf-8"?>
<p:tagLst xmlns:a="http://schemas.openxmlformats.org/drawingml/2006/main" xmlns:r="http://schemas.openxmlformats.org/officeDocument/2006/relationships" xmlns:p="http://schemas.openxmlformats.org/presentationml/2006/main">
  <p:tag name="NAME" val="Moon"/>
</p:tagLst>
</file>

<file path=ppt/tags/tag2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1.xml><?xml version="1.0" encoding="utf-8"?>
<p:tagLst xmlns:a="http://schemas.openxmlformats.org/drawingml/2006/main" xmlns:r="http://schemas.openxmlformats.org/officeDocument/2006/relationships" xmlns:p="http://schemas.openxmlformats.org/presentationml/2006/main">
  <p:tag name="SHAPENAME" val="TopLin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yA0evTD9FXplcSqw.av8MA"/>
</p:tagLst>
</file>

<file path=ppt/tags/tag22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8.xml><?xml version="1.0" encoding="utf-8"?>
<p:tagLst xmlns:a="http://schemas.openxmlformats.org/drawingml/2006/main" xmlns:r="http://schemas.openxmlformats.org/officeDocument/2006/relationships" xmlns:p="http://schemas.openxmlformats.org/presentationml/2006/main">
  <p:tag name="SHAPENAME" val="5. Source"/>
</p:tagLst>
</file>

<file path=ppt/tags/tag2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xml><?xml version="1.0" encoding="utf-8"?>
<p:tagLst xmlns:a="http://schemas.openxmlformats.org/drawingml/2006/main" xmlns:r="http://schemas.openxmlformats.org/officeDocument/2006/relationships" xmlns:p="http://schemas.openxmlformats.org/presentationml/2006/main">
  <p:tag name="NAME" val="Moon"/>
</p:tagLst>
</file>

<file path=ppt/tags/tag230.xml><?xml version="1.0" encoding="utf-8"?>
<p:tagLst xmlns:a="http://schemas.openxmlformats.org/drawingml/2006/main" xmlns:r="http://schemas.openxmlformats.org/officeDocument/2006/relationships" xmlns:p="http://schemas.openxmlformats.org/presentationml/2006/main">
  <p:tag name="SHAPENAME" val="TopLin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23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3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7.xml><?xml version="1.0" encoding="utf-8"?>
<p:tagLst xmlns:a="http://schemas.openxmlformats.org/drawingml/2006/main" xmlns:r="http://schemas.openxmlformats.org/officeDocument/2006/relationships" xmlns:p="http://schemas.openxmlformats.org/presentationml/2006/main">
  <p:tag name="SHAPENAME" val="5. Source"/>
</p:tagLst>
</file>

<file path=ppt/tags/tag2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9.xml><?xml version="1.0" encoding="utf-8"?>
<p:tagLst xmlns:a="http://schemas.openxmlformats.org/drawingml/2006/main" xmlns:r="http://schemas.openxmlformats.org/officeDocument/2006/relationships" xmlns:p="http://schemas.openxmlformats.org/presentationml/2006/main">
  <p:tag name="SHAPENAME" val="TopLine"/>
</p:tagLst>
</file>

<file path=ppt/tags/tag24.xml><?xml version="1.0" encoding="utf-8"?>
<p:tagLst xmlns:a="http://schemas.openxmlformats.org/drawingml/2006/main" xmlns:r="http://schemas.openxmlformats.org/officeDocument/2006/relationships" xmlns:p="http://schemas.openxmlformats.org/presentationml/2006/main">
  <p:tag name="ANGLE" val="5"/>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2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5.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6.xml><?xml version="1.0" encoding="utf-8"?>
<p:tagLst xmlns:a="http://schemas.openxmlformats.org/drawingml/2006/main" xmlns:r="http://schemas.openxmlformats.org/officeDocument/2006/relationships" xmlns:p="http://schemas.openxmlformats.org/presentationml/2006/main">
  <p:tag name="SHAPENAME" val="5. Source"/>
</p:tagLst>
</file>

<file path=ppt/tags/tag2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8.xml><?xml version="1.0" encoding="utf-8"?>
<p:tagLst xmlns:a="http://schemas.openxmlformats.org/drawingml/2006/main" xmlns:r="http://schemas.openxmlformats.org/officeDocument/2006/relationships" xmlns:p="http://schemas.openxmlformats.org/presentationml/2006/main">
  <p:tag name="SHAPENAME" val="TopLin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ANGLE" val="5"/>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25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5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5.xml><?xml version="1.0" encoding="utf-8"?>
<p:tagLst xmlns:a="http://schemas.openxmlformats.org/drawingml/2006/main" xmlns:r="http://schemas.openxmlformats.org/officeDocument/2006/relationships" xmlns:p="http://schemas.openxmlformats.org/presentationml/2006/main">
  <p:tag name="SHAPENAME" val="5. Source"/>
</p:tagLst>
</file>

<file path=ppt/tags/tag2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7.xml><?xml version="1.0" encoding="utf-8"?>
<p:tagLst xmlns:a="http://schemas.openxmlformats.org/drawingml/2006/main" xmlns:r="http://schemas.openxmlformats.org/officeDocument/2006/relationships" xmlns:p="http://schemas.openxmlformats.org/presentationml/2006/main">
  <p:tag name="SHAPENAME" val="TopLin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Rw4BZlnvKEO9ZCIa9.28.w"/>
</p:tagLst>
</file>

<file path=ppt/tags/tag26.xml><?xml version="1.0" encoding="utf-8"?>
<p:tagLst xmlns:a="http://schemas.openxmlformats.org/drawingml/2006/main" xmlns:r="http://schemas.openxmlformats.org/officeDocument/2006/relationships" xmlns:p="http://schemas.openxmlformats.org/presentationml/2006/main">
  <p:tag name="ANGLE" val="4"/>
</p:tagLst>
</file>

<file path=ppt/tags/tag26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2.xml><?xml version="1.0" encoding="utf-8"?>
<p:tagLst xmlns:a="http://schemas.openxmlformats.org/drawingml/2006/main" xmlns:r="http://schemas.openxmlformats.org/officeDocument/2006/relationships" xmlns:p="http://schemas.openxmlformats.org/presentationml/2006/main">
  <p:tag name="SHAPENAME" val="5. Source"/>
</p:tagLst>
</file>

<file path=ppt/tags/tag26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4.xml><?xml version="1.0" encoding="utf-8"?>
<p:tagLst xmlns:a="http://schemas.openxmlformats.org/drawingml/2006/main" xmlns:r="http://schemas.openxmlformats.org/officeDocument/2006/relationships" xmlns:p="http://schemas.openxmlformats.org/presentationml/2006/main">
  <p:tag name="SHAPENAME" val="TopLin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7.xml><?xml version="1.0" encoding="utf-8"?>
<p:tagLst xmlns:a="http://schemas.openxmlformats.org/drawingml/2006/main" xmlns:r="http://schemas.openxmlformats.org/officeDocument/2006/relationships" xmlns:p="http://schemas.openxmlformats.org/presentationml/2006/main">
  <p:tag name="SHAPENAME" val="5. Source"/>
</p:tagLst>
</file>

<file path=ppt/tags/tag2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ANGLE" val="4"/>
</p:tagLst>
</file>

<file path=ppt/tags/tag270.xml><?xml version="1.0" encoding="utf-8"?>
<p:tagLst xmlns:a="http://schemas.openxmlformats.org/drawingml/2006/main" xmlns:r="http://schemas.openxmlformats.org/officeDocument/2006/relationships" xmlns:p="http://schemas.openxmlformats.org/presentationml/2006/main">
  <p:tag name="SHAPENAME" val="5. Source"/>
</p:tagLst>
</file>

<file path=ppt/tags/tag271.xml><?xml version="1.0" encoding="utf-8"?>
<p:tagLst xmlns:a="http://schemas.openxmlformats.org/drawingml/2006/main" xmlns:r="http://schemas.openxmlformats.org/officeDocument/2006/relationships" xmlns:p="http://schemas.openxmlformats.org/presentationml/2006/main">
  <p:tag name="SLIDETYPE" val="TitleWhi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aXr8WAgv0cG5g7IkN2Kntg"/>
</p:tagLst>
</file>

<file path=ppt/tags/tag27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75.xml><?xml version="1.0" encoding="utf-8"?>
<p:tagLst xmlns:a="http://schemas.openxmlformats.org/drawingml/2006/main" xmlns:r="http://schemas.openxmlformats.org/officeDocument/2006/relationships" xmlns:p="http://schemas.openxmlformats.org/presentationml/2006/main">
  <p:tag name="SHAPENAME" val="Subtitle"/>
</p:tagLst>
</file>

<file path=ppt/tags/tag276.xml><?xml version="1.0" encoding="utf-8"?>
<p:tagLst xmlns:a="http://schemas.openxmlformats.org/drawingml/2006/main" xmlns:r="http://schemas.openxmlformats.org/officeDocument/2006/relationships" xmlns:p="http://schemas.openxmlformats.org/presentationml/2006/main">
  <p:tag name="SHAPENAME" val="Titl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ryxX3X7n8xAi2YhxYUUswA"/>
</p:tagLst>
</file>

<file path=ppt/tags/tag2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xml><?xml version="1.0" encoding="utf-8"?>
<p:tagLst xmlns:a="http://schemas.openxmlformats.org/drawingml/2006/main" xmlns:r="http://schemas.openxmlformats.org/officeDocument/2006/relationships" xmlns:p="http://schemas.openxmlformats.org/presentationml/2006/main">
  <p:tag name="ANGLE" val="3"/>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09Z5.bcwFbQ2_Q3CmVfMn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a_sZ37eeG5cW.WrnZvgPyw"/>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f2.B8pzhTHkBX.IfhDQTe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5Rbtmg6XwRVewPWaEFhdV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RORYN8xJ6km_iXhJWZM4W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VFGN14yoQmVIz1P.dJFDs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Ok4TL52SaZjEzoW4etys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U33zDsB22Ia56MPPzi4aa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lkAaXRMXxAkYiKPZtCfi3A"/>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RaQ6CMyG8iRJVhbtVPt4kg"/>
</p:tagLst>
</file>

<file path=ppt/tags/tag29.xml><?xml version="1.0" encoding="utf-8"?>
<p:tagLst xmlns:a="http://schemas.openxmlformats.org/drawingml/2006/main" xmlns:r="http://schemas.openxmlformats.org/officeDocument/2006/relationships" xmlns:p="http://schemas.openxmlformats.org/presentationml/2006/main">
  <p:tag name="ANGLE" val="3"/>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MbPSpQcVEE3guSKvpQaJg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ofqdHeOpulGvnYlBYo5K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r6Cgcqua_88bxTQY7v99r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iAR880TsfUhFZQnaezo.Sg"/>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yi1q4JAp_A0EWVorZbjTww"/>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047xpk6eSOcjfGUOfvJSV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y2rbB0ssMD5C08V6Z67Wtg"/>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bKqMq8WQivsv3k6HDvGMb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w4Y3UHznnIxiJUD9bmqpm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EvGO_3lqbNFEV_c4RhHrZ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30.xml><?xml version="1.0" encoding="utf-8"?>
<p:tagLst xmlns:a="http://schemas.openxmlformats.org/drawingml/2006/main" xmlns:r="http://schemas.openxmlformats.org/officeDocument/2006/relationships" xmlns:p="http://schemas.openxmlformats.org/presentationml/2006/main">
  <p:tag name="ANGLE" val="2"/>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GwDMakRvc0W_j1VF2VM2zg"/>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z4Lp8x_Ws75Jy6oTleJ2I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M3TIXhYr0EuvstMIViJY2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cH3VuM9.fdL5o4eEhJmAHg"/>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W9m7D.2kBcH1c9I_O3Np3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L6hKQFyROKHoTq5rh8dxU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JXDlKBSsd1x4ptIJgQRaCw"/>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b9UrQBK24ATCkeXbr.8oig"/>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5JqzRSmL58o2UfddqgC.2A"/>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11R_S7FyxxpPcC59fmuCDQ"/>
</p:tagLst>
</file>

<file path=ppt/tags/tag31.xml><?xml version="1.0" encoding="utf-8"?>
<p:tagLst xmlns:a="http://schemas.openxmlformats.org/drawingml/2006/main" xmlns:r="http://schemas.openxmlformats.org/officeDocument/2006/relationships" xmlns:p="http://schemas.openxmlformats.org/presentationml/2006/main">
  <p:tag name="ANGLE" val="2"/>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y9SE_znN8KknPpLp1e9Gh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7EZ5rG8AxFih6sZZhGZiUg"/>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Xfh_W3ZVDiFQjoYXq3js_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uZDS0FzRHKICgt1_Jaz2Z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R1Em3V3EFKcCOhwW8nKeg"/>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_zdGU4pfpSRKa_XBMOgCNA"/>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bTaKwko9cCoMH8YUH8BMY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S.KaB3XX2odov1j9Q9eZI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qO3so_GrBScipT.DTYqs2w"/>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1ejB1AGDc7P80st9M8MpIQ"/>
</p:tagLst>
</file>

<file path=ppt/tags/tag32.xml><?xml version="1.0" encoding="utf-8"?>
<p:tagLst xmlns:a="http://schemas.openxmlformats.org/drawingml/2006/main" xmlns:r="http://schemas.openxmlformats.org/officeDocument/2006/relationships" xmlns:p="http://schemas.openxmlformats.org/presentationml/2006/main">
  <p:tag name="ANGLE" val="1"/>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s9suE8DthlHs7H4hJk2MSg"/>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nirG53GEfw4rGfEXUW.h1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Vfi26ml.XR2cpMdTx0svY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75m9asIRTL0NmvAxWcV4aQ"/>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ZF9xuiokAn3u71EDmYlMAQ"/>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KpPNNa2uAL2V4KzlQA35r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r2tJfQSUIrxsgSxjZE2QA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TLFuhSuYT0Sm82eJwlgNCg"/>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fYVd6.PBcHiek2mvRONx4g"/>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WpLA7bVXQCeM2YkFGzTWFQ"/>
</p:tagLst>
</file>

<file path=ppt/tags/tag33.xml><?xml version="1.0" encoding="utf-8"?>
<p:tagLst xmlns:a="http://schemas.openxmlformats.org/drawingml/2006/main" xmlns:r="http://schemas.openxmlformats.org/officeDocument/2006/relationships" xmlns:p="http://schemas.openxmlformats.org/presentationml/2006/main">
  <p:tag name="ANGLE" val="1"/>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pMIHv3Fk9SuX8Z53qilfM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deMFsFNy5XPverQTE6g.s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PRIGzJG26VFnJbVyWv1a7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mCA51oFA1aQBmUquWW8Hi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m6yxtgumJ4N53BYo2XhwUg"/>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x.liCkVah6VPBtMGCO_Qh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kQAkWfWCSEw9_qmEFyDLUQ"/>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nk3xW4uOp0qTq61G2JM0Bg"/>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UAaqK80ezeOVFHMBMBtGh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9pveScKvlPLURDIDKtLCh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_BBUBe0G2C9AFZsrItNkHw"/>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007ABALjS_6zXB3Fgn0Rw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sARRpTvZc.zBlMqux_rGh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iso.hthco9tZDGOTMDskw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RI63SiwhkutSWLvdd.obY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GELYjkwJi9Chh5UsB5PGlw"/>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f8ZG.HgPFXAjE9NadVQm_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o3QCZGlljKPo9CjHTxuGu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tCkMyZAx1ue9_LMcNO32c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_Vttaidg_AYE9igdIpdKw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gUY_Oua3TYYcV3XBG2TFvw"/>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b7g55bCDAgklcF_1L9bnE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KO4XRVOkPb97.Wm6c7gFe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oM.jYJuqtPbrWnuiPhipLQ"/>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kRA3fxxx.ZLPoMlro2B9c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Wh6UIyvdnQE9YjpdjjDOR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ga0hvLJng7A5xYM7xpSf9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BP3NA03pcyg.Xe9CZ3Usj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Q3.Qz3uZheiPqrtpu6K60A"/>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YfVU50KZryHLtrJDQZfKeg"/>
</p:tagLst>
</file>

<file path=ppt/tags/tag36.xml><?xml version="1.0" encoding="utf-8"?>
<p:tagLst xmlns:a="http://schemas.openxmlformats.org/drawingml/2006/main" xmlns:r="http://schemas.openxmlformats.org/officeDocument/2006/relationships" xmlns:p="http://schemas.openxmlformats.org/presentationml/2006/main">
  <p:tag name="ORIGLEFT" val="712.8783"/>
  <p:tag name="ORIGTOP" val="155.8009"/>
  <p:tag name="ORIGHEIGHT" val="88.8122"/>
  <p:tag name="ORIGWIDTH" val="88.8122"/>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gLbGrkLbT.vzLKlteYnw.g"/>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nw_gL87A7OmiHf1Atllg1Q"/>
</p:tagLst>
</file>

<file path=ppt/tags/tag362.xml><?xml version="1.0" encoding="utf-8"?>
<p:tagLst xmlns:a="http://schemas.openxmlformats.org/drawingml/2006/main" xmlns:r="http://schemas.openxmlformats.org/officeDocument/2006/relationships" xmlns:p="http://schemas.openxmlformats.org/presentationml/2006/main">
  <p:tag name="NAME" val="LineContentSeparatorDefaultVertical"/>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WzRRqo5KmrCFj8T9PvpmgA"/>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8Dy0jLI9o5PLYeCy9HWYJ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161XXGrSa86Uw2qr8JvDa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P_2_BsuPYX0hBOG1lb70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yXg6cHFDNT0gdcHn3MznUA"/>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E1VxA3i7KtnRjCA1HX6sd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hQTk.z6a9ArLYP2Q6NL0rQ"/>
</p:tagLst>
</file>

<file path=ppt/tags/tag3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VOwtmEQwgfKLEpltDb9BR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jIlcQvsh6tz21oNnUkxSK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cFM0BaHgZIJCUAWBXoW_RQ"/>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lzOFGo8abl0IGcxdjuhOK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feDYwItQGKRs7dIqcaU24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ZVP7bkXZOn22gOYMFqDaq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8vHk_8lzbiz3Q8gcR7w_BA"/>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FQy4Wtdddgh6b6aPiPTejw"/>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_qwc6IMB9Ask38NiifqNoA"/>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bI5meyPHZaiHCkM0c1Yww"/>
</p:tagLst>
</file>

<file path=ppt/tags/tag38.xml><?xml version="1.0" encoding="utf-8"?>
<p:tagLst xmlns:a="http://schemas.openxmlformats.org/drawingml/2006/main" xmlns:r="http://schemas.openxmlformats.org/officeDocument/2006/relationships" xmlns:p="http://schemas.openxmlformats.org/presentationml/2006/main">
  <p:tag name="SHAPENAME" val="Subtitl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NtBrNW2Zeiv9d_lDcgtM5g"/>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DrR5DmKMjCKYENLuGEFhRQ"/>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qUc.ya7njWy0NHP7ImJ5M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YNPVqYn4DMgmEHkqKOhebQ"/>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i7esIDr.MLOO.7ncy0KzXg"/>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XouK2GSQkCVy1nxYZUinS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E8Cg6mGitCWXyYEwCVo9cw"/>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2fMYkhE4624LeLDucU4geA"/>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U11ivktmxvfLAgA_t1wZrg"/>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GGTc3jNgOJjAdZyB_wSDuA"/>
</p:tagLst>
</file>

<file path=ppt/tags/tag39.xml><?xml version="1.0" encoding="utf-8"?>
<p:tagLst xmlns:a="http://schemas.openxmlformats.org/drawingml/2006/main" xmlns:r="http://schemas.openxmlformats.org/officeDocument/2006/relationships" xmlns:p="http://schemas.openxmlformats.org/presentationml/2006/main">
  <p:tag name="SHAPENAME" val="Titl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ibqCgEkQCtz6V6kq4SBerw"/>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DtGlJFWskWPQBEDoo5tYnA"/>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yUxdGV16CNy0D5q9.f9ug"/>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Cb6z8_4UzjxaDQ_5nWKTfw"/>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0hIl_eN8x9W6vQF6EeF0HQ"/>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8kwdE8YSjaX0O1PoUuf3JQ"/>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n04MrsSdadfXkK6Qlq08JQ"/>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fnF11QDK.3FD76pKHYQkMw"/>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sxlQd6DvvNUNOr30Hc8R1g"/>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Bfb5pc_l5vwDVh5XbpRLiQ"/>
</p:tagLst>
</file>

<file path=ppt/tags/tag4.xml><?xml version="1.0" encoding="utf-8"?>
<p:tagLst xmlns:a="http://schemas.openxmlformats.org/drawingml/2006/main" xmlns:r="http://schemas.openxmlformats.org/officeDocument/2006/relationships" xmlns:p="http://schemas.openxmlformats.org/presentationml/2006/main">
  <p:tag name="SHAPENAME" val="4. Footno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iOJuPhbaw6E14VEbZekoMQ"/>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WW48J0wd4dODKyEysiuc5Q"/>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JpQxSeAPpsd6mMT30rsQrw"/>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OkkF626CnnTlAQjheag_cA"/>
</p:tagLst>
</file>

<file path=ppt/tags/tag404.xml><?xml version="1.0" encoding="utf-8"?>
<p:tagLst xmlns:a="http://schemas.openxmlformats.org/drawingml/2006/main" xmlns:r="http://schemas.openxmlformats.org/officeDocument/2006/relationships" xmlns:p="http://schemas.openxmlformats.org/presentationml/2006/main">
  <p:tag name="SHAPENAME" val="5. Source"/>
</p:tagLst>
</file>

<file path=ppt/tags/tag405.xml><?xml version="1.0" encoding="utf-8"?>
<p:tagLst xmlns:a="http://schemas.openxmlformats.org/drawingml/2006/main" xmlns:r="http://schemas.openxmlformats.org/officeDocument/2006/relationships" xmlns:p="http://schemas.openxmlformats.org/presentationml/2006/main">
  <p:tag name="NAME" val="LineContentSeparatorDefaultVertical"/>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MJ74Ux50krP3j0X4qm0ilA"/>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oOQSAJhZp5Y5V5NZO7APs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4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1.xml><?xml version="1.0" encoding="utf-8"?>
<p:tagLst xmlns:a="http://schemas.openxmlformats.org/drawingml/2006/main" xmlns:r="http://schemas.openxmlformats.org/officeDocument/2006/relationships" xmlns:p="http://schemas.openxmlformats.org/presentationml/2006/main">
  <p:tag name="SHAPENAME" val="5. Source"/>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rtCDj3Nk7YNjYqIL_ph4iA"/>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AGUnURkEXa2Q0q3xCJk4u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DT5Ln63cQiHVegUiHQpKBw"/>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egFGEyOiGF8xfuMVNxdmQ"/>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ePtgV8IkXWp0qqrzwDD0rg"/>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xcN4VXO6E2BdJ.23_DgLWA"/>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6XGmo4I8_Kw_bDxKt8KHEg"/>
</p:tagLst>
</file>

<file path=ppt/tags/tag4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AiIGnUbtOR70ib6IZurd8w"/>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7f7Ak1Ay1sMA17Mb1yp7_A"/>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gKiontcjbQFe2QQ0DjOL7A"/>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uzU.KBUD71oir.aHxIKTUw"/>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QOLD2sFthcEOuB03Uscy3A"/>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p6N5EGSNQuEwhu1eegBK8w"/>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UdE5X8q715yF6iLD7Z_rRQ"/>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4tlAVp_QRE3Q9A6JiuZXkA"/>
</p:tagLst>
</file>

<file path=ppt/tags/tag4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9.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Subtitle"/>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Zrpnxmhuzf4.x4E4lOklnA"/>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L9sH_xE.t56LcFs.GJoIpg"/>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MF.OT_14.y3A7RLAsKFAbQ"/>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bn5k1704qXm6Fz4vYlSCLQ"/>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pNVUFoe5HFu_P5jitNu6jQ"/>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bn.C8gl_xzvvyc.0BMtPVw"/>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CwMPAta_c.PAvulfRGiAqA"/>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4jkPHeDnLZXT5oghEK775Q"/>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7.iYo7VYjygDGFuGqz6L4Q"/>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2LzmdnbHNSdP_wvLUT_rjg"/>
</p:tagLst>
</file>

<file path=ppt/tags/tag44.xml><?xml version="1.0" encoding="utf-8"?>
<p:tagLst xmlns:a="http://schemas.openxmlformats.org/drawingml/2006/main" xmlns:r="http://schemas.openxmlformats.org/officeDocument/2006/relationships" xmlns:p="http://schemas.openxmlformats.org/presentationml/2006/main">
  <p:tag name="SHAPENAME" val="Title"/>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KBhIw19o5CRnBiBue.otLg"/>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OoRqHJ6e.it7ljZNinDMnw"/>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3EnDB9z8C4f9zqxGKj2ysg"/>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ryxX3X7n8xAi2YhxYUUswA"/>
</p:tagLst>
</file>

<file path=ppt/tags/tag4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aW.OptAn3vYJCLHvhgOwKw"/>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VFkV4_0NtxNGIu4R0zQekw"/>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mz6nr7NZLN7BtYokINhNwA"/>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9Uhu.W5uyp.H7WSObhLRS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aXbNAr2nkMdphni_Vqsk8A"/>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mZ5WgHRGiMiWVXH4W89HeQ"/>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qRiyycrUb4_gTGiMAKgOCg"/>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6Bw6WHY3M.sizIJ87Sdfww"/>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WV7mE6dsxMzxBkSS3brg7g"/>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r0aBoLFnsnjnMT5QGhGSmw"/>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Rxd81gW7_8ddbATS3TS9Nw"/>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eggw2rZyV8lgVjbqmNB5ZA"/>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vmLrEe42F96uqI9B8qv95g"/>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VVc6EPrNxkRA2EwcieDHW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CBIC1udk7CFgPpxxFJ53wA"/>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fOqHe7LmO7ldEMJ9Gm_ZzA"/>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m9_Afo2tVyLl9ONxP.nhaQ"/>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YbbhfzWwQl0E7OFWQ8ptuA"/>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h7jeetMwC.UGkCbh7Fg15g"/>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qlNJeU4Vju0C.ARAWv6Law"/>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47d8Sy3Pe14QaQDKhRydCQ"/>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y3kiPcfhKaYdNx465RY2uw"/>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X3cK9RvwUsEAL0KkO3zyYA"/>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0g9.LwDN5vPyox79_vRP_A"/>
</p:tagLst>
</file>

<file path=ppt/tags/tag47.xml><?xml version="1.0" encoding="utf-8"?>
<p:tagLst xmlns:a="http://schemas.openxmlformats.org/drawingml/2006/main" xmlns:r="http://schemas.openxmlformats.org/officeDocument/2006/relationships" xmlns:p="http://schemas.openxmlformats.org/presentationml/2006/main">
  <p:tag name="ORIGLEFT" val="712.8783"/>
  <p:tag name="ORIGTOP" val="155.8009"/>
  <p:tag name="ORIGHEIGHT" val="88.8122"/>
  <p:tag name="ORIGWIDTH" val="88.8122"/>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XFSQ4Zg.LaahtCb3JcVR_w"/>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q.VspOkqMRmPiPSkYe_kPQ"/>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DEiL1dUrUI3QbUP84mlfoQ"/>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xzcZsQkStw0ukQVZAJaplg"/>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K2I2fyhZTZnMtvnn_arW6w"/>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7d1.sZFqpLMJqWx75veB4Q"/>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JEEleypDgtpai3gIBDdxIA"/>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8degDiNIBjRjea2l88RwkQ"/>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9_9JGV8nKpO.NnadaGd8UA"/>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hJ_V1UKenUMo37x4iMO7bw"/>
</p:tagLst>
</file>

<file path=ppt/tags/tag4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vdXiBFKeKoH5shRSbaa00A"/>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iVvnApNPi8E0NbuCM0taBg"/>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ncRDf8XJEagi0mDwfbGPLQ"/>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Q_7MjtwUxaUKVVzbwWDcZA"/>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K6E4RQmbyMkWYiIStruNnA"/>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AIROgxiQujNs3towZe6Zwg"/>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wBfL74zvv5bROQRzAgmxeg"/>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RyMj43RwGtj6mrgAmvlsyA"/>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ZkNiZ3it33qnYxpuddnrhQ"/>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mThl0TUXbl2Nqf.asfoXYA"/>
</p:tagLst>
</file>

<file path=ppt/tags/tag49.xml><?xml version="1.0" encoding="utf-8"?>
<p:tagLst xmlns:a="http://schemas.openxmlformats.org/drawingml/2006/main" xmlns:r="http://schemas.openxmlformats.org/officeDocument/2006/relationships" xmlns:p="http://schemas.openxmlformats.org/presentationml/2006/main">
  <p:tag name="SHAPENAME" val="Subtitle"/>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n2pqQKEloQPXDmND3E9nKQ"/>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Aw3bO7TmIEWRbdGn9UUVTg"/>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DHpUmhQXNqvMH_fyMQ_yvQ"/>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AY14qnwgWSixQsQ.PrxrNA"/>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zRQbfO8dJNBpk8Aoe5uMFQ"/>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bsMy.E3vCLWhLUgXFAnV1A"/>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hMKpdgfmmF1Iv24Lk6_lDQ"/>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Geu3XhVcHPOlMHTQQkaIW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NUQnnp6N49dsn2ZOOhGurA"/>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GQ7pLcoVEHw0z2hEy99aQg"/>
</p:tagLst>
</file>

<file path=ppt/tags/tag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xml><?xml version="1.0" encoding="utf-8"?>
<p:tagLst xmlns:a="http://schemas.openxmlformats.org/drawingml/2006/main" xmlns:r="http://schemas.openxmlformats.org/officeDocument/2006/relationships" xmlns:p="http://schemas.openxmlformats.org/presentationml/2006/main">
  <p:tag name="SHAPENAME" val="Title"/>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9bDOfFEv7K.V649pBldUPg"/>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1b7B5ZR.GSAadeanslk3vQ"/>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4JfQl1xvjKpArVGOqUcjuQ"/>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tcDjdusIqze00TNq6GL.0g"/>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cKdj6Tf4TYRt8PlVXQGEIA"/>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KwmljP2STXDmKJ5wQNNH.A"/>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H2Nkj.bd7aLcbe5nRaE6EA"/>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U6Yeyysh_pacD4NHWKOSLg"/>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wxKnuNYhLGLsrOrE6uHvQA"/>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Hki39hqtPTGE51x64MFoG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cTXeIy0Y6Z65_bQnwfT6dw"/>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I59fNnf3hPD.HK_PbJEAlQ"/>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EDPEQGQt6h9cWVB4qOv3Cg"/>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Sq_8RNoU5rGp2I9MUO.j0Q"/>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WAUPyhUlEM5QAuO2byLeTA"/>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YO6T2rttrh6klqthdn9XZg"/>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bqClZwHRdRH.sVsomdD3Jw"/>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y4YlIhji0apwX6uSSaRffg"/>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RgecAvZCI7hidDgBPUPgQQ"/>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TQuZCcNbV1beEL5WKZkP9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4CBBCnCPvL8W0mMP_pRD3g"/>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rBAsyB8ux2q3Q8ImAbXcfw"/>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_YIvgcP7bcpRAjzpzyStFg"/>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d0UhMExLAIOWhnlbo3SqnA"/>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fjZ0fExZJn7l0uQgLsMnRQ"/>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YfnMsT3f8Dx_MJqTbQSj4A"/>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_H5sPg5DU.H_d0oxagq61w"/>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XFZila4R6FmYv45Zky2cDw"/>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DxtdjectAlZmWl0S_ae4sg"/>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0Hkf5r2hI6AyqbPOx9tzuQ"/>
</p:tagLst>
</file>

<file path=ppt/tags/tag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b3nkGF26.8V21eKj46Rq7g"/>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9MVvgmo8nNl69Hhw.Waxeg"/>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oAujTiwBpwBUlXwnSRKtRg"/>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qtVdkPeFXMLnE_pGB3dnVQ"/>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IslDvqcM92KN7L9pg9S8Yw"/>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yWcmDM6llwqwSVmyFuF4Ug"/>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Tg5TP6dTJP1MnKb1hJDwbA"/>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B6NW1YEkaqpuBYUoPW9MzA"/>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BCVHFMhEVPd0hGN2QXEyFA"/>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F3x1V9tieb2p0OF0y4Kzfw"/>
</p:tagLst>
</file>

<file path=ppt/tags/tag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vuNNSnKGLfL8gnpqlPZLSQ"/>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lwfqPx2.wLJDBX_gWezcJw"/>
</p:tagLst>
</file>

<file path=ppt/tags/tag542.xml><?xml version="1.0" encoding="utf-8"?>
<p:tagLst xmlns:a="http://schemas.openxmlformats.org/drawingml/2006/main" xmlns:r="http://schemas.openxmlformats.org/officeDocument/2006/relationships" xmlns:p="http://schemas.openxmlformats.org/presentationml/2006/main">
  <p:tag name="SHAPENAME" val="5. Source"/>
</p:tagLst>
</file>

<file path=ppt/tags/tag543.xml><?xml version="1.0" encoding="utf-8"?>
<p:tagLst xmlns:a="http://schemas.openxmlformats.org/drawingml/2006/main" xmlns:r="http://schemas.openxmlformats.org/officeDocument/2006/relationships" xmlns:p="http://schemas.openxmlformats.org/presentationml/2006/main">
  <p:tag name="NAME" val="LineBasicVerticalDefault"/>
</p:tagLst>
</file>

<file path=ppt/tags/tag544.xml><?xml version="1.0" encoding="utf-8"?>
<p:tagLst xmlns:a="http://schemas.openxmlformats.org/drawingml/2006/main" xmlns:r="http://schemas.openxmlformats.org/officeDocument/2006/relationships" xmlns:p="http://schemas.openxmlformats.org/presentationml/2006/main">
  <p:tag name="NAME" val="LineBasicVerticalDefault"/>
</p:tagLst>
</file>

<file path=ppt/tags/tag545.xml><?xml version="1.0" encoding="utf-8"?>
<p:tagLst xmlns:a="http://schemas.openxmlformats.org/drawingml/2006/main" xmlns:r="http://schemas.openxmlformats.org/officeDocument/2006/relationships" xmlns:p="http://schemas.openxmlformats.org/presentationml/2006/main">
  <p:tag name="NAME" val="LineBasicVerticalDefault"/>
</p:tagLst>
</file>

<file path=ppt/tags/tag546.xml><?xml version="1.0" encoding="utf-8"?>
<p:tagLst xmlns:a="http://schemas.openxmlformats.org/drawingml/2006/main" xmlns:r="http://schemas.openxmlformats.org/officeDocument/2006/relationships" xmlns:p="http://schemas.openxmlformats.org/presentationml/2006/main">
  <p:tag name="NAME" val="LineBasicVerticalDefault"/>
</p:tagLst>
</file>

<file path=ppt/tags/tag547.xml><?xml version="1.0" encoding="utf-8"?>
<p:tagLst xmlns:a="http://schemas.openxmlformats.org/drawingml/2006/main" xmlns:r="http://schemas.openxmlformats.org/officeDocument/2006/relationships" xmlns:p="http://schemas.openxmlformats.org/presentationml/2006/main">
  <p:tag name="NAME" val="LineBasicVerticalDefault"/>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ryxX3X7n8xAi2YhxYUUswA"/>
</p:tagLst>
</file>

<file path=ppt/tags/tag5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3.9ZaVuytLvzMi_Q.mU2ig"/>
</p:tagLst>
</file>

<file path=ppt/tags/tag5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53.xml><?xml version="1.0" encoding="utf-8"?>
<p:tagLst xmlns:a="http://schemas.openxmlformats.org/drawingml/2006/main" xmlns:r="http://schemas.openxmlformats.org/officeDocument/2006/relationships" xmlns:p="http://schemas.openxmlformats.org/presentationml/2006/main">
  <p:tag name="1LEVEL" val="9"/>
  <p:tag name="2LEVEL" val="4.5"/>
  <p:tag name="3LEVEL" val="2.25"/>
  <p:tag name="4LEVEL" val="1.12"/>
  <p:tag name="5LEVEL" val="0.56"/>
</p:tagLst>
</file>

<file path=ppt/tags/tag554.xml><?xml version="1.0" encoding="utf-8"?>
<p:tagLst xmlns:a="http://schemas.openxmlformats.org/drawingml/2006/main" xmlns:r="http://schemas.openxmlformats.org/officeDocument/2006/relationships" xmlns:p="http://schemas.openxmlformats.org/presentationml/2006/main">
  <p:tag name="SHAPENAME" val="5. Source"/>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3.9ZaVuytLvzMi_Q.mU2ig"/>
</p:tagLst>
</file>

<file path=ppt/tags/tag55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vAkQdmVQytmE4TavqQsd2Q"/>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NVWDC2.H0Bf6nHMGs0zJaQ"/>
</p:tagLst>
</file>

<file path=ppt/tags/tag56.xml><?xml version="1.0" encoding="utf-8"?>
<p:tagLst xmlns:a="http://schemas.openxmlformats.org/drawingml/2006/main" xmlns:r="http://schemas.openxmlformats.org/officeDocument/2006/relationships" xmlns:p="http://schemas.openxmlformats.org/presentationml/2006/main">
  <p:tag name="SHAPENAME" val="5. Source"/>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6PxKGBWOgdzMStemGnj3hA"/>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sP6MXhmVAfLoXXo1jiuafw"/>
</p:tagLst>
</file>

<file path=ppt/tags/tag562.xml><?xml version="1.0" encoding="utf-8"?>
<p:tagLst xmlns:a="http://schemas.openxmlformats.org/drawingml/2006/main" xmlns:r="http://schemas.openxmlformats.org/officeDocument/2006/relationships" xmlns:p="http://schemas.openxmlformats.org/presentationml/2006/main">
  <p:tag name="SHAPENAME" val="5. Source"/>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CudWz4W6BNa5dfXbV9EvQA"/>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jTfFiyr8niiZExyvbZQAqg"/>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kZVqPubKN.PpY8dGCcssWA"/>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GMuyJYdUtCZhiPrBzEOBgQ"/>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pHGVWRlfan2q0QX9hCGG2Q"/>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dG9Kz031yakvTwJlcTs3kQ"/>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LrYmc26t.0YKFZxTmIRSA"/>
</p:tagLst>
</file>

<file path=ppt/tags/tag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nJA0sMvgowqgjLHC5z9YOg"/>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hsz8Xats3tYAfpJ8NF5FSA"/>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bWh8oDg.5Jvgpkz.dMqgdQ"/>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7u55w9alxZ9CyuwJywqGXg"/>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Um_eqRWq7OwAXuqpZvIKug"/>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5y4MaAk2Iux.R73Qlh23XA"/>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Jz4jUFXBg27QW9x5lyY2XQ"/>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jJKlbAGNGQ00P61c6QivZg"/>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4cuyN7z6JDqEp8J2Tdw7IA"/>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Mu_HzfKLnB_QsQ5VuiZZN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PvVanVCjyVxmQMAcK9XrDw"/>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_V56AX.Hr9ea.06w0KvA1Q"/>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Xq1xpKfzNmWZYsd2MxWiFQ"/>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Nu9aYh63k9MsCTzzszwluw"/>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aNO_YEcxqIwEGvXC8ElNqw"/>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zDTh.a.0am9E91on7RSfJw"/>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9WrkAQ8fLjWltr8XdvGbRg"/>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UxDqbGrZhKCacXD_wZ329g"/>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ImIhaHDJkvS2cu81BaOXJQ"/>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osU.iJLypytEDMJULxKb_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fOb2jZcWvIaNxVZYbfiCXA"/>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GMOZ2iPx80ZSX5CpPpcZMw"/>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1RJvuc3na38QhXbvzc6IRA"/>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36sqzwrRVeSczIK4Luc0BQ"/>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dNqBzebJtYESfWlu2EbBnA"/>
</p:tagLst>
</file>

<file path=ppt/tags/tag595.xml><?xml version="1.0" encoding="utf-8"?>
<p:tagLst xmlns:a="http://schemas.openxmlformats.org/drawingml/2006/main" xmlns:r="http://schemas.openxmlformats.org/officeDocument/2006/relationships" xmlns:p="http://schemas.openxmlformats.org/presentationml/2006/main">
  <p:tag name="1LEVEL" val="9"/>
  <p:tag name="2LEVEL" val="4.5"/>
  <p:tag name="3LEVEL" val="2.25"/>
  <p:tag name="4LEVEL" val="1.12"/>
  <p:tag name="5LEVEL" val="0.56"/>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9aOYxkoqBfY7fUvQpjgI3g"/>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CJUXI7h1Rb8BZ_KcX2oQNA"/>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EVytFA9s1q82it80FA0wcQ"/>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PzmTGx_gZoWajBe.pSpjbw"/>
</p:tagLst>
</file>

<file path=ppt/tags/tag6.xml><?xml version="1.0" encoding="utf-8"?>
<p:tagLst xmlns:a="http://schemas.openxmlformats.org/drawingml/2006/main" xmlns:r="http://schemas.openxmlformats.org/officeDocument/2006/relationships" xmlns:p="http://schemas.openxmlformats.org/presentationml/2006/main">
  <p:tag name="NAME" val="ACET"/>
</p:tagLst>
</file>

<file path=ppt/tags/tag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ulOXXzY7eUqRR.N.N8nC8Q"/>
</p:tagLst>
</file>

<file path=ppt/tags/tag6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K3mKQDvfh3dJHKaNBP6FbA"/>
</p:tagLst>
</file>

<file path=ppt/tags/tag60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06.xml><?xml version="1.0" encoding="utf-8"?>
<p:tagLst xmlns:a="http://schemas.openxmlformats.org/drawingml/2006/main" xmlns:r="http://schemas.openxmlformats.org/officeDocument/2006/relationships" xmlns:p="http://schemas.openxmlformats.org/presentationml/2006/main">
  <p:tag name="SHAPENAME" val="5. Source"/>
</p:tagLst>
</file>

<file path=ppt/tags/tag607.xml><?xml version="1.0" encoding="utf-8"?>
<p:tagLst xmlns:a="http://schemas.openxmlformats.org/drawingml/2006/main" xmlns:r="http://schemas.openxmlformats.org/officeDocument/2006/relationships" xmlns:p="http://schemas.openxmlformats.org/presentationml/2006/main">
  <p:tag name="NAME" val="CustomIcon"/>
</p:tagLst>
</file>

<file path=ppt/tags/tag608.xml><?xml version="1.0" encoding="utf-8"?>
<p:tagLst xmlns:a="http://schemas.openxmlformats.org/drawingml/2006/main" xmlns:r="http://schemas.openxmlformats.org/officeDocument/2006/relationships" xmlns:p="http://schemas.openxmlformats.org/presentationml/2006/main">
  <p:tag name="NAME" val="CustomIcon"/>
</p:tagLst>
</file>

<file path=ppt/tags/tag609.xml><?xml version="1.0" encoding="utf-8"?>
<p:tagLst xmlns:a="http://schemas.openxmlformats.org/drawingml/2006/main" xmlns:r="http://schemas.openxmlformats.org/officeDocument/2006/relationships" xmlns:p="http://schemas.openxmlformats.org/presentationml/2006/main">
  <p:tag name="NAME" val="CustomIcon"/>
</p:tagLst>
</file>

<file path=ppt/tags/tag6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10.xml><?xml version="1.0" encoding="utf-8"?>
<p:tagLst xmlns:a="http://schemas.openxmlformats.org/drawingml/2006/main" xmlns:r="http://schemas.openxmlformats.org/officeDocument/2006/relationships" xmlns:p="http://schemas.openxmlformats.org/presentationml/2006/main">
  <p:tag name="NAME" val="CustomIcon"/>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FUk7CWVgf0H7LA5OCPD42Q"/>
</p:tagLst>
</file>

<file path=ppt/tags/tag61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YjiZnA3kesGxlqJsZG7LeQ"/>
</p:tagLst>
</file>

<file path=ppt/tags/tag61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17.xml><?xml version="1.0" encoding="utf-8"?>
<p:tagLst xmlns:a="http://schemas.openxmlformats.org/drawingml/2006/main" xmlns:r="http://schemas.openxmlformats.org/officeDocument/2006/relationships" xmlns:p="http://schemas.openxmlformats.org/presentationml/2006/main">
  <p:tag name="SHAPENAME" val="5. Source"/>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YjiZnA3kesGxlqJsZG7LeQ"/>
</p:tagLst>
</file>

<file path=ppt/tags/tag62.xml><?xml version="1.0" encoding="utf-8"?>
<p:tagLst xmlns:a="http://schemas.openxmlformats.org/drawingml/2006/main" xmlns:r="http://schemas.openxmlformats.org/officeDocument/2006/relationships" xmlns:p="http://schemas.openxmlformats.org/presentationml/2006/main">
  <p:tag name="SHAPENAME" val="5. Source"/>
</p:tagLst>
</file>

<file path=ppt/tags/tag6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21.xml><?xml version="1.0" encoding="utf-8"?>
<p:tagLst xmlns:a="http://schemas.openxmlformats.org/drawingml/2006/main" xmlns:r="http://schemas.openxmlformats.org/officeDocument/2006/relationships" xmlns:p="http://schemas.openxmlformats.org/presentationml/2006/main">
  <p:tag name="SHAPENAME" val="5. Source"/>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6CpvYXgvWLOuUs2xSEk02w"/>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h27j4e5Xk1pDIhQt9Pu8Zw"/>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eNFLe5hNNnnse6t0RDJlcQ"/>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y7NCuCCpqSp8stj8nX0IMg"/>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sIgaqRffW9FVBFzmoGi4kw"/>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Ybk85XnHbHeLpAxMoZ1fjg"/>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9mmH.KVJc7XbRL3rse1A5w"/>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6Bjdtgj43ZUilmKlQvhwQQ"/>
</p:tagLst>
</file>

<file path=ppt/tags/tag6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O0070TjyqB_KiW1R8SamkA"/>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sHyroihGX6eBGOA3byR8Hg"/>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B5oP8qNtBtmSYvp5ZL.hyQ"/>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4xggYIMG5zW.ETDbhzindQ"/>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nawJJKXgsZ8oSGetixpSDg"/>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UQNFnCb01O.UPhupaWCFqA"/>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ZM6UXmMak0MskcPxnxWrsA"/>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UCnzG7rm3IwnbfM8pimQ0A"/>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BnKldjyBfzSfv2HVyqwfNw"/>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9ieHfGVOLbqoOc4cKU1cM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fbJlDjLqYS22EH5AoZ9vgg"/>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qF2FeI2c9Y6qssO9G6UN6A"/>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sWaXz_o78NTCiN2j_djWDQ"/>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YeGvYbMmg8g3AdSj3JzVWQ"/>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smHuQBa7AeKOcppcWwKepQ"/>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YuWqGB5fonReNPML6nH4YQ"/>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JaS9404qBbiT2x6z57XEnA"/>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qkKQmDWQX5p_oU37r_A2JA"/>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pMEfFDT9tGuW7qh6Pc3Jag"/>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9G4iE596XU4MEt6NNwNUb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XsFcgFbWugxFicTS70QK4g"/>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Hrb_kNVV7VAAAL__MROAog"/>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IF4kch7GtmM8IBC.h.xvdA"/>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dz_S2pXC.0wPcc5VjYCw2w"/>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l9bMKVnyu3d8jP0JcAxKyg"/>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O2Y2mTJ0n0wnted0qbUjZA"/>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0CaxSHYXHgwwguS5BTE_bg"/>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ZdwkDCuQHNlDBuUS7PjPTg"/>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nJ83lTO_.UZctjSVScH9WA"/>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1F4aL.mndk4b1tdG2p_Xrw"/>
</p:tagLst>
</file>

<file path=ppt/tags/tag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8rQImWitXv1ONhBmXFoSjQ"/>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ix5dE5l2siBAHudNtKNTPw"/>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3zTrsw65jtHQcHwFGJC4tw"/>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HebLWm1kVtFCcvad5.SKJA"/>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757hE.7MOHYhZRPDRCVUIQ"/>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MbPcnLD_WCzFBf24tG_hpA"/>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hCAzWP9YHK.vC8lqUNpqZg"/>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hyI8t2vAZt_0mCLHrcn5.w"/>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kwupsirnP_kcKtdUPn9mDQ"/>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rvqP9NpVdGF.McMJayYKCw"/>
</p:tagLst>
</file>

<file path=ppt/tags/tag6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Je0Mf8ormZoZR8bAjybLrg"/>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Af4LY4i_EiKB7NcW8Dgi.g"/>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hRcGPjtNZzeZ1T61TpgIlQ"/>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4CfhMvzQSGNKYTt.NRxGXA"/>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ba9DdnBMbEYrfgLSr2.eZQ"/>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sIP7HU9PAs0be4Ba.SHVCg"/>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7aMAAaBGz6nZWfs0S5406A"/>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JCo6YmlN5bawncmoKiJK8g"/>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1Vp4MR4I5gn_zt5QYjJFzA"/>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u9np4YKOZ7Gg5ijnGJaSkQ"/>
</p:tagLst>
</file>

<file path=ppt/tags/tag68.xml><?xml version="1.0" encoding="utf-8"?>
<p:tagLst xmlns:a="http://schemas.openxmlformats.org/drawingml/2006/main" xmlns:r="http://schemas.openxmlformats.org/officeDocument/2006/relationships" xmlns:p="http://schemas.openxmlformats.org/presentationml/2006/main">
  <p:tag name="SHAPENAME" val="5. Source"/>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J2sBk21riK98x4aTVB_jsQ"/>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8m35gh8P1ucke72RgFmKgQ"/>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wp2HBlM9e4DVw01ofUZXBQ"/>
</p:tagLst>
</file>

<file path=ppt/tags/tag683.xml><?xml version="1.0" encoding="utf-8"?>
<p:tagLst xmlns:a="http://schemas.openxmlformats.org/drawingml/2006/main" xmlns:r="http://schemas.openxmlformats.org/officeDocument/2006/relationships" xmlns:p="http://schemas.openxmlformats.org/presentationml/2006/main">
  <p:tag name="NAME" val="LineBasicVerticalDefault"/>
</p:tagLst>
</file>

<file path=ppt/tags/tag684.xml><?xml version="1.0" encoding="utf-8"?>
<p:tagLst xmlns:a="http://schemas.openxmlformats.org/drawingml/2006/main" xmlns:r="http://schemas.openxmlformats.org/officeDocument/2006/relationships" xmlns:p="http://schemas.openxmlformats.org/presentationml/2006/main">
  <p:tag name="NAME" val="LineBasicVerticalDefault"/>
</p:tagLst>
</file>

<file path=ppt/tags/tag685.xml><?xml version="1.0" encoding="utf-8"?>
<p:tagLst xmlns:a="http://schemas.openxmlformats.org/drawingml/2006/main" xmlns:r="http://schemas.openxmlformats.org/officeDocument/2006/relationships" xmlns:p="http://schemas.openxmlformats.org/presentationml/2006/main">
  <p:tag name="NAME" val="LineBasicVerticalDefault"/>
</p:tagLst>
</file>

<file path=ppt/tags/tag686.xml><?xml version="1.0" encoding="utf-8"?>
<p:tagLst xmlns:a="http://schemas.openxmlformats.org/drawingml/2006/main" xmlns:r="http://schemas.openxmlformats.org/officeDocument/2006/relationships" xmlns:p="http://schemas.openxmlformats.org/presentationml/2006/main">
  <p:tag name="NAME" val="LineBasicVerticalDefault"/>
</p:tagLst>
</file>

<file path=ppt/tags/tag687.xml><?xml version="1.0" encoding="utf-8"?>
<p:tagLst xmlns:a="http://schemas.openxmlformats.org/drawingml/2006/main" xmlns:r="http://schemas.openxmlformats.org/officeDocument/2006/relationships" xmlns:p="http://schemas.openxmlformats.org/presentationml/2006/main">
  <p:tag name="NAME" val="LineBasicVerticalDefault"/>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oOQSAJhZp5Y5V5NZO7APsw"/>
</p:tagLst>
</file>

<file path=ppt/tags/tag6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9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9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9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oOQSAJhZp5Y5V5NZO7APsw"/>
</p:tagLst>
</file>

<file path=ppt/tags/tag69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MJ74Ux50krP3j0X4qm0ilA"/>
</p:tagLst>
</file>

<file path=ppt/tags/tag7.xml><?xml version="1.0" encoding="utf-8"?>
<p:tagLst xmlns:a="http://schemas.openxmlformats.org/drawingml/2006/main" xmlns:r="http://schemas.openxmlformats.org/officeDocument/2006/relationships" xmlns:p="http://schemas.openxmlformats.org/presentationml/2006/main">
  <p:tag name="SHAPENAME" val="TopLin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HppBqsLGJjlk61o.tFzeHg"/>
</p:tagLst>
</file>

<file path=ppt/tags/tag7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oOQSAJhZp5Y5V5NZO7APsw"/>
</p:tagLst>
</file>

<file path=ppt/tags/tag70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06.xml><?xml version="1.0" encoding="utf-8"?>
<p:tagLst xmlns:a="http://schemas.openxmlformats.org/drawingml/2006/main" xmlns:r="http://schemas.openxmlformats.org/officeDocument/2006/relationships" xmlns:p="http://schemas.openxmlformats.org/presentationml/2006/main">
  <p:tag name="NAME" val="Oval"/>
</p:tagLst>
</file>

<file path=ppt/tags/tag707.xml><?xml version="1.0" encoding="utf-8"?>
<p:tagLst xmlns:a="http://schemas.openxmlformats.org/drawingml/2006/main" xmlns:r="http://schemas.openxmlformats.org/officeDocument/2006/relationships" xmlns:p="http://schemas.openxmlformats.org/presentationml/2006/main">
  <p:tag name="NAME" val="Rectangle"/>
</p:tagLst>
</file>

<file path=ppt/tags/tag708.xml><?xml version="1.0" encoding="utf-8"?>
<p:tagLst xmlns:a="http://schemas.openxmlformats.org/drawingml/2006/main" xmlns:r="http://schemas.openxmlformats.org/officeDocument/2006/relationships" xmlns:p="http://schemas.openxmlformats.org/presentationml/2006/main">
  <p:tag name="NAME" val="Rectangle"/>
</p:tagLst>
</file>

<file path=ppt/tags/tag709.xml><?xml version="1.0" encoding="utf-8"?>
<p:tagLst xmlns:a="http://schemas.openxmlformats.org/drawingml/2006/main" xmlns:r="http://schemas.openxmlformats.org/officeDocument/2006/relationships" xmlns:p="http://schemas.openxmlformats.org/presentationml/2006/main">
  <p:tag name="NAME" val="Rectangl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710.xml><?xml version="1.0" encoding="utf-8"?>
<p:tagLst xmlns:a="http://schemas.openxmlformats.org/drawingml/2006/main" xmlns:r="http://schemas.openxmlformats.org/officeDocument/2006/relationships" xmlns:p="http://schemas.openxmlformats.org/presentationml/2006/main">
  <p:tag name="NAME" val="Rectangle"/>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oOQSAJhZp5Y5V5NZO7APsw"/>
</p:tagLst>
</file>

<file path=ppt/tags/tag71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14.xml><?xml version="1.0" encoding="utf-8"?>
<p:tagLst xmlns:a="http://schemas.openxmlformats.org/drawingml/2006/main" xmlns:r="http://schemas.openxmlformats.org/officeDocument/2006/relationships" xmlns:p="http://schemas.openxmlformats.org/presentationml/2006/main">
  <p:tag name="SHAPENAME" val="5. Source"/>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K3mKQDvfh3dJHKaNBP6FbA"/>
</p:tagLst>
</file>

<file path=ppt/tags/tag7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18.xml><?xml version="1.0" encoding="utf-8"?>
<p:tagLst xmlns:a="http://schemas.openxmlformats.org/drawingml/2006/main" xmlns:r="http://schemas.openxmlformats.org/officeDocument/2006/relationships" xmlns:p="http://schemas.openxmlformats.org/presentationml/2006/main">
  <p:tag name="SHAPENAME" val="5. Source"/>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oOQSAJhZp5Y5V5NZO7APsw"/>
</p:tagLst>
</file>

<file path=ppt/tags/tag72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22.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723.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724.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JqL7ts.nLNMAoE5Lc6A9g"/>
</p:tagLst>
</file>

<file path=ppt/tags/tag72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oovm_3LM27_awLXIQ6HzOQ"/>
</p:tagLst>
</file>

<file path=ppt/tags/tag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3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31.xml><?xml version="1.0" encoding="utf-8"?>
<p:tagLst xmlns:a="http://schemas.openxmlformats.org/drawingml/2006/main" xmlns:r="http://schemas.openxmlformats.org/officeDocument/2006/relationships" xmlns:p="http://schemas.openxmlformats.org/presentationml/2006/main">
  <p:tag name="SYMBOLNAME" val="Checkmark"/>
  <p:tag name="CIRCLESTATUS" val="White"/>
  <p:tag name="NAME" val="CheckmarkWhite"/>
</p:tagLst>
</file>

<file path=ppt/tags/tag732.xml><?xml version="1.0" encoding="utf-8"?>
<p:tagLst xmlns:a="http://schemas.openxmlformats.org/drawingml/2006/main" xmlns:r="http://schemas.openxmlformats.org/officeDocument/2006/relationships" xmlns:p="http://schemas.openxmlformats.org/presentationml/2006/main">
  <p:tag name="SYMBOLNAME" val="Checkmark"/>
  <p:tag name="CIRCLESTATUS" val="White"/>
  <p:tag name="NAME" val="CheckmarkWhite"/>
</p:tagLst>
</file>

<file path=ppt/tags/tag733.xml><?xml version="1.0" encoding="utf-8"?>
<p:tagLst xmlns:a="http://schemas.openxmlformats.org/drawingml/2006/main" xmlns:r="http://schemas.openxmlformats.org/officeDocument/2006/relationships" xmlns:p="http://schemas.openxmlformats.org/presentationml/2006/main">
  <p:tag name="SYMBOLNAME" val="Checkmark"/>
  <p:tag name="CIRCLESTATUS" val="White"/>
  <p:tag name="NAME" val="CheckmarkWhite"/>
</p:tagLst>
</file>

<file path=ppt/tags/tag734.xml><?xml version="1.0" encoding="utf-8"?>
<p:tagLst xmlns:a="http://schemas.openxmlformats.org/drawingml/2006/main" xmlns:r="http://schemas.openxmlformats.org/officeDocument/2006/relationships" xmlns:p="http://schemas.openxmlformats.org/presentationml/2006/main">
  <p:tag name="SYMBOLNAME" val="Checkmark"/>
  <p:tag name="CIRCLESTATUS" val="White"/>
  <p:tag name="NAME" val="CheckmarkWhite"/>
</p:tagLst>
</file>

<file path=ppt/tags/tag735.xml><?xml version="1.0" encoding="utf-8"?>
<p:tagLst xmlns:a="http://schemas.openxmlformats.org/drawingml/2006/main" xmlns:r="http://schemas.openxmlformats.org/officeDocument/2006/relationships" xmlns:p="http://schemas.openxmlformats.org/presentationml/2006/main">
  <p:tag name="SYMBOLNAME" val="Checkmark"/>
  <p:tag name="CIRCLESTATUS" val="White"/>
  <p:tag name="NAME" val="CheckmarkWhite"/>
</p:tagLst>
</file>

<file path=ppt/tags/tag736.xml><?xml version="1.0" encoding="utf-8"?>
<p:tagLst xmlns:a="http://schemas.openxmlformats.org/drawingml/2006/main" xmlns:r="http://schemas.openxmlformats.org/officeDocument/2006/relationships" xmlns:p="http://schemas.openxmlformats.org/presentationml/2006/main">
  <p:tag name="SYMBOLNAME" val="Checkmark"/>
  <p:tag name="CIRCLESTATUS" val="White"/>
  <p:tag name="NAME" val="CheckmarkWhite"/>
</p:tagLst>
</file>

<file path=ppt/tags/tag737.xml><?xml version="1.0" encoding="utf-8"?>
<p:tagLst xmlns:a="http://schemas.openxmlformats.org/drawingml/2006/main" xmlns:r="http://schemas.openxmlformats.org/officeDocument/2006/relationships" xmlns:p="http://schemas.openxmlformats.org/presentationml/2006/main">
  <p:tag name="SYMBOLNAME" val="Checkmark"/>
  <p:tag name="CIRCLESTATUS" val="White"/>
  <p:tag name="NAME" val="CheckmarkWhite"/>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oovm_3LM27_awLXIQ6HzOQ"/>
</p:tagLst>
</file>

<file path=ppt/tags/tag74.xml><?xml version="1.0" encoding="utf-8"?>
<p:tagLst xmlns:a="http://schemas.openxmlformats.org/drawingml/2006/main" xmlns:r="http://schemas.openxmlformats.org/officeDocument/2006/relationships" xmlns:p="http://schemas.openxmlformats.org/presentationml/2006/main">
  <p:tag name="SHAPENAME" val="5. Source"/>
</p:tagLst>
</file>

<file path=ppt/tags/tag7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41.xml><?xml version="1.0" encoding="utf-8"?>
<p:tagLst xmlns:a="http://schemas.openxmlformats.org/drawingml/2006/main" xmlns:r="http://schemas.openxmlformats.org/officeDocument/2006/relationships" xmlns:p="http://schemas.openxmlformats.org/presentationml/2006/main">
  <p:tag name="SYMBOLNAME" val="Checkmark"/>
  <p:tag name="CIRCLESTATUS" val="White"/>
  <p:tag name="NAME" val="CheckmarkWhite"/>
</p:tagLst>
</file>

<file path=ppt/tags/tag742.xml><?xml version="1.0" encoding="utf-8"?>
<p:tagLst xmlns:a="http://schemas.openxmlformats.org/drawingml/2006/main" xmlns:r="http://schemas.openxmlformats.org/officeDocument/2006/relationships" xmlns:p="http://schemas.openxmlformats.org/presentationml/2006/main">
  <p:tag name="SYMBOLNAME" val="Checkmark"/>
  <p:tag name="CIRCLESTATUS" val="White"/>
  <p:tag name="NAME" val="CheckmarkWhite"/>
</p:tagLst>
</file>

<file path=ppt/tags/tag743.xml><?xml version="1.0" encoding="utf-8"?>
<p:tagLst xmlns:a="http://schemas.openxmlformats.org/drawingml/2006/main" xmlns:r="http://schemas.openxmlformats.org/officeDocument/2006/relationships" xmlns:p="http://schemas.openxmlformats.org/presentationml/2006/main">
  <p:tag name="SYMBOLNAME" val="Checkmark"/>
  <p:tag name="CIRCLESTATUS" val="White"/>
  <p:tag name="NAME" val="CheckmarkWhite"/>
</p:tagLst>
</file>

<file path=ppt/tags/tag744.xml><?xml version="1.0" encoding="utf-8"?>
<p:tagLst xmlns:a="http://schemas.openxmlformats.org/drawingml/2006/main" xmlns:r="http://schemas.openxmlformats.org/officeDocument/2006/relationships" xmlns:p="http://schemas.openxmlformats.org/presentationml/2006/main">
  <p:tag name="SYMBOLNAME" val="Checkmark"/>
  <p:tag name="CIRCLESTATUS" val="White"/>
  <p:tag name="NAME" val="CheckmarkWhite"/>
</p:tagLst>
</file>

<file path=ppt/tags/tag745.xml><?xml version="1.0" encoding="utf-8"?>
<p:tagLst xmlns:a="http://schemas.openxmlformats.org/drawingml/2006/main" xmlns:r="http://schemas.openxmlformats.org/officeDocument/2006/relationships" xmlns:p="http://schemas.openxmlformats.org/presentationml/2006/main">
  <p:tag name="SYMBOLNAME" val="Checkmark"/>
  <p:tag name="CIRCLESTATUS" val="White"/>
  <p:tag name="NAME" val="CheckmarkWhite"/>
</p:tagLst>
</file>

<file path=ppt/tags/tag746.xml><?xml version="1.0" encoding="utf-8"?>
<p:tagLst xmlns:a="http://schemas.openxmlformats.org/drawingml/2006/main" xmlns:r="http://schemas.openxmlformats.org/officeDocument/2006/relationships" xmlns:p="http://schemas.openxmlformats.org/presentationml/2006/main">
  <p:tag name="SYMBOLNAME" val="Checkmark"/>
  <p:tag name="CIRCLESTATUS" val="White"/>
  <p:tag name="NAME" val="CheckmarkWhite"/>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oovm_3LM27_awLXIQ6HzOQ"/>
</p:tagLst>
</file>

<file path=ppt/tags/tag7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9.xml><?xml version="1.0" encoding="utf-8"?>
<p:tagLst xmlns:a="http://schemas.openxmlformats.org/drawingml/2006/main" xmlns:r="http://schemas.openxmlformats.org/officeDocument/2006/relationships" xmlns:p="http://schemas.openxmlformats.org/presentationml/2006/main">
  <p:tag name="SHAPENAME" val="3. Subtitle"/>
</p:tagLst>
</file>

<file path=ppt/tags/tag8.xml><?xml version="1.0" encoding="utf-8"?>
<p:tagLst xmlns:a="http://schemas.openxmlformats.org/drawingml/2006/main" xmlns:r="http://schemas.openxmlformats.org/officeDocument/2006/relationships" xmlns:p="http://schemas.openxmlformats.org/presentationml/2006/main">
  <p:tag name="ISFLAT" val="True"/>
  <p:tag name="NAME" val="SplitFlow"/>
</p:tagLst>
</file>

<file path=ppt/tags/tag8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1.xml><?xml version="1.0" encoding="utf-8"?>
<p:tagLst xmlns:a="http://schemas.openxmlformats.org/drawingml/2006/main" xmlns:r="http://schemas.openxmlformats.org/officeDocument/2006/relationships" xmlns:p="http://schemas.openxmlformats.org/presentationml/2006/main">
  <p:tag name="SHAPENAME" val="5. Source"/>
</p:tagLst>
</file>

<file path=ppt/tags/tag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8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8.xml><?xml version="1.0" encoding="utf-8"?>
<p:tagLst xmlns:a="http://schemas.openxmlformats.org/drawingml/2006/main" xmlns:r="http://schemas.openxmlformats.org/officeDocument/2006/relationships" xmlns:p="http://schemas.openxmlformats.org/presentationml/2006/main">
  <p:tag name="SHAPENAME" val="3. Subtitle"/>
</p:tagLst>
</file>

<file path=ppt/tags/tag89.xml><?xml version="1.0" encoding="utf-8"?>
<p:tagLst xmlns:a="http://schemas.openxmlformats.org/drawingml/2006/main" xmlns:r="http://schemas.openxmlformats.org/officeDocument/2006/relationships" xmlns:p="http://schemas.openxmlformats.org/presentationml/2006/main">
  <p:tag name="SHAPENAME" val="5. Source"/>
</p:tagLst>
</file>

<file path=ppt/tags/tag9.xml><?xml version="1.0" encoding="utf-8"?>
<p:tagLst xmlns:a="http://schemas.openxmlformats.org/drawingml/2006/main" xmlns:r="http://schemas.openxmlformats.org/officeDocument/2006/relationships" xmlns:p="http://schemas.openxmlformats.org/presentationml/2006/main">
  <p:tag name="NAME" val="Flow"/>
</p:tagLst>
</file>

<file path=ppt/tags/tag9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1.xml><?xml version="1.0" encoding="utf-8"?>
<p:tagLst xmlns:a="http://schemas.openxmlformats.org/drawingml/2006/main" xmlns:r="http://schemas.openxmlformats.org/officeDocument/2006/relationships" xmlns:p="http://schemas.openxmlformats.org/presentationml/2006/main">
  <p:tag name="SHAPENAME" val="TopLin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9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7.xml><?xml version="1.0" encoding="utf-8"?>
<p:tagLst xmlns:a="http://schemas.openxmlformats.org/drawingml/2006/main" xmlns:r="http://schemas.openxmlformats.org/officeDocument/2006/relationships" xmlns:p="http://schemas.openxmlformats.org/presentationml/2006/main">
  <p:tag name="SHAPENAME" val="3. Subtitle"/>
</p:tagLst>
</file>

<file path=ppt/tags/tag98.xml><?xml version="1.0" encoding="utf-8"?>
<p:tagLst xmlns:a="http://schemas.openxmlformats.org/drawingml/2006/main" xmlns:r="http://schemas.openxmlformats.org/officeDocument/2006/relationships" xmlns:p="http://schemas.openxmlformats.org/presentationml/2006/main">
  <p:tag name="SHAPENAME" val="5. Source"/>
</p:tagLst>
</file>

<file path=ppt/tags/tag99.xml><?xml version="1.0" encoding="utf-8"?>
<p:tagLst xmlns:a="http://schemas.openxmlformats.org/drawingml/2006/main" xmlns:r="http://schemas.openxmlformats.org/officeDocument/2006/relationships" xmlns:p="http://schemas.openxmlformats.org/presentationml/2006/main">
  <p:tag name="SHAPENAME" val="1. On-page tracker"/>
</p:tagLst>
</file>

<file path=ppt/theme/theme1.xml><?xml version="1.0" encoding="utf-8"?>
<a:theme xmlns:a="http://schemas.openxmlformats.org/drawingml/2006/main" name="White_NL_5357JO_16x9_OF_v1">
  <a:themeElements>
    <a:clrScheme name="Scheme1">
      <a:dk1>
        <a:srgbClr val="000000"/>
      </a:dk1>
      <a:lt1>
        <a:srgbClr val="FFFFFF"/>
      </a:lt1>
      <a:dk2>
        <a:srgbClr val="FFFFFF"/>
      </a:dk2>
      <a:lt2>
        <a:srgbClr val="FFFFFF"/>
      </a:lt2>
      <a:accent1>
        <a:srgbClr val="2A2A2A"/>
      </a:accent1>
      <a:accent2>
        <a:srgbClr val="34A1DB"/>
      </a:accent2>
      <a:accent3>
        <a:srgbClr val="1974A6"/>
      </a:accent3>
      <a:accent4>
        <a:srgbClr val="E1F3F9"/>
      </a:accent4>
      <a:accent5>
        <a:srgbClr val="0E436C"/>
      </a:accent5>
      <a:accent6>
        <a:srgbClr val="DCDCDC"/>
      </a:accent6>
      <a:hlink>
        <a:srgbClr val="0000FF"/>
      </a:hlink>
      <a:folHlink>
        <a:srgbClr val="800080"/>
      </a:folHlink>
    </a:clrScheme>
    <a:fontScheme name="Custom">
      <a:majorFont>
        <a:latin typeface="Calibri"/>
        <a:ea typeface=""/>
        <a:cs typeface=""/>
      </a:majorFont>
      <a:minorFont>
        <a:latin typeface="Calibri"/>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2A2A2A"/>
        </a:accent1>
        <a:accent2>
          <a:srgbClr val="34A1DB"/>
        </a:accent2>
        <a:accent3>
          <a:srgbClr val="1974A6"/>
        </a:accent3>
        <a:accent4>
          <a:srgbClr val="E1F3F9"/>
        </a:accent4>
        <a:accent5>
          <a:srgbClr val="0E436C"/>
        </a:accent5>
        <a:accent6>
          <a:srgbClr val="DCDCDC"/>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NL_5357JO_16x9_OF_v1.potx" id="{7EA9D072-8263-47BA-993F-50BD9085EDC5}" vid="{6112CC8E-0C95-4727-AD00-A9900EACB7BE}"/>
    </a:ext>
  </a:extLst>
</a:theme>
</file>

<file path=ppt/theme/theme2.xml><?xml version="1.0" encoding="utf-8"?>
<a:theme xmlns:a="http://schemas.openxmlformats.org/drawingml/2006/main" name="Contrast_NL_5357JO_16x9_OF_v1">
  <a:themeElements>
    <a:clrScheme name="Scheme2">
      <a:dk1>
        <a:srgbClr val="FFFFFF"/>
      </a:dk1>
      <a:lt1>
        <a:srgbClr val="2A2A2A"/>
      </a:lt1>
      <a:dk2>
        <a:srgbClr val="000000"/>
      </a:dk2>
      <a:lt2>
        <a:srgbClr val="000000"/>
      </a:lt2>
      <a:accent1>
        <a:srgbClr val="FFFFFF"/>
      </a:accent1>
      <a:accent2>
        <a:srgbClr val="34A1DB"/>
      </a:accent2>
      <a:accent3>
        <a:srgbClr val="1974A6"/>
      </a:accent3>
      <a:accent4>
        <a:srgbClr val="E1F3F9"/>
      </a:accent4>
      <a:accent5>
        <a:srgbClr val="0E436C"/>
      </a:accent5>
      <a:accent6>
        <a:srgbClr val="DCDCDC"/>
      </a:accent6>
      <a:hlink>
        <a:srgbClr val="0000FF"/>
      </a:hlink>
      <a:folHlink>
        <a:srgbClr val="800080"/>
      </a:folHlink>
    </a:clrScheme>
    <a:fontScheme name="Custom">
      <a:majorFont>
        <a:latin typeface="Calibri"/>
        <a:ea typeface=""/>
        <a:cs typeface=""/>
      </a:majorFont>
      <a:minorFont>
        <a:latin typeface="Calibri"/>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2">
        <a:dk1>
          <a:srgbClr val="FFFFFF"/>
        </a:dk1>
        <a:lt1>
          <a:srgbClr val="2A2A2A"/>
        </a:lt1>
        <a:dk2>
          <a:srgbClr val="000000"/>
        </a:dk2>
        <a:lt2>
          <a:srgbClr val="000000"/>
        </a:lt2>
        <a:accent1>
          <a:srgbClr val="FFFFFF"/>
        </a:accent1>
        <a:accent2>
          <a:srgbClr val="34A1DB"/>
        </a:accent2>
        <a:accent3>
          <a:srgbClr val="1974A6"/>
        </a:accent3>
        <a:accent4>
          <a:srgbClr val="E1F3F9"/>
        </a:accent4>
        <a:accent5>
          <a:srgbClr val="0E436C"/>
        </a:accent5>
        <a:accent6>
          <a:srgbClr val="DCDCDC"/>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NL_5357JO_16x9_OF_v1.potx" id="{7EA9D072-8263-47BA-993F-50BD9085EDC5}" vid="{F512E92B-CDFE-4D6B-8D49-73B35BF05044}"/>
    </a:ext>
  </a:extLst>
</a:theme>
</file>

<file path=ppt/theme/theme3.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NL_5357JO_16x9_OF_v1</Template>
  <TotalTime>3374</TotalTime>
  <Words>2838</Words>
  <Application>Microsoft Macintosh PowerPoint</Application>
  <PresentationFormat>Breedbeeld</PresentationFormat>
  <Paragraphs>707</Paragraphs>
  <Slides>40</Slides>
  <Notes>7</Notes>
  <HiddenSlides>0</HiddenSlides>
  <MMClips>0</MMClips>
  <ScaleCrop>false</ScaleCrop>
  <HeadingPairs>
    <vt:vector size="8" baseType="variant">
      <vt:variant>
        <vt:lpstr>Gebruikte lettertypen</vt:lpstr>
      </vt:variant>
      <vt:variant>
        <vt:i4>9</vt:i4>
      </vt:variant>
      <vt:variant>
        <vt:lpstr>Thema</vt:lpstr>
      </vt:variant>
      <vt:variant>
        <vt:i4>2</vt:i4>
      </vt:variant>
      <vt:variant>
        <vt:lpstr>Ingesloten OLE-bronprogramma's</vt:lpstr>
      </vt:variant>
      <vt:variant>
        <vt:i4>1</vt:i4>
      </vt:variant>
      <vt:variant>
        <vt:lpstr>Diatitels</vt:lpstr>
      </vt:variant>
      <vt:variant>
        <vt:i4>40</vt:i4>
      </vt:variant>
    </vt:vector>
  </HeadingPairs>
  <TitlesOfParts>
    <vt:vector size="52" baseType="lpstr">
      <vt:lpstr>Calibri</vt:lpstr>
      <vt:lpstr>Arial</vt:lpstr>
      <vt:lpstr>Wingdings</vt:lpstr>
      <vt:lpstr>Avenir Next</vt:lpstr>
      <vt:lpstr>Segoe UI</vt:lpstr>
      <vt:lpstr>Avenir Light Oblique</vt:lpstr>
      <vt:lpstr>Georgia</vt:lpstr>
      <vt:lpstr>Times New Roman</vt:lpstr>
      <vt:lpstr>Avenir Next Medium</vt:lpstr>
      <vt:lpstr>White_NL_5357JO_16x9_OF_v1</vt:lpstr>
      <vt:lpstr>Contrast_NL_5357JO_16x9_OF_v1</vt:lpstr>
      <vt:lpstr>think-cell Slide</vt:lpstr>
      <vt:lpstr>  Leren              </vt:lpstr>
      <vt:lpstr>PowerPoint-presentatie</vt:lpstr>
      <vt:lpstr>De veerkracht van onze onderwijscultuur Waarom maken we geen einde aan kansenongelijkheid?</vt:lpstr>
      <vt:lpstr>PowerPoint-presentatie</vt:lpstr>
      <vt:lpstr>PowerPoint-presentatie</vt:lpstr>
      <vt:lpstr>PowerPoint-presentatie</vt:lpstr>
      <vt:lpstr>Het Nederlandse onderwijs scoort vergeleken met andere westerse landen redelijk</vt:lpstr>
      <vt:lpstr>Gemiddeld gaat het redelijk goed, maar dat geldt niet voor iedereen</vt:lpstr>
      <vt:lpstr>Talloze rapporten laten echter zien dat de kansenongelijkheid in het Nederlandse onderwijs steeds groter wordt</vt:lpstr>
      <vt:lpstr>Niet alleen de kansenongelijkheid neemt echter toe: over de hele linie gaat de kwaliteit van onderwijs achteruit</vt:lpstr>
      <vt:lpstr>Veel Nederlandse kinderen leren op school bijvoorbeeld niet meer goed genoeg lezen</vt:lpstr>
      <vt:lpstr>Moldavië</vt:lpstr>
      <vt:lpstr>Verschillen tussen scholen zijn nergens zo groot als in Nederland</vt:lpstr>
      <vt:lpstr>Gemiste kansen in het onderwijs hebben een grote invloed op het verdere leven van leerlingen</vt:lpstr>
      <vt:lpstr>Het ministerie doet te weinig om de kansenongelijkheid en afnemende kwaliteit aan te pakken</vt:lpstr>
      <vt:lpstr>PowerPoint-presentatie</vt:lpstr>
      <vt:lpstr>Een goede docent is de beste manier om de onderwijskwaliteit te verhogen</vt:lpstr>
      <vt:lpstr>Door te werken aan een verbetercultuur op scholen zou de kwaliteit van schoolleiders, docenten en het onderwijs fors omhoog kunnen</vt:lpstr>
      <vt:lpstr>Ook onderzoek van McKinsey uit 2020 stelt dat een continue verbetercultuur centraal moet staan</vt:lpstr>
      <vt:lpstr>PowerPoint-presentatie</vt:lpstr>
      <vt:lpstr>Op dit moment zijn schoolleiders echter niet genoeg bezig met het verbeteren van hun docenten</vt:lpstr>
      <vt:lpstr>‘Elke dag samen een beetje beter’ op school? Waarom?</vt:lpstr>
      <vt:lpstr>Een verbetercultuur, hoe werkt dat in de schoolpraktijk? </vt:lpstr>
      <vt:lpstr>Hoe kun je de leerlingen een stem geven?</vt:lpstr>
      <vt:lpstr>Meer dan duizend Nederlandse scholen zijn al met deze manier van werken gestart</vt:lpstr>
      <vt:lpstr>PowerPoint-presentatie</vt:lpstr>
      <vt:lpstr>Wat is er voor nodig om op school een verbetercultuur te creëren?</vt:lpstr>
      <vt:lpstr>Uit onderzoek van de Universiteit Utrecht lijkt dat het kan:  In één jaar een lerende cultuur en leraren sterker in hun vak</vt:lpstr>
      <vt:lpstr>Werkdruk komt veel harder aan als je als leraar er alleen voor staat in de klas</vt:lpstr>
      <vt:lpstr>Samenvatting – wat weten we nu? </vt:lpstr>
      <vt:lpstr>Iedereen kan een steentje bijdragen om een verbetercultuur in het onderwijs te stimuleren</vt:lpstr>
      <vt:lpstr>Wat kunnen leraren, schoolleiders en onderwijsbestuurders doen om een verbetercultuur te stimuleren?</vt:lpstr>
      <vt:lpstr>Wat kunnen ouders en verontruste burgers doen om een verbetercultuur te stimuleren?</vt:lpstr>
      <vt:lpstr>PowerPoint-presentatie</vt:lpstr>
      <vt:lpstr>PowerPoint-presentatie</vt:lpstr>
      <vt:lpstr>PowerPoint-presentatie</vt:lpstr>
      <vt:lpstr>Nawoord </vt:lpstr>
      <vt:lpstr>PowerPoint-presentatie</vt:lpstr>
      <vt:lpstr>PowerPoint-presentatie</vt:lpstr>
      <vt:lpstr>PowerPoint-presentatie</vt:lpstr>
    </vt:vector>
  </TitlesOfParts>
  <Manager/>
  <Company/>
  <LinksUpToDate>false</LinksUpToDate>
  <SharedDoc>false</SharedDoc>
  <HyperlinkBase/>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el (Calibri 44 pt, bold bottom-aligned)</dc:title>
  <dc:subject/>
  <dc:creator>Pawel Cieszynski</dc:creator>
  <cp:keywords/>
  <dc:description/>
  <cp:lastModifiedBy>Microsoft Office User</cp:lastModifiedBy>
  <cp:revision>165</cp:revision>
  <cp:lastPrinted>2021-01-20T16:01:39Z</cp:lastPrinted>
  <dcterms:created xsi:type="dcterms:W3CDTF">2021-01-08T08:59:54Z</dcterms:created>
  <dcterms:modified xsi:type="dcterms:W3CDTF">2021-01-20T16:14:54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628964</vt:lpwstr>
  </property>
  <property fmtid="{D5CDD505-2E9C-101B-9397-08002B2CF9AE}" pid="3" name="NXPowerLiteSettings">
    <vt:lpwstr>C9000A38044001</vt:lpwstr>
  </property>
  <property fmtid="{D5CDD505-2E9C-101B-9397-08002B2CF9AE}" pid="4" name="NXPowerLiteVersion">
    <vt:lpwstr>D7.1.14</vt:lpwstr>
  </property>
  <property fmtid="{D5CDD505-2E9C-101B-9397-08002B2CF9AE}" pid="5" name="PPT">
    <vt:lpwstr>Hello</vt:lpwstr>
  </property>
  <property fmtid="{D5CDD505-2E9C-101B-9397-08002B2CF9AE}" pid="6" name="TemplateVersion">
    <vt:lpwstr>4</vt:lpwstr>
  </property>
  <property fmtid="{D5CDD505-2E9C-101B-9397-08002B2CF9AE}" pid="7" name="TemplateLastEdited">
    <vt:lpwstr>2021-01-07 02:41 PM</vt:lpwstr>
  </property>
  <property fmtid="{D5CDD505-2E9C-101B-9397-08002B2CF9AE}" pid="8" name="TemplateCreated">
    <vt:lpwstr>2019-02-27 01:18 PM</vt:lpwstr>
  </property>
</Properties>
</file>